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77" r:id="rId1"/>
  </p:sldMasterIdLst>
  <p:notesMasterIdLst>
    <p:notesMasterId r:id="rId3"/>
  </p:notesMasterIdLst>
  <p:handoutMasterIdLst>
    <p:handoutMasterId r:id="rId4"/>
  </p:handoutMasterIdLst>
  <p:sldIdLst>
    <p:sldId id="214748325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883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orient="horz" pos="3158" userDrawn="1">
          <p15:clr>
            <a:srgbClr val="A4A3A4"/>
          </p15:clr>
        </p15:guide>
        <p15:guide id="5" pos="1685" userDrawn="1">
          <p15:clr>
            <a:srgbClr val="A4A3A4"/>
          </p15:clr>
        </p15:guide>
        <p15:guide id="6" pos="7378" userDrawn="1">
          <p15:clr>
            <a:srgbClr val="A4A3A4"/>
          </p15:clr>
        </p15:guide>
        <p15:guide id="7" pos="4316" userDrawn="1">
          <p15:clr>
            <a:srgbClr val="A4A3A4"/>
          </p15:clr>
        </p15:guide>
        <p15:guide id="8" orient="horz" pos="17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9BC7"/>
    <a:srgbClr val="BDB2A8"/>
    <a:srgbClr val="BBA0F5"/>
    <a:srgbClr val="93CDFC"/>
    <a:srgbClr val="A8DB97"/>
    <a:srgbClr val="81D5DB"/>
    <a:srgbClr val="F7DE6E"/>
    <a:srgbClr val="FCA751"/>
    <a:srgbClr val="FB7B6F"/>
    <a:srgbClr val="B2B3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13" autoAdjust="0"/>
    <p:restoredTop sz="85444" autoAdjust="0"/>
  </p:normalViewPr>
  <p:slideViewPr>
    <p:cSldViewPr snapToGrid="0">
      <p:cViewPr varScale="1">
        <p:scale>
          <a:sx n="78" d="100"/>
          <a:sy n="78" d="100"/>
        </p:scale>
        <p:origin x="67" y="43"/>
      </p:cViewPr>
      <p:guideLst>
        <p:guide pos="4883"/>
        <p:guide orient="horz" pos="2160"/>
        <p:guide orient="horz" pos="3158"/>
        <p:guide pos="1685"/>
        <p:guide pos="7378"/>
        <p:guide pos="4316"/>
        <p:guide orient="horz" pos="17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53262"/>
    </p:cViewPr>
  </p:sorterViewPr>
  <p:notesViewPr>
    <p:cSldViewPr snapToGrid="0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B8CA557-FC2B-D718-BF42-75F26E0F7E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CDE1A7-0822-6C65-AA91-E301AF27F51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3D3A6E-AB6B-FB45-9683-B9C538515E03}" type="datetimeFigureOut">
              <a:rPr lang="en-RU" smtClean="0"/>
              <a:t>05/27/2025</a:t>
            </a:fld>
            <a:endParaRPr lang="en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DAAFF2-BE77-6924-D8B9-B84401624A7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8BE85B-649C-F4B8-588D-FDAE9D9516F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6D08F2-49A6-244B-ABC5-EF50CF05FBEA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68402758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861DE6-A734-4F4F-97B7-0343B5598C16}" type="datetimeFigureOut">
              <a:rPr lang="ru-RU" smtClean="0"/>
              <a:t>27.05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C4DBEB-3C0F-C547-99E4-3EC59B8CE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60766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C4DBEB-3C0F-C547-99E4-3EC59B8CE4D2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9913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графиками --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0621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Слайд think-cell" r:id="rId5" imgW="421" imgH="420" progId="TCLayout.ActiveDocument.1">
                  <p:embed/>
                </p:oleObj>
              </mc:Choice>
              <mc:Fallback>
                <p:oleObj name="Слайд think-cell" r:id="rId5" imgW="421" imgH="42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48880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2" name="Федеральные округа">
            <a:extLst>
              <a:ext uri="{FF2B5EF4-FFF2-40B4-BE49-F238E27FC236}">
                <a16:creationId xmlns:a16="http://schemas.microsoft.com/office/drawing/2014/main" id="{0A7BD7C7-CFD2-4684-AC96-031C4369D735}"/>
              </a:ext>
            </a:extLst>
          </p:cNvPr>
          <p:cNvGrpSpPr>
            <a:grpSpLocks noChangeAspect="1"/>
          </p:cNvGrpSpPr>
          <p:nvPr/>
        </p:nvGrpSpPr>
        <p:grpSpPr>
          <a:xfrm>
            <a:off x="252202" y="302671"/>
            <a:ext cx="11687596" cy="6252659"/>
            <a:chOff x="202609" y="264980"/>
            <a:chExt cx="11687596" cy="6252659"/>
          </a:xfrm>
        </p:grpSpPr>
        <p:sp>
          <p:nvSpPr>
            <p:cNvPr id="880" name="Обводка">
              <a:extLst>
                <a:ext uri="{FF2B5EF4-FFF2-40B4-BE49-F238E27FC236}">
                  <a16:creationId xmlns:a16="http://schemas.microsoft.com/office/drawing/2014/main" id="{E9B1F7FF-D761-4D29-8C31-227B45A573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6327" y="271604"/>
              <a:ext cx="11683878" cy="6246035"/>
            </a:xfrm>
            <a:custGeom>
              <a:avLst/>
              <a:gdLst>
                <a:gd name="connsiteX0" fmla="*/ 7230063 w 11683878"/>
                <a:gd name="connsiteY0" fmla="*/ 5719089 h 6246035"/>
                <a:gd name="connsiteX1" fmla="*/ 7227380 w 11683878"/>
                <a:gd name="connsiteY1" fmla="*/ 5720600 h 6246035"/>
                <a:gd name="connsiteX2" fmla="*/ 7207212 w 11683878"/>
                <a:gd name="connsiteY2" fmla="*/ 5749301 h 6246035"/>
                <a:gd name="connsiteX3" fmla="*/ 7208360 w 11683878"/>
                <a:gd name="connsiteY3" fmla="*/ 5755130 h 6246035"/>
                <a:gd name="connsiteX4" fmla="*/ 5399566 w 11683878"/>
                <a:gd name="connsiteY4" fmla="*/ 5666249 h 6246035"/>
                <a:gd name="connsiteX5" fmla="*/ 5374533 w 11683878"/>
                <a:gd name="connsiteY5" fmla="*/ 5702142 h 6246035"/>
                <a:gd name="connsiteX6" fmla="*/ 5395032 w 11683878"/>
                <a:gd name="connsiteY6" fmla="*/ 5707819 h 6246035"/>
                <a:gd name="connsiteX7" fmla="*/ 5395040 w 11683878"/>
                <a:gd name="connsiteY7" fmla="*/ 5707892 h 6246035"/>
                <a:gd name="connsiteX8" fmla="*/ 5395040 w 11683878"/>
                <a:gd name="connsiteY8" fmla="*/ 5707818 h 6246035"/>
                <a:gd name="connsiteX9" fmla="*/ 5374542 w 11683878"/>
                <a:gd name="connsiteY9" fmla="*/ 5702141 h 6246035"/>
                <a:gd name="connsiteX10" fmla="*/ 5399570 w 11683878"/>
                <a:gd name="connsiteY10" fmla="*/ 5666255 h 6246035"/>
                <a:gd name="connsiteX11" fmla="*/ 5397818 w 11683878"/>
                <a:gd name="connsiteY11" fmla="*/ 5608505 h 6246035"/>
                <a:gd name="connsiteX12" fmla="*/ 5435208 w 11683878"/>
                <a:gd name="connsiteY12" fmla="*/ 5661285 h 6246035"/>
                <a:gd name="connsiteX13" fmla="*/ 5412438 w 11683878"/>
                <a:gd name="connsiteY13" fmla="*/ 5682368 h 6246035"/>
                <a:gd name="connsiteX14" fmla="*/ 5412441 w 11683878"/>
                <a:gd name="connsiteY14" fmla="*/ 5682372 h 6246035"/>
                <a:gd name="connsiteX15" fmla="*/ 5435217 w 11683878"/>
                <a:gd name="connsiteY15" fmla="*/ 5661284 h 6246035"/>
                <a:gd name="connsiteX16" fmla="*/ 6805051 w 11683878"/>
                <a:gd name="connsiteY16" fmla="*/ 5582141 h 6246035"/>
                <a:gd name="connsiteX17" fmla="*/ 6808530 w 11683878"/>
                <a:gd name="connsiteY17" fmla="*/ 5629499 h 6246035"/>
                <a:gd name="connsiteX18" fmla="*/ 6808536 w 11683878"/>
                <a:gd name="connsiteY18" fmla="*/ 5629495 h 6246035"/>
                <a:gd name="connsiteX19" fmla="*/ 6805058 w 11683878"/>
                <a:gd name="connsiteY19" fmla="*/ 5582142 h 6246035"/>
                <a:gd name="connsiteX20" fmla="*/ 7270230 w 11683878"/>
                <a:gd name="connsiteY20" fmla="*/ 5531738 h 6246035"/>
                <a:gd name="connsiteX21" fmla="*/ 7250337 w 11683878"/>
                <a:gd name="connsiteY21" fmla="*/ 5571286 h 6246035"/>
                <a:gd name="connsiteX22" fmla="*/ 7270871 w 11683878"/>
                <a:gd name="connsiteY22" fmla="*/ 5590066 h 6246035"/>
                <a:gd name="connsiteX23" fmla="*/ 7228485 w 11683878"/>
                <a:gd name="connsiteY23" fmla="*/ 5649431 h 6246035"/>
                <a:gd name="connsiteX24" fmla="*/ 7295072 w 11683878"/>
                <a:gd name="connsiteY24" fmla="*/ 5682470 h 6246035"/>
                <a:gd name="connsiteX25" fmla="*/ 7295017 w 11683878"/>
                <a:gd name="connsiteY25" fmla="*/ 5682501 h 6246035"/>
                <a:gd name="connsiteX26" fmla="*/ 7295075 w 11683878"/>
                <a:gd name="connsiteY26" fmla="*/ 5682470 h 6246035"/>
                <a:gd name="connsiteX27" fmla="*/ 7228488 w 11683878"/>
                <a:gd name="connsiteY27" fmla="*/ 5649431 h 6246035"/>
                <a:gd name="connsiteX28" fmla="*/ 7270875 w 11683878"/>
                <a:gd name="connsiteY28" fmla="*/ 5590067 h 6246035"/>
                <a:gd name="connsiteX29" fmla="*/ 7250341 w 11683878"/>
                <a:gd name="connsiteY29" fmla="*/ 5571287 h 6246035"/>
                <a:gd name="connsiteX30" fmla="*/ 7270233 w 11683878"/>
                <a:gd name="connsiteY30" fmla="*/ 5531739 h 6246035"/>
                <a:gd name="connsiteX31" fmla="*/ 7311558 w 11683878"/>
                <a:gd name="connsiteY31" fmla="*/ 5522495 h 6246035"/>
                <a:gd name="connsiteX32" fmla="*/ 7299130 w 11683878"/>
                <a:gd name="connsiteY32" fmla="*/ 5537711 h 6246035"/>
                <a:gd name="connsiteX33" fmla="*/ 7299133 w 11683878"/>
                <a:gd name="connsiteY33" fmla="*/ 5537712 h 6246035"/>
                <a:gd name="connsiteX34" fmla="*/ 7311560 w 11683878"/>
                <a:gd name="connsiteY34" fmla="*/ 5522496 h 6246035"/>
                <a:gd name="connsiteX35" fmla="*/ 5373439 w 11683878"/>
                <a:gd name="connsiteY35" fmla="*/ 5514104 h 6246035"/>
                <a:gd name="connsiteX36" fmla="*/ 5370552 w 11683878"/>
                <a:gd name="connsiteY36" fmla="*/ 5559730 h 6246035"/>
                <a:gd name="connsiteX37" fmla="*/ 5373926 w 11683878"/>
                <a:gd name="connsiteY37" fmla="*/ 5514907 h 6246035"/>
                <a:gd name="connsiteX38" fmla="*/ 5344071 w 11683878"/>
                <a:gd name="connsiteY38" fmla="*/ 5510537 h 6246035"/>
                <a:gd name="connsiteX39" fmla="*/ 5315161 w 11683878"/>
                <a:gd name="connsiteY39" fmla="*/ 5522411 h 6246035"/>
                <a:gd name="connsiteX40" fmla="*/ 5315163 w 11683878"/>
                <a:gd name="connsiteY40" fmla="*/ 5522413 h 6246035"/>
                <a:gd name="connsiteX41" fmla="*/ 5343886 w 11683878"/>
                <a:gd name="connsiteY41" fmla="*/ 5510982 h 6246035"/>
                <a:gd name="connsiteX42" fmla="*/ 4922552 w 11683878"/>
                <a:gd name="connsiteY42" fmla="*/ 5508493 h 6246035"/>
                <a:gd name="connsiteX43" fmla="*/ 4919844 w 11683878"/>
                <a:gd name="connsiteY43" fmla="*/ 5512647 h 6246035"/>
                <a:gd name="connsiteX44" fmla="*/ 4933073 w 11683878"/>
                <a:gd name="connsiteY44" fmla="*/ 5521206 h 6246035"/>
                <a:gd name="connsiteX45" fmla="*/ 4933158 w 11683878"/>
                <a:gd name="connsiteY45" fmla="*/ 5521112 h 6246035"/>
                <a:gd name="connsiteX46" fmla="*/ 7396829 w 11683878"/>
                <a:gd name="connsiteY46" fmla="*/ 5495323 h 6246035"/>
                <a:gd name="connsiteX47" fmla="*/ 7346618 w 11683878"/>
                <a:gd name="connsiteY47" fmla="*/ 5543662 h 6246035"/>
                <a:gd name="connsiteX48" fmla="*/ 7346621 w 11683878"/>
                <a:gd name="connsiteY48" fmla="*/ 5543664 h 6246035"/>
                <a:gd name="connsiteX49" fmla="*/ 7396832 w 11683878"/>
                <a:gd name="connsiteY49" fmla="*/ 5495323 h 6246035"/>
                <a:gd name="connsiteX50" fmla="*/ 5402202 w 11683878"/>
                <a:gd name="connsiteY50" fmla="*/ 5494930 h 6246035"/>
                <a:gd name="connsiteX51" fmla="*/ 5400706 w 11683878"/>
                <a:gd name="connsiteY51" fmla="*/ 5495505 h 6246035"/>
                <a:gd name="connsiteX52" fmla="*/ 5400713 w 11683878"/>
                <a:gd name="connsiteY52" fmla="*/ 5495620 h 6246035"/>
                <a:gd name="connsiteX53" fmla="*/ 5419663 w 11683878"/>
                <a:gd name="connsiteY53" fmla="*/ 5488221 h 6246035"/>
                <a:gd name="connsiteX54" fmla="*/ 5418600 w 11683878"/>
                <a:gd name="connsiteY54" fmla="*/ 5488629 h 6246035"/>
                <a:gd name="connsiteX55" fmla="*/ 5437146 w 11683878"/>
                <a:gd name="connsiteY55" fmla="*/ 5500403 h 6246035"/>
                <a:gd name="connsiteX56" fmla="*/ 5354105 w 11683878"/>
                <a:gd name="connsiteY56" fmla="*/ 5486404 h 6246035"/>
                <a:gd name="connsiteX57" fmla="*/ 5344075 w 11683878"/>
                <a:gd name="connsiteY57" fmla="*/ 5488564 h 6246035"/>
                <a:gd name="connsiteX58" fmla="*/ 5344536 w 11683878"/>
                <a:gd name="connsiteY58" fmla="*/ 5509420 h 6246035"/>
                <a:gd name="connsiteX59" fmla="*/ 5399599 w 11683878"/>
                <a:gd name="connsiteY59" fmla="*/ 5478730 h 6246035"/>
                <a:gd name="connsiteX60" fmla="*/ 5400663 w 11683878"/>
                <a:gd name="connsiteY60" fmla="*/ 5494857 h 6246035"/>
                <a:gd name="connsiteX61" fmla="*/ 5403632 w 11683878"/>
                <a:gd name="connsiteY61" fmla="*/ 5478833 h 6246035"/>
                <a:gd name="connsiteX62" fmla="*/ 5390780 w 11683878"/>
                <a:gd name="connsiteY62" fmla="*/ 5478504 h 6246035"/>
                <a:gd name="connsiteX63" fmla="*/ 5355041 w 11683878"/>
                <a:gd name="connsiteY63" fmla="*/ 5486202 h 6246035"/>
                <a:gd name="connsiteX64" fmla="*/ 5370810 w 11683878"/>
                <a:gd name="connsiteY64" fmla="*/ 5509760 h 6246035"/>
                <a:gd name="connsiteX65" fmla="*/ 5357051 w 11683878"/>
                <a:gd name="connsiteY65" fmla="*/ 5487034 h 6246035"/>
                <a:gd name="connsiteX66" fmla="*/ 5357044 w 11683878"/>
                <a:gd name="connsiteY66" fmla="*/ 5487035 h 6246035"/>
                <a:gd name="connsiteX67" fmla="*/ 5393728 w 11683878"/>
                <a:gd name="connsiteY67" fmla="*/ 5478579 h 6246035"/>
                <a:gd name="connsiteX68" fmla="*/ 5470141 w 11683878"/>
                <a:gd name="connsiteY68" fmla="*/ 5472277 h 6246035"/>
                <a:gd name="connsiteX69" fmla="*/ 5439713 w 11683878"/>
                <a:gd name="connsiteY69" fmla="*/ 5502033 h 6246035"/>
                <a:gd name="connsiteX70" fmla="*/ 5439760 w 11683878"/>
                <a:gd name="connsiteY70" fmla="*/ 5502063 h 6246035"/>
                <a:gd name="connsiteX71" fmla="*/ 5469933 w 11683878"/>
                <a:gd name="connsiteY71" fmla="*/ 5472498 h 6246035"/>
                <a:gd name="connsiteX72" fmla="*/ 5484383 w 11683878"/>
                <a:gd name="connsiteY72" fmla="*/ 5474019 h 6246035"/>
                <a:gd name="connsiteX73" fmla="*/ 6681108 w 11683878"/>
                <a:gd name="connsiteY73" fmla="*/ 5465351 h 6246035"/>
                <a:gd name="connsiteX74" fmla="*/ 6681031 w 11683878"/>
                <a:gd name="connsiteY74" fmla="*/ 5465353 h 6246035"/>
                <a:gd name="connsiteX75" fmla="*/ 6701184 w 11683878"/>
                <a:gd name="connsiteY75" fmla="*/ 5499627 h 6246035"/>
                <a:gd name="connsiteX76" fmla="*/ 6746800 w 11683878"/>
                <a:gd name="connsiteY76" fmla="*/ 5527281 h 6246035"/>
                <a:gd name="connsiteX77" fmla="*/ 6750625 w 11683878"/>
                <a:gd name="connsiteY77" fmla="*/ 5574060 h 6246035"/>
                <a:gd name="connsiteX78" fmla="*/ 6750632 w 11683878"/>
                <a:gd name="connsiteY78" fmla="*/ 5574061 h 6246035"/>
                <a:gd name="connsiteX79" fmla="*/ 6746808 w 11683878"/>
                <a:gd name="connsiteY79" fmla="*/ 5527282 h 6246035"/>
                <a:gd name="connsiteX80" fmla="*/ 6701191 w 11683878"/>
                <a:gd name="connsiteY80" fmla="*/ 5499628 h 6246035"/>
                <a:gd name="connsiteX81" fmla="*/ 6325568 w 11683878"/>
                <a:gd name="connsiteY81" fmla="*/ 5460437 h 6246035"/>
                <a:gd name="connsiteX82" fmla="*/ 6311693 w 11683878"/>
                <a:gd name="connsiteY82" fmla="*/ 5461606 h 6246035"/>
                <a:gd name="connsiteX83" fmla="*/ 6333002 w 11683878"/>
                <a:gd name="connsiteY83" fmla="*/ 5474243 h 6246035"/>
                <a:gd name="connsiteX84" fmla="*/ 5583262 w 11683878"/>
                <a:gd name="connsiteY84" fmla="*/ 5457091 h 6246035"/>
                <a:gd name="connsiteX85" fmla="*/ 5561022 w 11683878"/>
                <a:gd name="connsiteY85" fmla="*/ 5462298 h 6246035"/>
                <a:gd name="connsiteX86" fmla="*/ 5561022 w 11683878"/>
                <a:gd name="connsiteY86" fmla="*/ 5462299 h 6246035"/>
                <a:gd name="connsiteX87" fmla="*/ 5614024 w 11683878"/>
                <a:gd name="connsiteY87" fmla="*/ 5470164 h 6246035"/>
                <a:gd name="connsiteX88" fmla="*/ 5296916 w 11683878"/>
                <a:gd name="connsiteY88" fmla="*/ 5447582 h 6246035"/>
                <a:gd name="connsiteX89" fmla="*/ 5271978 w 11683878"/>
                <a:gd name="connsiteY89" fmla="*/ 5473097 h 6246035"/>
                <a:gd name="connsiteX90" fmla="*/ 5277406 w 11683878"/>
                <a:gd name="connsiteY90" fmla="*/ 5479296 h 6246035"/>
                <a:gd name="connsiteX91" fmla="*/ 6307430 w 11683878"/>
                <a:gd name="connsiteY91" fmla="*/ 5445832 h 6246035"/>
                <a:gd name="connsiteX92" fmla="*/ 6308069 w 11683878"/>
                <a:gd name="connsiteY92" fmla="*/ 5459457 h 6246035"/>
                <a:gd name="connsiteX93" fmla="*/ 6308656 w 11683878"/>
                <a:gd name="connsiteY93" fmla="*/ 5459805 h 6246035"/>
                <a:gd name="connsiteX94" fmla="*/ 4917343 w 11683878"/>
                <a:gd name="connsiteY94" fmla="*/ 5444327 h 6246035"/>
                <a:gd name="connsiteX95" fmla="*/ 4917129 w 11683878"/>
                <a:gd name="connsiteY95" fmla="*/ 5444359 h 6246035"/>
                <a:gd name="connsiteX96" fmla="*/ 4897043 w 11683878"/>
                <a:gd name="connsiteY96" fmla="*/ 5473208 h 6246035"/>
                <a:gd name="connsiteX97" fmla="*/ 4881271 w 11683878"/>
                <a:gd name="connsiteY97" fmla="*/ 5459377 h 6246035"/>
                <a:gd name="connsiteX98" fmla="*/ 4896838 w 11683878"/>
                <a:gd name="connsiteY98" fmla="*/ 5473501 h 6246035"/>
                <a:gd name="connsiteX99" fmla="*/ 4896940 w 11683878"/>
                <a:gd name="connsiteY99" fmla="*/ 5473357 h 6246035"/>
                <a:gd name="connsiteX100" fmla="*/ 4897043 w 11683878"/>
                <a:gd name="connsiteY100" fmla="*/ 5473208 h 6246035"/>
                <a:gd name="connsiteX101" fmla="*/ 4897044 w 11683878"/>
                <a:gd name="connsiteY101" fmla="*/ 5473209 h 6246035"/>
                <a:gd name="connsiteX102" fmla="*/ 5483066 w 11683878"/>
                <a:gd name="connsiteY102" fmla="*/ 5441290 h 6246035"/>
                <a:gd name="connsiteX103" fmla="*/ 5482688 w 11683878"/>
                <a:gd name="connsiteY103" fmla="*/ 5441900 h 6246035"/>
                <a:gd name="connsiteX104" fmla="*/ 5489965 w 11683878"/>
                <a:gd name="connsiteY104" fmla="*/ 5474607 h 6246035"/>
                <a:gd name="connsiteX105" fmla="*/ 5490059 w 11683878"/>
                <a:gd name="connsiteY105" fmla="*/ 5474617 h 6246035"/>
                <a:gd name="connsiteX106" fmla="*/ 5039409 w 11683878"/>
                <a:gd name="connsiteY106" fmla="*/ 5426066 h 6246035"/>
                <a:gd name="connsiteX107" fmla="*/ 4918270 w 11683878"/>
                <a:gd name="connsiteY107" fmla="*/ 5444189 h 6246035"/>
                <a:gd name="connsiteX108" fmla="*/ 5039071 w 11683878"/>
                <a:gd name="connsiteY108" fmla="*/ 5426352 h 6246035"/>
                <a:gd name="connsiteX109" fmla="*/ 5517581 w 11683878"/>
                <a:gd name="connsiteY109" fmla="*/ 5412246 h 6246035"/>
                <a:gd name="connsiteX110" fmla="*/ 5499630 w 11683878"/>
                <a:gd name="connsiteY110" fmla="*/ 5414562 h 6246035"/>
                <a:gd name="connsiteX111" fmla="*/ 5483483 w 11683878"/>
                <a:gd name="connsiteY111" fmla="*/ 5440616 h 6246035"/>
                <a:gd name="connsiteX112" fmla="*/ 9972326 w 11683878"/>
                <a:gd name="connsiteY112" fmla="*/ 5400627 h 6246035"/>
                <a:gd name="connsiteX113" fmla="*/ 9972321 w 11683878"/>
                <a:gd name="connsiteY113" fmla="*/ 5400635 h 6246035"/>
                <a:gd name="connsiteX114" fmla="*/ 9972323 w 11683878"/>
                <a:gd name="connsiteY114" fmla="*/ 5400639 h 6246035"/>
                <a:gd name="connsiteX115" fmla="*/ 5300992 w 11683878"/>
                <a:gd name="connsiteY115" fmla="*/ 5399326 h 6246035"/>
                <a:gd name="connsiteX116" fmla="*/ 5300990 w 11683878"/>
                <a:gd name="connsiteY116" fmla="*/ 5399327 h 6246035"/>
                <a:gd name="connsiteX117" fmla="*/ 5278124 w 11683878"/>
                <a:gd name="connsiteY117" fmla="*/ 5432873 h 6246035"/>
                <a:gd name="connsiteX118" fmla="*/ 5278929 w 11683878"/>
                <a:gd name="connsiteY118" fmla="*/ 5433502 h 6246035"/>
                <a:gd name="connsiteX119" fmla="*/ 5300991 w 11683878"/>
                <a:gd name="connsiteY119" fmla="*/ 5399327 h 6246035"/>
                <a:gd name="connsiteX120" fmla="*/ 6336735 w 11683878"/>
                <a:gd name="connsiteY120" fmla="*/ 5394801 h 6246035"/>
                <a:gd name="connsiteX121" fmla="*/ 6307012 w 11683878"/>
                <a:gd name="connsiteY121" fmla="*/ 5436934 h 6246035"/>
                <a:gd name="connsiteX122" fmla="*/ 6307049 w 11683878"/>
                <a:gd name="connsiteY122" fmla="*/ 5437714 h 6246035"/>
                <a:gd name="connsiteX123" fmla="*/ 6336822 w 11683878"/>
                <a:gd name="connsiteY123" fmla="*/ 5398603 h 6246035"/>
                <a:gd name="connsiteX124" fmla="*/ 6336009 w 11683878"/>
                <a:gd name="connsiteY124" fmla="*/ 5363087 h 6246035"/>
                <a:gd name="connsiteX125" fmla="*/ 6332846 w 11683878"/>
                <a:gd name="connsiteY125" fmla="*/ 5363530 h 6246035"/>
                <a:gd name="connsiteX126" fmla="*/ 6336403 w 11683878"/>
                <a:gd name="connsiteY126" fmla="*/ 5380277 h 6246035"/>
                <a:gd name="connsiteX127" fmla="*/ 5185096 w 11683878"/>
                <a:gd name="connsiteY127" fmla="*/ 5361035 h 6246035"/>
                <a:gd name="connsiteX128" fmla="*/ 5136479 w 11683878"/>
                <a:gd name="connsiteY128" fmla="*/ 5370872 h 6246035"/>
                <a:gd name="connsiteX129" fmla="*/ 5185096 w 11683878"/>
                <a:gd name="connsiteY129" fmla="*/ 5361036 h 6246035"/>
                <a:gd name="connsiteX130" fmla="*/ 7579338 w 11683878"/>
                <a:gd name="connsiteY130" fmla="*/ 5360843 h 6246035"/>
                <a:gd name="connsiteX131" fmla="*/ 7553517 w 11683878"/>
                <a:gd name="connsiteY131" fmla="*/ 5414220 h 6246035"/>
                <a:gd name="connsiteX132" fmla="*/ 7491805 w 11683878"/>
                <a:gd name="connsiteY132" fmla="*/ 5453429 h 6246035"/>
                <a:gd name="connsiteX133" fmla="*/ 7469078 w 11683878"/>
                <a:gd name="connsiteY133" fmla="*/ 5501113 h 6246035"/>
                <a:gd name="connsiteX134" fmla="*/ 7469082 w 11683878"/>
                <a:gd name="connsiteY134" fmla="*/ 5501113 h 6246035"/>
                <a:gd name="connsiteX135" fmla="*/ 7491809 w 11683878"/>
                <a:gd name="connsiteY135" fmla="*/ 5453429 h 6246035"/>
                <a:gd name="connsiteX136" fmla="*/ 7553521 w 11683878"/>
                <a:gd name="connsiteY136" fmla="*/ 5414221 h 6246035"/>
                <a:gd name="connsiteX137" fmla="*/ 7579341 w 11683878"/>
                <a:gd name="connsiteY137" fmla="*/ 5360844 h 6246035"/>
                <a:gd name="connsiteX138" fmla="*/ 5088044 w 11683878"/>
                <a:gd name="connsiteY138" fmla="*/ 5358928 h 6246035"/>
                <a:gd name="connsiteX139" fmla="*/ 5087993 w 11683878"/>
                <a:gd name="connsiteY139" fmla="*/ 5358952 h 6246035"/>
                <a:gd name="connsiteX140" fmla="*/ 5089303 w 11683878"/>
                <a:gd name="connsiteY140" fmla="*/ 5383254 h 6246035"/>
                <a:gd name="connsiteX141" fmla="*/ 6368088 w 11683878"/>
                <a:gd name="connsiteY141" fmla="*/ 5358590 h 6246035"/>
                <a:gd name="connsiteX142" fmla="*/ 6345879 w 11683878"/>
                <a:gd name="connsiteY142" fmla="*/ 5361703 h 6246035"/>
                <a:gd name="connsiteX143" fmla="*/ 6364347 w 11683878"/>
                <a:gd name="connsiteY143" fmla="*/ 5368585 h 6246035"/>
                <a:gd name="connsiteX144" fmla="*/ 5614623 w 11683878"/>
                <a:gd name="connsiteY144" fmla="*/ 5352979 h 6246035"/>
                <a:gd name="connsiteX145" fmla="*/ 5578337 w 11683878"/>
                <a:gd name="connsiteY145" fmla="*/ 5355110 h 6246035"/>
                <a:gd name="connsiteX146" fmla="*/ 5535561 w 11683878"/>
                <a:gd name="connsiteY146" fmla="*/ 5409926 h 6246035"/>
                <a:gd name="connsiteX147" fmla="*/ 5524050 w 11683878"/>
                <a:gd name="connsiteY147" fmla="*/ 5411411 h 6246035"/>
                <a:gd name="connsiteX148" fmla="*/ 5535935 w 11683878"/>
                <a:gd name="connsiteY148" fmla="*/ 5420335 h 6246035"/>
                <a:gd name="connsiteX149" fmla="*/ 5578338 w 11683878"/>
                <a:gd name="connsiteY149" fmla="*/ 5355110 h 6246035"/>
                <a:gd name="connsiteX150" fmla="*/ 5614364 w 11683878"/>
                <a:gd name="connsiteY150" fmla="*/ 5353365 h 6246035"/>
                <a:gd name="connsiteX151" fmla="*/ 5100890 w 11683878"/>
                <a:gd name="connsiteY151" fmla="*/ 5352853 h 6246035"/>
                <a:gd name="connsiteX152" fmla="*/ 5127090 w 11683878"/>
                <a:gd name="connsiteY152" fmla="*/ 5372772 h 6246035"/>
                <a:gd name="connsiteX153" fmla="*/ 5127090 w 11683878"/>
                <a:gd name="connsiteY153" fmla="*/ 5372772 h 6246035"/>
                <a:gd name="connsiteX154" fmla="*/ 5100891 w 11683878"/>
                <a:gd name="connsiteY154" fmla="*/ 5352853 h 6246035"/>
                <a:gd name="connsiteX155" fmla="*/ 5346537 w 11683878"/>
                <a:gd name="connsiteY155" fmla="*/ 5346451 h 6246035"/>
                <a:gd name="connsiteX156" fmla="*/ 5343184 w 11683878"/>
                <a:gd name="connsiteY156" fmla="*/ 5346697 h 6246035"/>
                <a:gd name="connsiteX157" fmla="*/ 5333207 w 11683878"/>
                <a:gd name="connsiteY157" fmla="*/ 5388933 h 6246035"/>
                <a:gd name="connsiteX158" fmla="*/ 5349039 w 11683878"/>
                <a:gd name="connsiteY158" fmla="*/ 5383826 h 6246035"/>
                <a:gd name="connsiteX159" fmla="*/ 5336342 w 11683878"/>
                <a:gd name="connsiteY159" fmla="*/ 5387334 h 6246035"/>
                <a:gd name="connsiteX160" fmla="*/ 5271323 w 11683878"/>
                <a:gd name="connsiteY160" fmla="*/ 5334573 h 6246035"/>
                <a:gd name="connsiteX161" fmla="*/ 5271767 w 11683878"/>
                <a:gd name="connsiteY161" fmla="*/ 5335002 h 6246035"/>
                <a:gd name="connsiteX162" fmla="*/ 5271821 w 11683878"/>
                <a:gd name="connsiteY162" fmla="*/ 5334974 h 6246035"/>
                <a:gd name="connsiteX163" fmla="*/ 10094282 w 11683878"/>
                <a:gd name="connsiteY163" fmla="*/ 5334424 h 6246035"/>
                <a:gd name="connsiteX164" fmla="*/ 10062830 w 11683878"/>
                <a:gd name="connsiteY164" fmla="*/ 5360272 h 6246035"/>
                <a:gd name="connsiteX165" fmla="*/ 10062831 w 11683878"/>
                <a:gd name="connsiteY165" fmla="*/ 5360278 h 6246035"/>
                <a:gd name="connsiteX166" fmla="*/ 10094345 w 11683878"/>
                <a:gd name="connsiteY166" fmla="*/ 5334447 h 6246035"/>
                <a:gd name="connsiteX167" fmla="*/ 10015267 w 11683878"/>
                <a:gd name="connsiteY167" fmla="*/ 5334219 h 6246035"/>
                <a:gd name="connsiteX168" fmla="*/ 10015253 w 11683878"/>
                <a:gd name="connsiteY168" fmla="*/ 5334240 h 6246035"/>
                <a:gd name="connsiteX169" fmla="*/ 10015273 w 11683878"/>
                <a:gd name="connsiteY169" fmla="*/ 5334220 h 6246035"/>
                <a:gd name="connsiteX170" fmla="*/ 10132108 w 11683878"/>
                <a:gd name="connsiteY170" fmla="*/ 5330559 h 6246035"/>
                <a:gd name="connsiteX171" fmla="*/ 10127225 w 11683878"/>
                <a:gd name="connsiteY171" fmla="*/ 5346366 h 6246035"/>
                <a:gd name="connsiteX172" fmla="*/ 10127233 w 11683878"/>
                <a:gd name="connsiteY172" fmla="*/ 5346369 h 6246035"/>
                <a:gd name="connsiteX173" fmla="*/ 10132236 w 11683878"/>
                <a:gd name="connsiteY173" fmla="*/ 5330580 h 6246035"/>
                <a:gd name="connsiteX174" fmla="*/ 6341788 w 11683878"/>
                <a:gd name="connsiteY174" fmla="*/ 5329727 h 6246035"/>
                <a:gd name="connsiteX175" fmla="*/ 6368247 w 11683878"/>
                <a:gd name="connsiteY175" fmla="*/ 5358163 h 6246035"/>
                <a:gd name="connsiteX176" fmla="*/ 6378007 w 11683878"/>
                <a:gd name="connsiteY176" fmla="*/ 5332083 h 6246035"/>
                <a:gd name="connsiteX177" fmla="*/ 6364532 w 11683878"/>
                <a:gd name="connsiteY177" fmla="*/ 5353527 h 6246035"/>
                <a:gd name="connsiteX178" fmla="*/ 5639240 w 11683878"/>
                <a:gd name="connsiteY178" fmla="*/ 5316371 h 6246035"/>
                <a:gd name="connsiteX179" fmla="*/ 5633201 w 11683878"/>
                <a:gd name="connsiteY179" fmla="*/ 5325405 h 6246035"/>
                <a:gd name="connsiteX180" fmla="*/ 5639234 w 11683878"/>
                <a:gd name="connsiteY180" fmla="*/ 5316450 h 6246035"/>
                <a:gd name="connsiteX181" fmla="*/ 10186104 w 11683878"/>
                <a:gd name="connsiteY181" fmla="*/ 5313606 h 6246035"/>
                <a:gd name="connsiteX182" fmla="*/ 10155392 w 11683878"/>
                <a:gd name="connsiteY182" fmla="*/ 5334243 h 6246035"/>
                <a:gd name="connsiteX183" fmla="*/ 10155501 w 11683878"/>
                <a:gd name="connsiteY183" fmla="*/ 5334261 h 6246035"/>
                <a:gd name="connsiteX184" fmla="*/ 6278097 w 11683878"/>
                <a:gd name="connsiteY184" fmla="*/ 5312911 h 6246035"/>
                <a:gd name="connsiteX185" fmla="*/ 6278211 w 11683878"/>
                <a:gd name="connsiteY185" fmla="*/ 5331178 h 6246035"/>
                <a:gd name="connsiteX186" fmla="*/ 6279002 w 11683878"/>
                <a:gd name="connsiteY186" fmla="*/ 5331069 h 6246035"/>
                <a:gd name="connsiteX187" fmla="*/ 5429547 w 11683878"/>
                <a:gd name="connsiteY187" fmla="*/ 5301888 h 6246035"/>
                <a:gd name="connsiteX188" fmla="*/ 5364644 w 11683878"/>
                <a:gd name="connsiteY188" fmla="*/ 5378791 h 6246035"/>
                <a:gd name="connsiteX189" fmla="*/ 5365833 w 11683878"/>
                <a:gd name="connsiteY189" fmla="*/ 5378408 h 6246035"/>
                <a:gd name="connsiteX190" fmla="*/ 5190303 w 11683878"/>
                <a:gd name="connsiteY190" fmla="*/ 5299966 h 6246035"/>
                <a:gd name="connsiteX191" fmla="*/ 5181988 w 11683878"/>
                <a:gd name="connsiteY191" fmla="*/ 5302731 h 6246035"/>
                <a:gd name="connsiteX192" fmla="*/ 5182362 w 11683878"/>
                <a:gd name="connsiteY192" fmla="*/ 5309752 h 6246035"/>
                <a:gd name="connsiteX193" fmla="*/ 6461215 w 11683878"/>
                <a:gd name="connsiteY193" fmla="*/ 5290164 h 6246035"/>
                <a:gd name="connsiteX194" fmla="*/ 6424740 w 11683878"/>
                <a:gd name="connsiteY194" fmla="*/ 5299538 h 6246035"/>
                <a:gd name="connsiteX195" fmla="*/ 6423149 w 11683878"/>
                <a:gd name="connsiteY195" fmla="*/ 5309329 h 6246035"/>
                <a:gd name="connsiteX196" fmla="*/ 6461233 w 11683878"/>
                <a:gd name="connsiteY196" fmla="*/ 5290159 h 6246035"/>
                <a:gd name="connsiteX197" fmla="*/ 6461227 w 11683878"/>
                <a:gd name="connsiteY197" fmla="*/ 5290161 h 6246035"/>
                <a:gd name="connsiteX198" fmla="*/ 6492709 w 11683878"/>
                <a:gd name="connsiteY198" fmla="*/ 5355699 h 6246035"/>
                <a:gd name="connsiteX199" fmla="*/ 6570182 w 11683878"/>
                <a:gd name="connsiteY199" fmla="*/ 5404160 h 6246035"/>
                <a:gd name="connsiteX200" fmla="*/ 6623110 w 11683878"/>
                <a:gd name="connsiteY200" fmla="*/ 5452278 h 6246035"/>
                <a:gd name="connsiteX201" fmla="*/ 6620090 w 11683878"/>
                <a:gd name="connsiteY201" fmla="*/ 5467111 h 6246035"/>
                <a:gd name="connsiteX202" fmla="*/ 6620098 w 11683878"/>
                <a:gd name="connsiteY202" fmla="*/ 5467111 h 6246035"/>
                <a:gd name="connsiteX203" fmla="*/ 6623117 w 11683878"/>
                <a:gd name="connsiteY203" fmla="*/ 5452279 h 6246035"/>
                <a:gd name="connsiteX204" fmla="*/ 6570188 w 11683878"/>
                <a:gd name="connsiteY204" fmla="*/ 5404161 h 6246035"/>
                <a:gd name="connsiteX205" fmla="*/ 6492716 w 11683878"/>
                <a:gd name="connsiteY205" fmla="*/ 5355700 h 6246035"/>
                <a:gd name="connsiteX206" fmla="*/ 5942602 w 11683878"/>
                <a:gd name="connsiteY206" fmla="*/ 5286649 h 6246035"/>
                <a:gd name="connsiteX207" fmla="*/ 5924136 w 11683878"/>
                <a:gd name="connsiteY207" fmla="*/ 5342181 h 6246035"/>
                <a:gd name="connsiteX208" fmla="*/ 5887235 w 11683878"/>
                <a:gd name="connsiteY208" fmla="*/ 5351518 h 6246035"/>
                <a:gd name="connsiteX209" fmla="*/ 5835045 w 11683878"/>
                <a:gd name="connsiteY209" fmla="*/ 5443782 h 6246035"/>
                <a:gd name="connsiteX210" fmla="*/ 5752933 w 11683878"/>
                <a:gd name="connsiteY210" fmla="*/ 5494800 h 6246035"/>
                <a:gd name="connsiteX211" fmla="*/ 5752935 w 11683878"/>
                <a:gd name="connsiteY211" fmla="*/ 5494800 h 6246035"/>
                <a:gd name="connsiteX212" fmla="*/ 5835049 w 11683878"/>
                <a:gd name="connsiteY212" fmla="*/ 5443782 h 6246035"/>
                <a:gd name="connsiteX213" fmla="*/ 5887237 w 11683878"/>
                <a:gd name="connsiteY213" fmla="*/ 5351518 h 6246035"/>
                <a:gd name="connsiteX214" fmla="*/ 5924139 w 11683878"/>
                <a:gd name="connsiteY214" fmla="*/ 5342181 h 6246035"/>
                <a:gd name="connsiteX215" fmla="*/ 5945748 w 11683878"/>
                <a:gd name="connsiteY215" fmla="*/ 5292712 h 6246035"/>
                <a:gd name="connsiteX216" fmla="*/ 5233560 w 11683878"/>
                <a:gd name="connsiteY216" fmla="*/ 5285579 h 6246035"/>
                <a:gd name="connsiteX217" fmla="*/ 5222726 w 11683878"/>
                <a:gd name="connsiteY217" fmla="*/ 5289182 h 6246035"/>
                <a:gd name="connsiteX218" fmla="*/ 5224467 w 11683878"/>
                <a:gd name="connsiteY218" fmla="*/ 5289362 h 6246035"/>
                <a:gd name="connsiteX219" fmla="*/ 5229628 w 11683878"/>
                <a:gd name="connsiteY219" fmla="*/ 5294342 h 6246035"/>
                <a:gd name="connsiteX220" fmla="*/ 6213177 w 11683878"/>
                <a:gd name="connsiteY220" fmla="*/ 5285184 h 6246035"/>
                <a:gd name="connsiteX221" fmla="*/ 6214174 w 11683878"/>
                <a:gd name="connsiteY221" fmla="*/ 5286647 h 6246035"/>
                <a:gd name="connsiteX222" fmla="*/ 6255196 w 11683878"/>
                <a:gd name="connsiteY222" fmla="*/ 5302178 h 6246035"/>
                <a:gd name="connsiteX223" fmla="*/ 6214881 w 11683878"/>
                <a:gd name="connsiteY223" fmla="*/ 5286745 h 6246035"/>
                <a:gd name="connsiteX224" fmla="*/ 5947769 w 11683878"/>
                <a:gd name="connsiteY224" fmla="*/ 5271111 h 6246035"/>
                <a:gd name="connsiteX225" fmla="*/ 5946566 w 11683878"/>
                <a:gd name="connsiteY225" fmla="*/ 5274730 h 6246035"/>
                <a:gd name="connsiteX226" fmla="*/ 5955246 w 11683878"/>
                <a:gd name="connsiteY226" fmla="*/ 5272068 h 6246035"/>
                <a:gd name="connsiteX227" fmla="*/ 6000686 w 11683878"/>
                <a:gd name="connsiteY227" fmla="*/ 5266266 h 6246035"/>
                <a:gd name="connsiteX228" fmla="*/ 6010969 w 11683878"/>
                <a:gd name="connsiteY228" fmla="*/ 5277239 h 6246035"/>
                <a:gd name="connsiteX229" fmla="*/ 6011206 w 11683878"/>
                <a:gd name="connsiteY229" fmla="*/ 5277068 h 6246035"/>
                <a:gd name="connsiteX230" fmla="*/ 5994571 w 11683878"/>
                <a:gd name="connsiteY230" fmla="*/ 5259987 h 6246035"/>
                <a:gd name="connsiteX231" fmla="*/ 5994530 w 11683878"/>
                <a:gd name="connsiteY231" fmla="*/ 5260022 h 6246035"/>
                <a:gd name="connsiteX232" fmla="*/ 5994588 w 11683878"/>
                <a:gd name="connsiteY232" fmla="*/ 5260004 h 6246035"/>
                <a:gd name="connsiteX233" fmla="*/ 5215476 w 11683878"/>
                <a:gd name="connsiteY233" fmla="*/ 5257631 h 6246035"/>
                <a:gd name="connsiteX234" fmla="*/ 5234163 w 11683878"/>
                <a:gd name="connsiteY234" fmla="*/ 5284233 h 6246035"/>
                <a:gd name="connsiteX235" fmla="*/ 5234755 w 11683878"/>
                <a:gd name="connsiteY235" fmla="*/ 5282913 h 6246035"/>
                <a:gd name="connsiteX236" fmla="*/ 6042741 w 11683878"/>
                <a:gd name="connsiteY236" fmla="*/ 5254330 h 6246035"/>
                <a:gd name="connsiteX237" fmla="*/ 6042304 w 11683878"/>
                <a:gd name="connsiteY237" fmla="*/ 5254648 h 6246035"/>
                <a:gd name="connsiteX238" fmla="*/ 6042743 w 11683878"/>
                <a:gd name="connsiteY238" fmla="*/ 5254331 h 6246035"/>
                <a:gd name="connsiteX239" fmla="*/ 6129577 w 11683878"/>
                <a:gd name="connsiteY239" fmla="*/ 5249696 h 6246035"/>
                <a:gd name="connsiteX240" fmla="*/ 6108631 w 11683878"/>
                <a:gd name="connsiteY240" fmla="*/ 5260015 h 6246035"/>
                <a:gd name="connsiteX241" fmla="*/ 6128455 w 11683878"/>
                <a:gd name="connsiteY241" fmla="*/ 5252911 h 6246035"/>
                <a:gd name="connsiteX242" fmla="*/ 6090422 w 11683878"/>
                <a:gd name="connsiteY242" fmla="*/ 5242461 h 6246035"/>
                <a:gd name="connsiteX243" fmla="*/ 6076980 w 11683878"/>
                <a:gd name="connsiteY243" fmla="*/ 5267799 h 6246035"/>
                <a:gd name="connsiteX244" fmla="*/ 6076981 w 11683878"/>
                <a:gd name="connsiteY244" fmla="*/ 5267800 h 6246035"/>
                <a:gd name="connsiteX245" fmla="*/ 6090424 w 11683878"/>
                <a:gd name="connsiteY245" fmla="*/ 5242462 h 6246035"/>
                <a:gd name="connsiteX246" fmla="*/ 6135930 w 11683878"/>
                <a:gd name="connsiteY246" fmla="*/ 5231493 h 6246035"/>
                <a:gd name="connsiteX247" fmla="*/ 6120250 w 11683878"/>
                <a:gd name="connsiteY247" fmla="*/ 5234644 h 6246035"/>
                <a:gd name="connsiteX248" fmla="*/ 6130277 w 11683878"/>
                <a:gd name="connsiteY248" fmla="*/ 5247693 h 6246035"/>
                <a:gd name="connsiteX249" fmla="*/ 6151221 w 11683878"/>
                <a:gd name="connsiteY249" fmla="*/ 5228421 h 6246035"/>
                <a:gd name="connsiteX250" fmla="*/ 6141890 w 11683878"/>
                <a:gd name="connsiteY250" fmla="*/ 5230296 h 6246035"/>
                <a:gd name="connsiteX251" fmla="*/ 6163891 w 11683878"/>
                <a:gd name="connsiteY251" fmla="*/ 5240029 h 6246035"/>
                <a:gd name="connsiteX252" fmla="*/ 5422347 w 11683878"/>
                <a:gd name="connsiteY252" fmla="*/ 5225092 h 6246035"/>
                <a:gd name="connsiteX253" fmla="*/ 5408760 w 11683878"/>
                <a:gd name="connsiteY253" fmla="*/ 5256781 h 6246035"/>
                <a:gd name="connsiteX254" fmla="*/ 5422509 w 11683878"/>
                <a:gd name="connsiteY254" fmla="*/ 5225445 h 6246035"/>
                <a:gd name="connsiteX255" fmla="*/ 5413589 w 11683878"/>
                <a:gd name="connsiteY255" fmla="*/ 5205913 h 6246035"/>
                <a:gd name="connsiteX256" fmla="*/ 5401116 w 11683878"/>
                <a:gd name="connsiteY256" fmla="*/ 5207970 h 6246035"/>
                <a:gd name="connsiteX257" fmla="*/ 5422256 w 11683878"/>
                <a:gd name="connsiteY257" fmla="*/ 5224893 h 6246035"/>
                <a:gd name="connsiteX258" fmla="*/ 7769897 w 11683878"/>
                <a:gd name="connsiteY258" fmla="*/ 5202581 h 6246035"/>
                <a:gd name="connsiteX259" fmla="*/ 7754607 w 11683878"/>
                <a:gd name="connsiteY259" fmla="*/ 5267926 h 6246035"/>
                <a:gd name="connsiteX260" fmla="*/ 7716070 w 11683878"/>
                <a:gd name="connsiteY260" fmla="*/ 5309637 h 6246035"/>
                <a:gd name="connsiteX261" fmla="*/ 7621687 w 11683878"/>
                <a:gd name="connsiteY261" fmla="*/ 5343630 h 6246035"/>
                <a:gd name="connsiteX262" fmla="*/ 7610861 w 11683878"/>
                <a:gd name="connsiteY262" fmla="*/ 5367314 h 6246035"/>
                <a:gd name="connsiteX263" fmla="*/ 7612180 w 11683878"/>
                <a:gd name="connsiteY263" fmla="*/ 5367585 h 6246035"/>
                <a:gd name="connsiteX264" fmla="*/ 7621690 w 11683878"/>
                <a:gd name="connsiteY264" fmla="*/ 5343630 h 6246035"/>
                <a:gd name="connsiteX265" fmla="*/ 7716074 w 11683878"/>
                <a:gd name="connsiteY265" fmla="*/ 5309638 h 6246035"/>
                <a:gd name="connsiteX266" fmla="*/ 7754611 w 11683878"/>
                <a:gd name="connsiteY266" fmla="*/ 5267926 h 6246035"/>
                <a:gd name="connsiteX267" fmla="*/ 7769900 w 11683878"/>
                <a:gd name="connsiteY267" fmla="*/ 5202581 h 6246035"/>
                <a:gd name="connsiteX268" fmla="*/ 9765866 w 11683878"/>
                <a:gd name="connsiteY268" fmla="*/ 5199759 h 6246035"/>
                <a:gd name="connsiteX269" fmla="*/ 9765569 w 11683878"/>
                <a:gd name="connsiteY269" fmla="*/ 5199821 h 6246035"/>
                <a:gd name="connsiteX270" fmla="*/ 9765575 w 11683878"/>
                <a:gd name="connsiteY270" fmla="*/ 5199821 h 6246035"/>
                <a:gd name="connsiteX271" fmla="*/ 9567442 w 11683878"/>
                <a:gd name="connsiteY271" fmla="*/ 5198462 h 6246035"/>
                <a:gd name="connsiteX272" fmla="*/ 9582250 w 11683878"/>
                <a:gd name="connsiteY272" fmla="*/ 5200594 h 6246035"/>
                <a:gd name="connsiteX273" fmla="*/ 9582181 w 11683878"/>
                <a:gd name="connsiteY273" fmla="*/ 5200283 h 6246035"/>
                <a:gd name="connsiteX274" fmla="*/ 9559406 w 11683878"/>
                <a:gd name="connsiteY274" fmla="*/ 5197469 h 6246035"/>
                <a:gd name="connsiteX275" fmla="*/ 9538004 w 11683878"/>
                <a:gd name="connsiteY275" fmla="*/ 5229753 h 6246035"/>
                <a:gd name="connsiteX276" fmla="*/ 9529201 w 11683878"/>
                <a:gd name="connsiteY276" fmla="*/ 5212836 h 6246035"/>
                <a:gd name="connsiteX277" fmla="*/ 9529974 w 11683878"/>
                <a:gd name="connsiteY277" fmla="*/ 5226094 h 6246035"/>
                <a:gd name="connsiteX278" fmla="*/ 9503268 w 11683878"/>
                <a:gd name="connsiteY278" fmla="*/ 5242711 h 6246035"/>
                <a:gd name="connsiteX279" fmla="*/ 9513726 w 11683878"/>
                <a:gd name="connsiteY279" fmla="*/ 5282069 h 6246035"/>
                <a:gd name="connsiteX280" fmla="*/ 9514523 w 11683878"/>
                <a:gd name="connsiteY280" fmla="*/ 5281447 h 6246035"/>
                <a:gd name="connsiteX281" fmla="*/ 9503287 w 11683878"/>
                <a:gd name="connsiteY281" fmla="*/ 5242711 h 6246035"/>
                <a:gd name="connsiteX282" fmla="*/ 9539494 w 11683878"/>
                <a:gd name="connsiteY282" fmla="*/ 5229318 h 6246035"/>
                <a:gd name="connsiteX283" fmla="*/ 9559747 w 11683878"/>
                <a:gd name="connsiteY283" fmla="*/ 5197511 h 6246035"/>
                <a:gd name="connsiteX284" fmla="*/ 5204580 w 11683878"/>
                <a:gd name="connsiteY284" fmla="*/ 5196855 h 6246035"/>
                <a:gd name="connsiteX285" fmla="*/ 5200590 w 11683878"/>
                <a:gd name="connsiteY285" fmla="*/ 5201854 h 6246035"/>
                <a:gd name="connsiteX286" fmla="*/ 5234166 w 11683878"/>
                <a:gd name="connsiteY286" fmla="*/ 5230356 h 6246035"/>
                <a:gd name="connsiteX287" fmla="*/ 5655639 w 11683878"/>
                <a:gd name="connsiteY287" fmla="*/ 5178980 h 6246035"/>
                <a:gd name="connsiteX288" fmla="*/ 5661138 w 11683878"/>
                <a:gd name="connsiteY288" fmla="*/ 5208427 h 6246035"/>
                <a:gd name="connsiteX289" fmla="*/ 5689321 w 11683878"/>
                <a:gd name="connsiteY289" fmla="*/ 5250571 h 6246035"/>
                <a:gd name="connsiteX290" fmla="*/ 5669109 w 11683878"/>
                <a:gd name="connsiteY290" fmla="*/ 5275171 h 6246035"/>
                <a:gd name="connsiteX291" fmla="*/ 5641640 w 11683878"/>
                <a:gd name="connsiteY291" fmla="*/ 5278459 h 6246035"/>
                <a:gd name="connsiteX292" fmla="*/ 5641629 w 11683878"/>
                <a:gd name="connsiteY292" fmla="*/ 5278652 h 6246035"/>
                <a:gd name="connsiteX293" fmla="*/ 5641642 w 11683878"/>
                <a:gd name="connsiteY293" fmla="*/ 5278459 h 6246035"/>
                <a:gd name="connsiteX294" fmla="*/ 5669110 w 11683878"/>
                <a:gd name="connsiteY294" fmla="*/ 5275171 h 6246035"/>
                <a:gd name="connsiteX295" fmla="*/ 5689323 w 11683878"/>
                <a:gd name="connsiteY295" fmla="*/ 5250571 h 6246035"/>
                <a:gd name="connsiteX296" fmla="*/ 9715043 w 11683878"/>
                <a:gd name="connsiteY296" fmla="*/ 5172539 h 6246035"/>
                <a:gd name="connsiteX297" fmla="*/ 9728698 w 11683878"/>
                <a:gd name="connsiteY297" fmla="*/ 5197505 h 6246035"/>
                <a:gd name="connsiteX298" fmla="*/ 9715691 w 11683878"/>
                <a:gd name="connsiteY298" fmla="*/ 5172829 h 6246035"/>
                <a:gd name="connsiteX299" fmla="*/ 9656491 w 11683878"/>
                <a:gd name="connsiteY299" fmla="*/ 5163631 h 6246035"/>
                <a:gd name="connsiteX300" fmla="*/ 9658232 w 11683878"/>
                <a:gd name="connsiteY300" fmla="*/ 5165686 h 6246035"/>
                <a:gd name="connsiteX301" fmla="*/ 9658271 w 11683878"/>
                <a:gd name="connsiteY301" fmla="*/ 5165673 h 6246035"/>
                <a:gd name="connsiteX302" fmla="*/ 5426612 w 11683878"/>
                <a:gd name="connsiteY302" fmla="*/ 5161023 h 6246035"/>
                <a:gd name="connsiteX303" fmla="*/ 5399116 w 11683878"/>
                <a:gd name="connsiteY303" fmla="*/ 5206369 h 6246035"/>
                <a:gd name="connsiteX304" fmla="*/ 5399689 w 11683878"/>
                <a:gd name="connsiteY304" fmla="*/ 5206828 h 6246035"/>
                <a:gd name="connsiteX305" fmla="*/ 9501195 w 11683878"/>
                <a:gd name="connsiteY305" fmla="*/ 5159019 h 6246035"/>
                <a:gd name="connsiteX306" fmla="*/ 9494069 w 11683878"/>
                <a:gd name="connsiteY306" fmla="*/ 5166676 h 6246035"/>
                <a:gd name="connsiteX307" fmla="*/ 9514621 w 11683878"/>
                <a:gd name="connsiteY307" fmla="*/ 5184819 h 6246035"/>
                <a:gd name="connsiteX308" fmla="*/ 9838942 w 11683878"/>
                <a:gd name="connsiteY308" fmla="*/ 5158294 h 6246035"/>
                <a:gd name="connsiteX309" fmla="*/ 9862977 w 11683878"/>
                <a:gd name="connsiteY309" fmla="*/ 5171066 h 6246035"/>
                <a:gd name="connsiteX310" fmla="*/ 9863179 w 11683878"/>
                <a:gd name="connsiteY310" fmla="*/ 5170929 h 6246035"/>
                <a:gd name="connsiteX311" fmla="*/ 9838621 w 11683878"/>
                <a:gd name="connsiteY311" fmla="*/ 5158127 h 6246035"/>
                <a:gd name="connsiteX312" fmla="*/ 9819809 w 11683878"/>
                <a:gd name="connsiteY312" fmla="*/ 5188190 h 6246035"/>
                <a:gd name="connsiteX313" fmla="*/ 9820550 w 11683878"/>
                <a:gd name="connsiteY313" fmla="*/ 5188031 h 6246035"/>
                <a:gd name="connsiteX314" fmla="*/ 9838628 w 11683878"/>
                <a:gd name="connsiteY314" fmla="*/ 5158130 h 6246035"/>
                <a:gd name="connsiteX315" fmla="*/ 9681982 w 11683878"/>
                <a:gd name="connsiteY315" fmla="*/ 5157736 h 6246035"/>
                <a:gd name="connsiteX316" fmla="*/ 9678529 w 11683878"/>
                <a:gd name="connsiteY316" fmla="*/ 5158927 h 6246035"/>
                <a:gd name="connsiteX317" fmla="*/ 9682035 w 11683878"/>
                <a:gd name="connsiteY317" fmla="*/ 5157760 h 6246035"/>
                <a:gd name="connsiteX318" fmla="*/ 5236104 w 11683878"/>
                <a:gd name="connsiteY318" fmla="*/ 5157349 h 6246035"/>
                <a:gd name="connsiteX319" fmla="*/ 5211055 w 11683878"/>
                <a:gd name="connsiteY319" fmla="*/ 5188741 h 6246035"/>
                <a:gd name="connsiteX320" fmla="*/ 5223339 w 11683878"/>
                <a:gd name="connsiteY320" fmla="*/ 5184134 h 6246035"/>
                <a:gd name="connsiteX321" fmla="*/ 9589004 w 11683878"/>
                <a:gd name="connsiteY321" fmla="*/ 5156753 h 6246035"/>
                <a:gd name="connsiteX322" fmla="*/ 9575870 w 11683878"/>
                <a:gd name="connsiteY322" fmla="*/ 5164119 h 6246035"/>
                <a:gd name="connsiteX323" fmla="*/ 9576386 w 11683878"/>
                <a:gd name="connsiteY323" fmla="*/ 5166959 h 6246035"/>
                <a:gd name="connsiteX324" fmla="*/ 9648111 w 11683878"/>
                <a:gd name="connsiteY324" fmla="*/ 5154020 h 6246035"/>
                <a:gd name="connsiteX325" fmla="*/ 9615708 w 11683878"/>
                <a:gd name="connsiteY325" fmla="*/ 5176730 h 6246035"/>
                <a:gd name="connsiteX326" fmla="*/ 9597302 w 11683878"/>
                <a:gd name="connsiteY326" fmla="*/ 5162923 h 6246035"/>
                <a:gd name="connsiteX327" fmla="*/ 9615594 w 11683878"/>
                <a:gd name="connsiteY327" fmla="*/ 5176999 h 6246035"/>
                <a:gd name="connsiteX328" fmla="*/ 9648163 w 11683878"/>
                <a:gd name="connsiteY328" fmla="*/ 5154080 h 6246035"/>
                <a:gd name="connsiteX329" fmla="*/ 9901199 w 11683878"/>
                <a:gd name="connsiteY329" fmla="*/ 5149967 h 6246035"/>
                <a:gd name="connsiteX330" fmla="*/ 9899874 w 11683878"/>
                <a:gd name="connsiteY330" fmla="*/ 5150711 h 6246035"/>
                <a:gd name="connsiteX331" fmla="*/ 9901257 w 11683878"/>
                <a:gd name="connsiteY331" fmla="*/ 5152033 h 6246035"/>
                <a:gd name="connsiteX332" fmla="*/ 5453712 w 11683878"/>
                <a:gd name="connsiteY332" fmla="*/ 5144953 h 6246035"/>
                <a:gd name="connsiteX333" fmla="*/ 5435502 w 11683878"/>
                <a:gd name="connsiteY333" fmla="*/ 5146360 h 6246035"/>
                <a:gd name="connsiteX334" fmla="*/ 5435054 w 11683878"/>
                <a:gd name="connsiteY334" fmla="*/ 5147100 h 6246035"/>
                <a:gd name="connsiteX335" fmla="*/ 5671156 w 11683878"/>
                <a:gd name="connsiteY335" fmla="*/ 5132782 h 6246035"/>
                <a:gd name="connsiteX336" fmla="*/ 5653307 w 11683878"/>
                <a:gd name="connsiteY336" fmla="*/ 5166493 h 6246035"/>
                <a:gd name="connsiteX337" fmla="*/ 5654588 w 11683878"/>
                <a:gd name="connsiteY337" fmla="*/ 5173351 h 6246035"/>
                <a:gd name="connsiteX338" fmla="*/ 5671304 w 11683878"/>
                <a:gd name="connsiteY338" fmla="*/ 5133281 h 6246035"/>
                <a:gd name="connsiteX339" fmla="*/ 10249848 w 11683878"/>
                <a:gd name="connsiteY339" fmla="*/ 5112502 h 6246035"/>
                <a:gd name="connsiteX340" fmla="*/ 10249840 w 11683878"/>
                <a:gd name="connsiteY340" fmla="*/ 5112504 h 6246035"/>
                <a:gd name="connsiteX341" fmla="*/ 10266830 w 11683878"/>
                <a:gd name="connsiteY341" fmla="*/ 5135866 h 6246035"/>
                <a:gd name="connsiteX342" fmla="*/ 10235290 w 11683878"/>
                <a:gd name="connsiteY342" fmla="*/ 5209696 h 6246035"/>
                <a:gd name="connsiteX343" fmla="*/ 10190674 w 11683878"/>
                <a:gd name="connsiteY343" fmla="*/ 5221533 h 6246035"/>
                <a:gd name="connsiteX344" fmla="*/ 10205107 w 11683878"/>
                <a:gd name="connsiteY344" fmla="*/ 5260803 h 6246035"/>
                <a:gd name="connsiteX345" fmla="*/ 10189717 w 11683878"/>
                <a:gd name="connsiteY345" fmla="*/ 5311167 h 6246035"/>
                <a:gd name="connsiteX346" fmla="*/ 10189823 w 11683878"/>
                <a:gd name="connsiteY346" fmla="*/ 5311096 h 6246035"/>
                <a:gd name="connsiteX347" fmla="*/ 10205115 w 11683878"/>
                <a:gd name="connsiteY347" fmla="*/ 5260803 h 6246035"/>
                <a:gd name="connsiteX348" fmla="*/ 10190682 w 11683878"/>
                <a:gd name="connsiteY348" fmla="*/ 5221533 h 6246035"/>
                <a:gd name="connsiteX349" fmla="*/ 10235299 w 11683878"/>
                <a:gd name="connsiteY349" fmla="*/ 5209696 h 6246035"/>
                <a:gd name="connsiteX350" fmla="*/ 10266839 w 11683878"/>
                <a:gd name="connsiteY350" fmla="*/ 5135865 h 6246035"/>
                <a:gd name="connsiteX351" fmla="*/ 9474212 w 11683878"/>
                <a:gd name="connsiteY351" fmla="*/ 5107167 h 6246035"/>
                <a:gd name="connsiteX352" fmla="*/ 9478848 w 11683878"/>
                <a:gd name="connsiteY352" fmla="*/ 5126795 h 6246035"/>
                <a:gd name="connsiteX353" fmla="*/ 9485179 w 11683878"/>
                <a:gd name="connsiteY353" fmla="*/ 5128243 h 6246035"/>
                <a:gd name="connsiteX354" fmla="*/ 10191095 w 11683878"/>
                <a:gd name="connsiteY354" fmla="*/ 5106505 h 6246035"/>
                <a:gd name="connsiteX355" fmla="*/ 10183231 w 11683878"/>
                <a:gd name="connsiteY355" fmla="*/ 5132500 h 6246035"/>
                <a:gd name="connsiteX356" fmla="*/ 10183241 w 11683878"/>
                <a:gd name="connsiteY356" fmla="*/ 5132497 h 6246035"/>
                <a:gd name="connsiteX357" fmla="*/ 10191300 w 11683878"/>
                <a:gd name="connsiteY357" fmla="*/ 5106549 h 6246035"/>
                <a:gd name="connsiteX358" fmla="*/ 10150123 w 11683878"/>
                <a:gd name="connsiteY358" fmla="*/ 5097686 h 6246035"/>
                <a:gd name="connsiteX359" fmla="*/ 10150049 w 11683878"/>
                <a:gd name="connsiteY359" fmla="*/ 5097862 h 6246035"/>
                <a:gd name="connsiteX360" fmla="*/ 10174736 w 11683878"/>
                <a:gd name="connsiteY360" fmla="*/ 5102984 h 6246035"/>
                <a:gd name="connsiteX361" fmla="*/ 10309485 w 11683878"/>
                <a:gd name="connsiteY361" fmla="*/ 5094250 h 6246035"/>
                <a:gd name="connsiteX362" fmla="*/ 10310726 w 11683878"/>
                <a:gd name="connsiteY362" fmla="*/ 5114612 h 6246035"/>
                <a:gd name="connsiteX363" fmla="*/ 10311502 w 11683878"/>
                <a:gd name="connsiteY363" fmla="*/ 5114189 h 6246035"/>
                <a:gd name="connsiteX364" fmla="*/ 6082252 w 11683878"/>
                <a:gd name="connsiteY364" fmla="*/ 5093048 h 6246035"/>
                <a:gd name="connsiteX365" fmla="*/ 6042448 w 11683878"/>
                <a:gd name="connsiteY365" fmla="*/ 5133389 h 6246035"/>
                <a:gd name="connsiteX366" fmla="*/ 6042530 w 11683878"/>
                <a:gd name="connsiteY366" fmla="*/ 5133496 h 6246035"/>
                <a:gd name="connsiteX367" fmla="*/ 6082255 w 11683878"/>
                <a:gd name="connsiteY367" fmla="*/ 5093049 h 6246035"/>
                <a:gd name="connsiteX368" fmla="*/ 6082376 w 11683878"/>
                <a:gd name="connsiteY368" fmla="*/ 5093075 h 6246035"/>
                <a:gd name="connsiteX369" fmla="*/ 10292513 w 11683878"/>
                <a:gd name="connsiteY369" fmla="*/ 5090427 h 6246035"/>
                <a:gd name="connsiteX370" fmla="*/ 10309403 w 11683878"/>
                <a:gd name="connsiteY370" fmla="*/ 5093449 h 6246035"/>
                <a:gd name="connsiteX371" fmla="*/ 10309394 w 11683878"/>
                <a:gd name="connsiteY371" fmla="*/ 5093356 h 6246035"/>
                <a:gd name="connsiteX372" fmla="*/ 9457524 w 11683878"/>
                <a:gd name="connsiteY372" fmla="*/ 5083658 h 6246035"/>
                <a:gd name="connsiteX373" fmla="*/ 9465244 w 11683878"/>
                <a:gd name="connsiteY373" fmla="*/ 5089934 h 6246035"/>
                <a:gd name="connsiteX374" fmla="*/ 9462861 w 11683878"/>
                <a:gd name="connsiteY374" fmla="*/ 5085355 h 6246035"/>
                <a:gd name="connsiteX375" fmla="*/ 9424093 w 11683878"/>
                <a:gd name="connsiteY375" fmla="*/ 5073032 h 6246035"/>
                <a:gd name="connsiteX376" fmla="*/ 9421695 w 11683878"/>
                <a:gd name="connsiteY376" fmla="*/ 5076750 h 6246035"/>
                <a:gd name="connsiteX377" fmla="*/ 9432801 w 11683878"/>
                <a:gd name="connsiteY377" fmla="*/ 5075800 h 6246035"/>
                <a:gd name="connsiteX378" fmla="*/ 10193449 w 11683878"/>
                <a:gd name="connsiteY378" fmla="*/ 5051931 h 6246035"/>
                <a:gd name="connsiteX379" fmla="*/ 10193081 w 11683878"/>
                <a:gd name="connsiteY379" fmla="*/ 5053134 h 6246035"/>
                <a:gd name="connsiteX380" fmla="*/ 10164328 w 11683878"/>
                <a:gd name="connsiteY380" fmla="*/ 5064067 h 6246035"/>
                <a:gd name="connsiteX381" fmla="*/ 10162190 w 11683878"/>
                <a:gd name="connsiteY381" fmla="*/ 5069127 h 6246035"/>
                <a:gd name="connsiteX382" fmla="*/ 10164336 w 11683878"/>
                <a:gd name="connsiteY382" fmla="*/ 5064067 h 6246035"/>
                <a:gd name="connsiteX383" fmla="*/ 10193089 w 11683878"/>
                <a:gd name="connsiteY383" fmla="*/ 5053134 h 6246035"/>
                <a:gd name="connsiteX384" fmla="*/ 9395789 w 11683878"/>
                <a:gd name="connsiteY384" fmla="*/ 5049694 h 6246035"/>
                <a:gd name="connsiteX385" fmla="*/ 9382920 w 11683878"/>
                <a:gd name="connsiteY385" fmla="*/ 5054688 h 6246035"/>
                <a:gd name="connsiteX386" fmla="*/ 9396265 w 11683878"/>
                <a:gd name="connsiteY386" fmla="*/ 5050869 h 6246035"/>
                <a:gd name="connsiteX387" fmla="*/ 6142683 w 11683878"/>
                <a:gd name="connsiteY387" fmla="*/ 5047833 h 6246035"/>
                <a:gd name="connsiteX388" fmla="*/ 6124653 w 11683878"/>
                <a:gd name="connsiteY388" fmla="*/ 5102186 h 6246035"/>
                <a:gd name="connsiteX389" fmla="*/ 6124705 w 11683878"/>
                <a:gd name="connsiteY389" fmla="*/ 5102197 h 6246035"/>
                <a:gd name="connsiteX390" fmla="*/ 6142767 w 11683878"/>
                <a:gd name="connsiteY390" fmla="*/ 5050554 h 6246035"/>
                <a:gd name="connsiteX391" fmla="*/ 5434102 w 11683878"/>
                <a:gd name="connsiteY391" fmla="*/ 5047236 h 6246035"/>
                <a:gd name="connsiteX392" fmla="*/ 5433731 w 11683878"/>
                <a:gd name="connsiteY392" fmla="*/ 5047521 h 6246035"/>
                <a:gd name="connsiteX393" fmla="*/ 5441684 w 11683878"/>
                <a:gd name="connsiteY393" fmla="*/ 5069160 h 6246035"/>
                <a:gd name="connsiteX394" fmla="*/ 5390381 w 11683878"/>
                <a:gd name="connsiteY394" fmla="*/ 5046692 h 6246035"/>
                <a:gd name="connsiteX395" fmla="*/ 5389226 w 11683878"/>
                <a:gd name="connsiteY395" fmla="*/ 5047140 h 6246035"/>
                <a:gd name="connsiteX396" fmla="*/ 5410407 w 11683878"/>
                <a:gd name="connsiteY396" fmla="*/ 5064966 h 6246035"/>
                <a:gd name="connsiteX397" fmla="*/ 5410600 w 11683878"/>
                <a:gd name="connsiteY397" fmla="*/ 5064816 h 6246035"/>
                <a:gd name="connsiteX398" fmla="*/ 10269416 w 11683878"/>
                <a:gd name="connsiteY398" fmla="*/ 5036492 h 6246035"/>
                <a:gd name="connsiteX399" fmla="*/ 10269495 w 11683878"/>
                <a:gd name="connsiteY399" fmla="*/ 5039381 h 6246035"/>
                <a:gd name="connsiteX400" fmla="*/ 10269762 w 11683878"/>
                <a:gd name="connsiteY400" fmla="*/ 5039439 h 6246035"/>
                <a:gd name="connsiteX401" fmla="*/ 4816030 w 11683878"/>
                <a:gd name="connsiteY401" fmla="*/ 5035553 h 6246035"/>
                <a:gd name="connsiteX402" fmla="*/ 4811548 w 11683878"/>
                <a:gd name="connsiteY402" fmla="*/ 5042039 h 6246035"/>
                <a:gd name="connsiteX403" fmla="*/ 4816031 w 11683878"/>
                <a:gd name="connsiteY403" fmla="*/ 5035553 h 6246035"/>
                <a:gd name="connsiteX404" fmla="*/ 10266165 w 11683878"/>
                <a:gd name="connsiteY404" fmla="*/ 5008783 h 6246035"/>
                <a:gd name="connsiteX405" fmla="*/ 10249783 w 11683878"/>
                <a:gd name="connsiteY405" fmla="*/ 5018156 h 6246035"/>
                <a:gd name="connsiteX406" fmla="*/ 10249786 w 11683878"/>
                <a:gd name="connsiteY406" fmla="*/ 5018159 h 6246035"/>
                <a:gd name="connsiteX407" fmla="*/ 10266447 w 11683878"/>
                <a:gd name="connsiteY407" fmla="*/ 5011187 h 6246035"/>
                <a:gd name="connsiteX408" fmla="*/ 4953110 w 11683878"/>
                <a:gd name="connsiteY408" fmla="*/ 5000326 h 6246035"/>
                <a:gd name="connsiteX409" fmla="*/ 5033115 w 11683878"/>
                <a:gd name="connsiteY409" fmla="*/ 5014177 h 6246035"/>
                <a:gd name="connsiteX410" fmla="*/ 5036855 w 11683878"/>
                <a:gd name="connsiteY410" fmla="*/ 5012463 h 6246035"/>
                <a:gd name="connsiteX411" fmla="*/ 4919962 w 11683878"/>
                <a:gd name="connsiteY411" fmla="*/ 4999270 h 6246035"/>
                <a:gd name="connsiteX412" fmla="*/ 4929008 w 11683878"/>
                <a:gd name="connsiteY412" fmla="*/ 5022885 h 6246035"/>
                <a:gd name="connsiteX413" fmla="*/ 4933793 w 11683878"/>
                <a:gd name="connsiteY413" fmla="*/ 5018399 h 6246035"/>
                <a:gd name="connsiteX414" fmla="*/ 10229327 w 11683878"/>
                <a:gd name="connsiteY414" fmla="*/ 4994256 h 6246035"/>
                <a:gd name="connsiteX415" fmla="*/ 10210411 w 11683878"/>
                <a:gd name="connsiteY415" fmla="*/ 4996439 h 6246035"/>
                <a:gd name="connsiteX416" fmla="*/ 10210220 w 11683878"/>
                <a:gd name="connsiteY416" fmla="*/ 4997064 h 6246035"/>
                <a:gd name="connsiteX417" fmla="*/ 6141546 w 11683878"/>
                <a:gd name="connsiteY417" fmla="*/ 4991531 h 6246035"/>
                <a:gd name="connsiteX418" fmla="*/ 6140942 w 11683878"/>
                <a:gd name="connsiteY418" fmla="*/ 4991777 h 6246035"/>
                <a:gd name="connsiteX419" fmla="*/ 6140953 w 11683878"/>
                <a:gd name="connsiteY419" fmla="*/ 4992004 h 6246035"/>
                <a:gd name="connsiteX420" fmla="*/ 6140946 w 11683878"/>
                <a:gd name="connsiteY420" fmla="*/ 4991778 h 6246035"/>
                <a:gd name="connsiteX421" fmla="*/ 5433406 w 11683878"/>
                <a:gd name="connsiteY421" fmla="*/ 4985058 h 6246035"/>
                <a:gd name="connsiteX422" fmla="*/ 5406751 w 11683878"/>
                <a:gd name="connsiteY422" fmla="*/ 5040338 h 6246035"/>
                <a:gd name="connsiteX423" fmla="*/ 5405013 w 11683878"/>
                <a:gd name="connsiteY423" fmla="*/ 5041013 h 6246035"/>
                <a:gd name="connsiteX424" fmla="*/ 5406708 w 11683878"/>
                <a:gd name="connsiteY424" fmla="*/ 5040527 h 6246035"/>
                <a:gd name="connsiteX425" fmla="*/ 5434137 w 11683878"/>
                <a:gd name="connsiteY425" fmla="*/ 4988460 h 6246035"/>
                <a:gd name="connsiteX426" fmla="*/ 5101425 w 11683878"/>
                <a:gd name="connsiteY426" fmla="*/ 4976071 h 6246035"/>
                <a:gd name="connsiteX427" fmla="*/ 5102601 w 11683878"/>
                <a:gd name="connsiteY427" fmla="*/ 4981820 h 6246035"/>
                <a:gd name="connsiteX428" fmla="*/ 5093127 w 11683878"/>
                <a:gd name="connsiteY428" fmla="*/ 4986683 h 6246035"/>
                <a:gd name="connsiteX429" fmla="*/ 5103713 w 11683878"/>
                <a:gd name="connsiteY429" fmla="*/ 4981833 h 6246035"/>
                <a:gd name="connsiteX430" fmla="*/ 4778271 w 11683878"/>
                <a:gd name="connsiteY430" fmla="*/ 4970224 h 6246035"/>
                <a:gd name="connsiteX431" fmla="*/ 4767152 w 11683878"/>
                <a:gd name="connsiteY431" fmla="*/ 4985712 h 6246035"/>
                <a:gd name="connsiteX432" fmla="*/ 4778271 w 11683878"/>
                <a:gd name="connsiteY432" fmla="*/ 4970224 h 6246035"/>
                <a:gd name="connsiteX433" fmla="*/ 5594341 w 11683878"/>
                <a:gd name="connsiteY433" fmla="*/ 4969772 h 6246035"/>
                <a:gd name="connsiteX434" fmla="*/ 5591752 w 11683878"/>
                <a:gd name="connsiteY434" fmla="*/ 4994023 h 6246035"/>
                <a:gd name="connsiteX435" fmla="*/ 5629419 w 11683878"/>
                <a:gd name="connsiteY435" fmla="*/ 5007894 h 6246035"/>
                <a:gd name="connsiteX436" fmla="*/ 5623112 w 11683878"/>
                <a:gd name="connsiteY436" fmla="*/ 5037643 h 6246035"/>
                <a:gd name="connsiteX437" fmla="*/ 5650686 w 11683878"/>
                <a:gd name="connsiteY437" fmla="*/ 5064276 h 6246035"/>
                <a:gd name="connsiteX438" fmla="*/ 5623112 w 11683878"/>
                <a:gd name="connsiteY438" fmla="*/ 5037643 h 6246035"/>
                <a:gd name="connsiteX439" fmla="*/ 5629419 w 11683878"/>
                <a:gd name="connsiteY439" fmla="*/ 5007894 h 6246035"/>
                <a:gd name="connsiteX440" fmla="*/ 5591754 w 11683878"/>
                <a:gd name="connsiteY440" fmla="*/ 4994023 h 6246035"/>
                <a:gd name="connsiteX441" fmla="*/ 5563524 w 11683878"/>
                <a:gd name="connsiteY441" fmla="*/ 4950903 h 6246035"/>
                <a:gd name="connsiteX442" fmla="*/ 5516365 w 11683878"/>
                <a:gd name="connsiteY442" fmla="*/ 4960207 h 6246035"/>
                <a:gd name="connsiteX443" fmla="*/ 5519468 w 11683878"/>
                <a:gd name="connsiteY443" fmla="*/ 4968574 h 6246035"/>
                <a:gd name="connsiteX444" fmla="*/ 5567443 w 11683878"/>
                <a:gd name="connsiteY444" fmla="*/ 4953302 h 6246035"/>
                <a:gd name="connsiteX445" fmla="*/ 4437426 w 11683878"/>
                <a:gd name="connsiteY445" fmla="*/ 4940341 h 6246035"/>
                <a:gd name="connsiteX446" fmla="*/ 4440179 w 11683878"/>
                <a:gd name="connsiteY446" fmla="*/ 4963574 h 6246035"/>
                <a:gd name="connsiteX447" fmla="*/ 4441099 w 11683878"/>
                <a:gd name="connsiteY447" fmla="*/ 4963261 h 6246035"/>
                <a:gd name="connsiteX448" fmla="*/ 4437428 w 11683878"/>
                <a:gd name="connsiteY448" fmla="*/ 4940341 h 6246035"/>
                <a:gd name="connsiteX449" fmla="*/ 9394786 w 11683878"/>
                <a:gd name="connsiteY449" fmla="*/ 4929344 h 6246035"/>
                <a:gd name="connsiteX450" fmla="*/ 9377653 w 11683878"/>
                <a:gd name="connsiteY450" fmla="*/ 4931142 h 6246035"/>
                <a:gd name="connsiteX451" fmla="*/ 9362931 w 11683878"/>
                <a:gd name="connsiteY451" fmla="*/ 4963253 h 6246035"/>
                <a:gd name="connsiteX452" fmla="*/ 9365236 w 11683878"/>
                <a:gd name="connsiteY452" fmla="*/ 5059749 h 6246035"/>
                <a:gd name="connsiteX453" fmla="*/ 9365921 w 11683878"/>
                <a:gd name="connsiteY453" fmla="*/ 5059553 h 6246035"/>
                <a:gd name="connsiteX454" fmla="*/ 9362944 w 11683878"/>
                <a:gd name="connsiteY454" fmla="*/ 4963253 h 6246035"/>
                <a:gd name="connsiteX455" fmla="*/ 9377665 w 11683878"/>
                <a:gd name="connsiteY455" fmla="*/ 4931141 h 6246035"/>
                <a:gd name="connsiteX456" fmla="*/ 9394946 w 11683878"/>
                <a:gd name="connsiteY456" fmla="*/ 4929575 h 6246035"/>
                <a:gd name="connsiteX457" fmla="*/ 4643678 w 11683878"/>
                <a:gd name="connsiteY457" fmla="*/ 4927824 h 6246035"/>
                <a:gd name="connsiteX458" fmla="*/ 4622543 w 11683878"/>
                <a:gd name="connsiteY458" fmla="*/ 4942168 h 6246035"/>
                <a:gd name="connsiteX459" fmla="*/ 4643680 w 11683878"/>
                <a:gd name="connsiteY459" fmla="*/ 4927824 h 6246035"/>
                <a:gd name="connsiteX460" fmla="*/ 5107947 w 11683878"/>
                <a:gd name="connsiteY460" fmla="*/ 4925856 h 6246035"/>
                <a:gd name="connsiteX461" fmla="*/ 5092678 w 11683878"/>
                <a:gd name="connsiteY461" fmla="*/ 4933287 h 6246035"/>
                <a:gd name="connsiteX462" fmla="*/ 5095397 w 11683878"/>
                <a:gd name="connsiteY462" fmla="*/ 4946583 h 6246035"/>
                <a:gd name="connsiteX463" fmla="*/ 5469861 w 11683878"/>
                <a:gd name="connsiteY463" fmla="*/ 4910032 h 6246035"/>
                <a:gd name="connsiteX464" fmla="*/ 5469521 w 11683878"/>
                <a:gd name="connsiteY464" fmla="*/ 4942104 h 6246035"/>
                <a:gd name="connsiteX465" fmla="*/ 5486447 w 11683878"/>
                <a:gd name="connsiteY465" fmla="*/ 4957044 h 6246035"/>
                <a:gd name="connsiteX466" fmla="*/ 5489119 w 11683878"/>
                <a:gd name="connsiteY466" fmla="*/ 4956752 h 6246035"/>
                <a:gd name="connsiteX467" fmla="*/ 5469521 w 11683878"/>
                <a:gd name="connsiteY467" fmla="*/ 4942104 h 6246035"/>
                <a:gd name="connsiteX468" fmla="*/ 6156265 w 11683878"/>
                <a:gd name="connsiteY468" fmla="*/ 4906895 h 6246035"/>
                <a:gd name="connsiteX469" fmla="*/ 6156108 w 11683878"/>
                <a:gd name="connsiteY469" fmla="*/ 4906972 h 6246035"/>
                <a:gd name="connsiteX470" fmla="*/ 6166628 w 11683878"/>
                <a:gd name="connsiteY470" fmla="*/ 4981191 h 6246035"/>
                <a:gd name="connsiteX471" fmla="*/ 6166722 w 11683878"/>
                <a:gd name="connsiteY471" fmla="*/ 4981152 h 6246035"/>
                <a:gd name="connsiteX472" fmla="*/ 5434463 w 11683878"/>
                <a:gd name="connsiteY472" fmla="*/ 4895832 h 6246035"/>
                <a:gd name="connsiteX473" fmla="*/ 5418283 w 11683878"/>
                <a:gd name="connsiteY473" fmla="*/ 4908427 h 6246035"/>
                <a:gd name="connsiteX474" fmla="*/ 5418921 w 11683878"/>
                <a:gd name="connsiteY474" fmla="*/ 4910965 h 6246035"/>
                <a:gd name="connsiteX475" fmla="*/ 5096671 w 11683878"/>
                <a:gd name="connsiteY475" fmla="*/ 4891327 h 6246035"/>
                <a:gd name="connsiteX476" fmla="*/ 5111079 w 11683878"/>
                <a:gd name="connsiteY476" fmla="*/ 4920683 h 6246035"/>
                <a:gd name="connsiteX477" fmla="*/ 5113034 w 11683878"/>
                <a:gd name="connsiteY477" fmla="*/ 4917454 h 6246035"/>
                <a:gd name="connsiteX478" fmla="*/ 8382115 w 11683878"/>
                <a:gd name="connsiteY478" fmla="*/ 4863474 h 6246035"/>
                <a:gd name="connsiteX479" fmla="*/ 8374896 w 11683878"/>
                <a:gd name="connsiteY479" fmla="*/ 4875589 h 6246035"/>
                <a:gd name="connsiteX480" fmla="*/ 8375238 w 11683878"/>
                <a:gd name="connsiteY480" fmla="*/ 4875850 h 6246035"/>
                <a:gd name="connsiteX481" fmla="*/ 6188331 w 11683878"/>
                <a:gd name="connsiteY481" fmla="*/ 4857990 h 6246035"/>
                <a:gd name="connsiteX482" fmla="*/ 6187417 w 11683878"/>
                <a:gd name="connsiteY482" fmla="*/ 4860603 h 6246035"/>
                <a:gd name="connsiteX483" fmla="*/ 6188334 w 11683878"/>
                <a:gd name="connsiteY483" fmla="*/ 4857992 h 6246035"/>
                <a:gd name="connsiteX484" fmla="*/ 6226886 w 11683878"/>
                <a:gd name="connsiteY484" fmla="*/ 4840430 h 6246035"/>
                <a:gd name="connsiteX485" fmla="*/ 6226998 w 11683878"/>
                <a:gd name="connsiteY485" fmla="*/ 4847788 h 6246035"/>
                <a:gd name="connsiteX486" fmla="*/ 6207548 w 11683878"/>
                <a:gd name="connsiteY486" fmla="*/ 4871295 h 6246035"/>
                <a:gd name="connsiteX487" fmla="*/ 6207549 w 11683878"/>
                <a:gd name="connsiteY487" fmla="*/ 4871296 h 6246035"/>
                <a:gd name="connsiteX488" fmla="*/ 6227000 w 11683878"/>
                <a:gd name="connsiteY488" fmla="*/ 4847788 h 6246035"/>
                <a:gd name="connsiteX489" fmla="*/ 9432816 w 11683878"/>
                <a:gd name="connsiteY489" fmla="*/ 4831050 h 6246035"/>
                <a:gd name="connsiteX490" fmla="*/ 9363812 w 11683878"/>
                <a:gd name="connsiteY490" fmla="*/ 4884610 h 6246035"/>
                <a:gd name="connsiteX491" fmla="*/ 9365435 w 11683878"/>
                <a:gd name="connsiteY491" fmla="*/ 4886939 h 6246035"/>
                <a:gd name="connsiteX492" fmla="*/ 9363824 w 11683878"/>
                <a:gd name="connsiteY492" fmla="*/ 4884611 h 6246035"/>
                <a:gd name="connsiteX493" fmla="*/ 9432730 w 11683878"/>
                <a:gd name="connsiteY493" fmla="*/ 4831393 h 6246035"/>
                <a:gd name="connsiteX494" fmla="*/ 7214759 w 11683878"/>
                <a:gd name="connsiteY494" fmla="*/ 4829638 h 6246035"/>
                <a:gd name="connsiteX495" fmla="*/ 7239714 w 11683878"/>
                <a:gd name="connsiteY495" fmla="*/ 4833373 h 6246035"/>
                <a:gd name="connsiteX496" fmla="*/ 7239715 w 11683878"/>
                <a:gd name="connsiteY496" fmla="*/ 4833372 h 6246035"/>
                <a:gd name="connsiteX497" fmla="*/ 5091654 w 11683878"/>
                <a:gd name="connsiteY497" fmla="*/ 4825204 h 6246035"/>
                <a:gd name="connsiteX498" fmla="*/ 5091653 w 11683878"/>
                <a:gd name="connsiteY498" fmla="*/ 4825205 h 6246035"/>
                <a:gd name="connsiteX499" fmla="*/ 5113420 w 11683878"/>
                <a:gd name="connsiteY499" fmla="*/ 4842333 h 6246035"/>
                <a:gd name="connsiteX500" fmla="*/ 5113940 w 11683878"/>
                <a:gd name="connsiteY500" fmla="*/ 4840811 h 6246035"/>
                <a:gd name="connsiteX501" fmla="*/ 6226547 w 11683878"/>
                <a:gd name="connsiteY501" fmla="*/ 4818298 h 6246035"/>
                <a:gd name="connsiteX502" fmla="*/ 6226547 w 11683878"/>
                <a:gd name="connsiteY502" fmla="*/ 4818299 h 6246035"/>
                <a:gd name="connsiteX503" fmla="*/ 6254296 w 11683878"/>
                <a:gd name="connsiteY503" fmla="*/ 4819349 h 6246035"/>
                <a:gd name="connsiteX504" fmla="*/ 8402504 w 11683878"/>
                <a:gd name="connsiteY504" fmla="*/ 4809166 h 6246035"/>
                <a:gd name="connsiteX505" fmla="*/ 8366430 w 11683878"/>
                <a:gd name="connsiteY505" fmla="*/ 4826517 h 6246035"/>
                <a:gd name="connsiteX506" fmla="*/ 8366939 w 11683878"/>
                <a:gd name="connsiteY506" fmla="*/ 4827455 h 6246035"/>
                <a:gd name="connsiteX507" fmla="*/ 7867772 w 11683878"/>
                <a:gd name="connsiteY507" fmla="*/ 4808947 h 6246035"/>
                <a:gd name="connsiteX508" fmla="*/ 7867769 w 11683878"/>
                <a:gd name="connsiteY508" fmla="*/ 4808948 h 6246035"/>
                <a:gd name="connsiteX509" fmla="*/ 7920674 w 11683878"/>
                <a:gd name="connsiteY509" fmla="*/ 4851704 h 6246035"/>
                <a:gd name="connsiteX510" fmla="*/ 7936448 w 11683878"/>
                <a:gd name="connsiteY510" fmla="*/ 4886054 h 6246035"/>
                <a:gd name="connsiteX511" fmla="*/ 7928912 w 11683878"/>
                <a:gd name="connsiteY511" fmla="*/ 4930949 h 6246035"/>
                <a:gd name="connsiteX512" fmla="*/ 7835130 w 11683878"/>
                <a:gd name="connsiteY512" fmla="*/ 4971237 h 6246035"/>
                <a:gd name="connsiteX513" fmla="*/ 7793706 w 11683878"/>
                <a:gd name="connsiteY513" fmla="*/ 5047624 h 6246035"/>
                <a:gd name="connsiteX514" fmla="*/ 7699849 w 11683878"/>
                <a:gd name="connsiteY514" fmla="*/ 5127316 h 6246035"/>
                <a:gd name="connsiteX515" fmla="*/ 7724603 w 11683878"/>
                <a:gd name="connsiteY515" fmla="*/ 5180545 h 6246035"/>
                <a:gd name="connsiteX516" fmla="*/ 7750266 w 11683878"/>
                <a:gd name="connsiteY516" fmla="*/ 5186844 h 6246035"/>
                <a:gd name="connsiteX517" fmla="*/ 7747988 w 11683878"/>
                <a:gd name="connsiteY517" fmla="*/ 5203973 h 6246035"/>
                <a:gd name="connsiteX518" fmla="*/ 7747991 w 11683878"/>
                <a:gd name="connsiteY518" fmla="*/ 5203973 h 6246035"/>
                <a:gd name="connsiteX519" fmla="*/ 7750269 w 11683878"/>
                <a:gd name="connsiteY519" fmla="*/ 5186844 h 6246035"/>
                <a:gd name="connsiteX520" fmla="*/ 7724606 w 11683878"/>
                <a:gd name="connsiteY520" fmla="*/ 5180545 h 6246035"/>
                <a:gd name="connsiteX521" fmla="*/ 7699853 w 11683878"/>
                <a:gd name="connsiteY521" fmla="*/ 5127317 h 6246035"/>
                <a:gd name="connsiteX522" fmla="*/ 7793710 w 11683878"/>
                <a:gd name="connsiteY522" fmla="*/ 5047624 h 6246035"/>
                <a:gd name="connsiteX523" fmla="*/ 7835133 w 11683878"/>
                <a:gd name="connsiteY523" fmla="*/ 4971237 h 6246035"/>
                <a:gd name="connsiteX524" fmla="*/ 7928915 w 11683878"/>
                <a:gd name="connsiteY524" fmla="*/ 4930949 h 6246035"/>
                <a:gd name="connsiteX525" fmla="*/ 7936451 w 11683878"/>
                <a:gd name="connsiteY525" fmla="*/ 4886054 h 6246035"/>
                <a:gd name="connsiteX526" fmla="*/ 7920677 w 11683878"/>
                <a:gd name="connsiteY526" fmla="*/ 4851704 h 6246035"/>
                <a:gd name="connsiteX527" fmla="*/ 9440568 w 11683878"/>
                <a:gd name="connsiteY527" fmla="*/ 4800255 h 6246035"/>
                <a:gd name="connsiteX528" fmla="*/ 9429949 w 11683878"/>
                <a:gd name="connsiteY528" fmla="*/ 4802523 h 6246035"/>
                <a:gd name="connsiteX529" fmla="*/ 9438081 w 11683878"/>
                <a:gd name="connsiteY529" fmla="*/ 4810134 h 6246035"/>
                <a:gd name="connsiteX530" fmla="*/ 5095361 w 11683878"/>
                <a:gd name="connsiteY530" fmla="*/ 4775815 h 6246035"/>
                <a:gd name="connsiteX531" fmla="*/ 5095361 w 11683878"/>
                <a:gd name="connsiteY531" fmla="*/ 4775816 h 6246035"/>
                <a:gd name="connsiteX532" fmla="*/ 5110031 w 11683878"/>
                <a:gd name="connsiteY532" fmla="*/ 4808726 h 6246035"/>
                <a:gd name="connsiteX533" fmla="*/ 8365036 w 11683878"/>
                <a:gd name="connsiteY533" fmla="*/ 4761856 h 6246035"/>
                <a:gd name="connsiteX534" fmla="*/ 8344461 w 11683878"/>
                <a:gd name="connsiteY534" fmla="*/ 4775987 h 6246035"/>
                <a:gd name="connsiteX535" fmla="*/ 8344454 w 11683878"/>
                <a:gd name="connsiteY535" fmla="*/ 4776005 h 6246035"/>
                <a:gd name="connsiteX536" fmla="*/ 8365040 w 11683878"/>
                <a:gd name="connsiteY536" fmla="*/ 4761867 h 6246035"/>
                <a:gd name="connsiteX537" fmla="*/ 5496073 w 11683878"/>
                <a:gd name="connsiteY537" fmla="*/ 4760033 h 6246035"/>
                <a:gd name="connsiteX538" fmla="*/ 5496075 w 11683878"/>
                <a:gd name="connsiteY538" fmla="*/ 4760035 h 6246035"/>
                <a:gd name="connsiteX539" fmla="*/ 5516643 w 11683878"/>
                <a:gd name="connsiteY539" fmla="*/ 4831720 h 6246035"/>
                <a:gd name="connsiteX540" fmla="*/ 5516766 w 11683878"/>
                <a:gd name="connsiteY540" fmla="*/ 4831633 h 6246035"/>
                <a:gd name="connsiteX541" fmla="*/ 5496076 w 11683878"/>
                <a:gd name="connsiteY541" fmla="*/ 4760035 h 6246035"/>
                <a:gd name="connsiteX542" fmla="*/ 6248473 w 11683878"/>
                <a:gd name="connsiteY542" fmla="*/ 4755378 h 6246035"/>
                <a:gd name="connsiteX543" fmla="*/ 6254266 w 11683878"/>
                <a:gd name="connsiteY543" fmla="*/ 4818964 h 6246035"/>
                <a:gd name="connsiteX544" fmla="*/ 6249325 w 11683878"/>
                <a:gd name="connsiteY544" fmla="*/ 4755629 h 6246035"/>
                <a:gd name="connsiteX545" fmla="*/ 9453537 w 11683878"/>
                <a:gd name="connsiteY545" fmla="*/ 4754545 h 6246035"/>
                <a:gd name="connsiteX546" fmla="*/ 9451749 w 11683878"/>
                <a:gd name="connsiteY546" fmla="*/ 4755790 h 6246035"/>
                <a:gd name="connsiteX547" fmla="*/ 9451677 w 11683878"/>
                <a:gd name="connsiteY547" fmla="*/ 4756125 h 6246035"/>
                <a:gd name="connsiteX548" fmla="*/ 9451761 w 11683878"/>
                <a:gd name="connsiteY548" fmla="*/ 4755790 h 6246035"/>
                <a:gd name="connsiteX549" fmla="*/ 4986092 w 11683878"/>
                <a:gd name="connsiteY549" fmla="*/ 4750232 h 6246035"/>
                <a:gd name="connsiteX550" fmla="*/ 4990025 w 11683878"/>
                <a:gd name="connsiteY550" fmla="*/ 4755950 h 6246035"/>
                <a:gd name="connsiteX551" fmla="*/ 4996674 w 11683878"/>
                <a:gd name="connsiteY551" fmla="*/ 4758600 h 6246035"/>
                <a:gd name="connsiteX552" fmla="*/ 6221808 w 11683878"/>
                <a:gd name="connsiteY552" fmla="*/ 4747518 h 6246035"/>
                <a:gd name="connsiteX553" fmla="*/ 6221554 w 11683878"/>
                <a:gd name="connsiteY553" fmla="*/ 4747828 h 6246035"/>
                <a:gd name="connsiteX554" fmla="*/ 6226011 w 11683878"/>
                <a:gd name="connsiteY554" fmla="*/ 4748757 h 6246035"/>
                <a:gd name="connsiteX555" fmla="*/ 5004793 w 11683878"/>
                <a:gd name="connsiteY555" fmla="*/ 4726544 h 6246035"/>
                <a:gd name="connsiteX556" fmla="*/ 4983144 w 11683878"/>
                <a:gd name="connsiteY556" fmla="*/ 4745944 h 6246035"/>
                <a:gd name="connsiteX557" fmla="*/ 4983621 w 11683878"/>
                <a:gd name="connsiteY557" fmla="*/ 4746641 h 6246035"/>
                <a:gd name="connsiteX558" fmla="*/ 5078524 w 11683878"/>
                <a:gd name="connsiteY558" fmla="*/ 4717566 h 6246035"/>
                <a:gd name="connsiteX559" fmla="*/ 5055846 w 11683878"/>
                <a:gd name="connsiteY559" fmla="*/ 4719387 h 6246035"/>
                <a:gd name="connsiteX560" fmla="*/ 5014720 w 11683878"/>
                <a:gd name="connsiteY560" fmla="*/ 4765794 h 6246035"/>
                <a:gd name="connsiteX561" fmla="*/ 5014723 w 11683878"/>
                <a:gd name="connsiteY561" fmla="*/ 4765795 h 6246035"/>
                <a:gd name="connsiteX562" fmla="*/ 5055849 w 11683878"/>
                <a:gd name="connsiteY562" fmla="*/ 4719388 h 6246035"/>
                <a:gd name="connsiteX563" fmla="*/ 5082692 w 11683878"/>
                <a:gd name="connsiteY563" fmla="*/ 4724529 h 6246035"/>
                <a:gd name="connsiteX564" fmla="*/ 6212455 w 11683878"/>
                <a:gd name="connsiteY564" fmla="*/ 4715730 h 6246035"/>
                <a:gd name="connsiteX565" fmla="*/ 6239441 w 11683878"/>
                <a:gd name="connsiteY565" fmla="*/ 4725866 h 6246035"/>
                <a:gd name="connsiteX566" fmla="*/ 6239563 w 11683878"/>
                <a:gd name="connsiteY566" fmla="*/ 4725718 h 6246035"/>
                <a:gd name="connsiteX567" fmla="*/ 5171059 w 11683878"/>
                <a:gd name="connsiteY567" fmla="*/ 4711511 h 6246035"/>
                <a:gd name="connsiteX568" fmla="*/ 5171029 w 11683878"/>
                <a:gd name="connsiteY568" fmla="*/ 4711518 h 6246035"/>
                <a:gd name="connsiteX569" fmla="*/ 5171063 w 11683878"/>
                <a:gd name="connsiteY569" fmla="*/ 4711512 h 6246035"/>
                <a:gd name="connsiteX570" fmla="*/ 5458416 w 11683878"/>
                <a:gd name="connsiteY570" fmla="*/ 4703199 h 6246035"/>
                <a:gd name="connsiteX571" fmla="*/ 5461384 w 11683878"/>
                <a:gd name="connsiteY571" fmla="*/ 4733896 h 6246035"/>
                <a:gd name="connsiteX572" fmla="*/ 5466659 w 11683878"/>
                <a:gd name="connsiteY572" fmla="*/ 4737870 h 6246035"/>
                <a:gd name="connsiteX573" fmla="*/ 5458417 w 11683878"/>
                <a:gd name="connsiteY573" fmla="*/ 4703199 h 6246035"/>
                <a:gd name="connsiteX574" fmla="*/ 9467403 w 11683878"/>
                <a:gd name="connsiteY574" fmla="*/ 4699201 h 6246035"/>
                <a:gd name="connsiteX575" fmla="*/ 9468245 w 11683878"/>
                <a:gd name="connsiteY575" fmla="*/ 4701183 h 6246035"/>
                <a:gd name="connsiteX576" fmla="*/ 9498864 w 11683878"/>
                <a:gd name="connsiteY576" fmla="*/ 4722780 h 6246035"/>
                <a:gd name="connsiteX577" fmla="*/ 9499268 w 11683878"/>
                <a:gd name="connsiteY577" fmla="*/ 4722497 h 6246035"/>
                <a:gd name="connsiteX578" fmla="*/ 9468257 w 11683878"/>
                <a:gd name="connsiteY578" fmla="*/ 4701183 h 6246035"/>
                <a:gd name="connsiteX579" fmla="*/ 5337372 w 11683878"/>
                <a:gd name="connsiteY579" fmla="*/ 4695727 h 6246035"/>
                <a:gd name="connsiteX580" fmla="*/ 5337239 w 11683878"/>
                <a:gd name="connsiteY580" fmla="*/ 4695765 h 6246035"/>
                <a:gd name="connsiteX581" fmla="*/ 5337241 w 11683878"/>
                <a:gd name="connsiteY581" fmla="*/ 4695766 h 6246035"/>
                <a:gd name="connsiteX582" fmla="*/ 5477118 w 11683878"/>
                <a:gd name="connsiteY582" fmla="*/ 4686564 h 6246035"/>
                <a:gd name="connsiteX583" fmla="*/ 5477889 w 11683878"/>
                <a:gd name="connsiteY583" fmla="*/ 4693503 h 6246035"/>
                <a:gd name="connsiteX584" fmla="*/ 5480565 w 11683878"/>
                <a:gd name="connsiteY584" fmla="*/ 4692171 h 6246035"/>
                <a:gd name="connsiteX585" fmla="*/ 5383418 w 11683878"/>
                <a:gd name="connsiteY585" fmla="*/ 4683670 h 6246035"/>
                <a:gd name="connsiteX586" fmla="*/ 5361950 w 11683878"/>
                <a:gd name="connsiteY586" fmla="*/ 4690987 h 6246035"/>
                <a:gd name="connsiteX587" fmla="*/ 5361952 w 11683878"/>
                <a:gd name="connsiteY587" fmla="*/ 4690988 h 6246035"/>
                <a:gd name="connsiteX588" fmla="*/ 5383418 w 11683878"/>
                <a:gd name="connsiteY588" fmla="*/ 4683671 h 6246035"/>
                <a:gd name="connsiteX589" fmla="*/ 5344804 w 11683878"/>
                <a:gd name="connsiteY589" fmla="*/ 4677521 h 6246035"/>
                <a:gd name="connsiteX590" fmla="*/ 5349668 w 11683878"/>
                <a:gd name="connsiteY590" fmla="*/ 4692055 h 6246035"/>
                <a:gd name="connsiteX591" fmla="*/ 5349812 w 11683878"/>
                <a:gd name="connsiteY591" fmla="*/ 4692012 h 6246035"/>
                <a:gd name="connsiteX592" fmla="*/ 5344809 w 11683878"/>
                <a:gd name="connsiteY592" fmla="*/ 4677525 h 6246035"/>
                <a:gd name="connsiteX593" fmla="*/ 5451449 w 11683878"/>
                <a:gd name="connsiteY593" fmla="*/ 4669850 h 6246035"/>
                <a:gd name="connsiteX594" fmla="*/ 5384983 w 11683878"/>
                <a:gd name="connsiteY594" fmla="*/ 4702955 h 6246035"/>
                <a:gd name="connsiteX595" fmla="*/ 5384983 w 11683878"/>
                <a:gd name="connsiteY595" fmla="*/ 4702956 h 6246035"/>
                <a:gd name="connsiteX596" fmla="*/ 5451516 w 11683878"/>
                <a:gd name="connsiteY596" fmla="*/ 4669909 h 6246035"/>
                <a:gd name="connsiteX597" fmla="*/ 5266545 w 11683878"/>
                <a:gd name="connsiteY597" fmla="*/ 4667207 h 6246035"/>
                <a:gd name="connsiteX598" fmla="*/ 5200758 w 11683878"/>
                <a:gd name="connsiteY598" fmla="*/ 4709026 h 6246035"/>
                <a:gd name="connsiteX599" fmla="*/ 5207747 w 11683878"/>
                <a:gd name="connsiteY599" fmla="*/ 4721444 h 6246035"/>
                <a:gd name="connsiteX600" fmla="*/ 5207750 w 11683878"/>
                <a:gd name="connsiteY600" fmla="*/ 4721445 h 6246035"/>
                <a:gd name="connsiteX601" fmla="*/ 5200761 w 11683878"/>
                <a:gd name="connsiteY601" fmla="*/ 4709026 h 6246035"/>
                <a:gd name="connsiteX602" fmla="*/ 5266549 w 11683878"/>
                <a:gd name="connsiteY602" fmla="*/ 4667208 h 6246035"/>
                <a:gd name="connsiteX603" fmla="*/ 9460046 w 11683878"/>
                <a:gd name="connsiteY603" fmla="*/ 4666401 h 6246035"/>
                <a:gd name="connsiteX604" fmla="*/ 9453899 w 11683878"/>
                <a:gd name="connsiteY604" fmla="*/ 4667413 h 6246035"/>
                <a:gd name="connsiteX605" fmla="*/ 9453990 w 11683878"/>
                <a:gd name="connsiteY605" fmla="*/ 4667627 h 6246035"/>
                <a:gd name="connsiteX606" fmla="*/ 7287217 w 11683878"/>
                <a:gd name="connsiteY606" fmla="*/ 4665263 h 6246035"/>
                <a:gd name="connsiteX607" fmla="*/ 7287216 w 11683878"/>
                <a:gd name="connsiteY607" fmla="*/ 4665265 h 6246035"/>
                <a:gd name="connsiteX608" fmla="*/ 7331895 w 11683878"/>
                <a:gd name="connsiteY608" fmla="*/ 4682730 h 6246035"/>
                <a:gd name="connsiteX609" fmla="*/ 7331899 w 11683878"/>
                <a:gd name="connsiteY609" fmla="*/ 4682730 h 6246035"/>
                <a:gd name="connsiteX610" fmla="*/ 7579842 w 11683878"/>
                <a:gd name="connsiteY610" fmla="*/ 4662672 h 6246035"/>
                <a:gd name="connsiteX611" fmla="*/ 7579838 w 11683878"/>
                <a:gd name="connsiteY611" fmla="*/ 4662673 h 6246035"/>
                <a:gd name="connsiteX612" fmla="*/ 7616148 w 11683878"/>
                <a:gd name="connsiteY612" fmla="*/ 4682429 h 6246035"/>
                <a:gd name="connsiteX613" fmla="*/ 7616150 w 11683878"/>
                <a:gd name="connsiteY613" fmla="*/ 4682427 h 6246035"/>
                <a:gd name="connsiteX614" fmla="*/ 8330370 w 11683878"/>
                <a:gd name="connsiteY614" fmla="*/ 4652144 h 6246035"/>
                <a:gd name="connsiteX615" fmla="*/ 8338647 w 11683878"/>
                <a:gd name="connsiteY615" fmla="*/ 4656531 h 6246035"/>
                <a:gd name="connsiteX616" fmla="*/ 8349038 w 11683878"/>
                <a:gd name="connsiteY616" fmla="*/ 4692802 h 6246035"/>
                <a:gd name="connsiteX617" fmla="*/ 8338601 w 11683878"/>
                <a:gd name="connsiteY617" fmla="*/ 4656309 h 6246035"/>
                <a:gd name="connsiteX618" fmla="*/ 6513438 w 11683878"/>
                <a:gd name="connsiteY618" fmla="*/ 4651167 h 6246035"/>
                <a:gd name="connsiteX619" fmla="*/ 6501957 w 11683878"/>
                <a:gd name="connsiteY619" fmla="*/ 4660932 h 6246035"/>
                <a:gd name="connsiteX620" fmla="*/ 6513977 w 11683878"/>
                <a:gd name="connsiteY620" fmla="*/ 4654909 h 6246035"/>
                <a:gd name="connsiteX621" fmla="*/ 9291959 w 11683878"/>
                <a:gd name="connsiteY621" fmla="*/ 4648282 h 6246035"/>
                <a:gd name="connsiteX622" fmla="*/ 9265729 w 11683878"/>
                <a:gd name="connsiteY622" fmla="*/ 4666867 h 6246035"/>
                <a:gd name="connsiteX623" fmla="*/ 9291866 w 11683878"/>
                <a:gd name="connsiteY623" fmla="*/ 4648489 h 6246035"/>
                <a:gd name="connsiteX624" fmla="*/ 9307836 w 11683878"/>
                <a:gd name="connsiteY624" fmla="*/ 4661630 h 6246035"/>
                <a:gd name="connsiteX625" fmla="*/ 9307839 w 11683878"/>
                <a:gd name="connsiteY625" fmla="*/ 4661623 h 6246035"/>
                <a:gd name="connsiteX626" fmla="*/ 8313819 w 11683878"/>
                <a:gd name="connsiteY626" fmla="*/ 4643768 h 6246035"/>
                <a:gd name="connsiteX627" fmla="*/ 8283560 w 11683878"/>
                <a:gd name="connsiteY627" fmla="*/ 4671474 h 6246035"/>
                <a:gd name="connsiteX628" fmla="*/ 8283566 w 11683878"/>
                <a:gd name="connsiteY628" fmla="*/ 4671487 h 6246035"/>
                <a:gd name="connsiteX629" fmla="*/ 8313990 w 11683878"/>
                <a:gd name="connsiteY629" fmla="*/ 4643854 h 6246035"/>
                <a:gd name="connsiteX630" fmla="*/ 7455026 w 11683878"/>
                <a:gd name="connsiteY630" fmla="*/ 4643449 h 6246035"/>
                <a:gd name="connsiteX631" fmla="*/ 7455023 w 11683878"/>
                <a:gd name="connsiteY631" fmla="*/ 4643450 h 6246035"/>
                <a:gd name="connsiteX632" fmla="*/ 7484348 w 11683878"/>
                <a:gd name="connsiteY632" fmla="*/ 4653920 h 6246035"/>
                <a:gd name="connsiteX633" fmla="*/ 7484349 w 11683878"/>
                <a:gd name="connsiteY633" fmla="*/ 4653919 h 6246035"/>
                <a:gd name="connsiteX634" fmla="*/ 7767590 w 11683878"/>
                <a:gd name="connsiteY634" fmla="*/ 4641756 h 6246035"/>
                <a:gd name="connsiteX635" fmla="*/ 7781922 w 11683878"/>
                <a:gd name="connsiteY635" fmla="*/ 4660182 h 6246035"/>
                <a:gd name="connsiteX636" fmla="*/ 7775572 w 11683878"/>
                <a:gd name="connsiteY636" fmla="*/ 4683517 h 6246035"/>
                <a:gd name="connsiteX637" fmla="*/ 7808286 w 11683878"/>
                <a:gd name="connsiteY637" fmla="*/ 4735097 h 6246035"/>
                <a:gd name="connsiteX638" fmla="*/ 7826505 w 11683878"/>
                <a:gd name="connsiteY638" fmla="*/ 4814774 h 6246035"/>
                <a:gd name="connsiteX639" fmla="*/ 7826509 w 11683878"/>
                <a:gd name="connsiteY639" fmla="*/ 4814773 h 6246035"/>
                <a:gd name="connsiteX640" fmla="*/ 7808289 w 11683878"/>
                <a:gd name="connsiteY640" fmla="*/ 4735097 h 6246035"/>
                <a:gd name="connsiteX641" fmla="*/ 7775575 w 11683878"/>
                <a:gd name="connsiteY641" fmla="*/ 4683517 h 6246035"/>
                <a:gd name="connsiteX642" fmla="*/ 7781925 w 11683878"/>
                <a:gd name="connsiteY642" fmla="*/ 4660183 h 6246035"/>
                <a:gd name="connsiteX643" fmla="*/ 7767593 w 11683878"/>
                <a:gd name="connsiteY643" fmla="*/ 4641756 h 6246035"/>
                <a:gd name="connsiteX644" fmla="*/ 789674 w 11683878"/>
                <a:gd name="connsiteY644" fmla="*/ 4641375 h 6246035"/>
                <a:gd name="connsiteX645" fmla="*/ 772148 w 11683878"/>
                <a:gd name="connsiteY645" fmla="*/ 4657598 h 6246035"/>
                <a:gd name="connsiteX646" fmla="*/ 772294 w 11683878"/>
                <a:gd name="connsiteY646" fmla="*/ 4657610 h 6246035"/>
                <a:gd name="connsiteX647" fmla="*/ 7743355 w 11683878"/>
                <a:gd name="connsiteY647" fmla="*/ 4640666 h 6246035"/>
                <a:gd name="connsiteX648" fmla="*/ 7743330 w 11683878"/>
                <a:gd name="connsiteY648" fmla="*/ 4640849 h 6246035"/>
                <a:gd name="connsiteX649" fmla="*/ 7746351 w 11683878"/>
                <a:gd name="connsiteY649" fmla="*/ 4640962 h 6246035"/>
                <a:gd name="connsiteX650" fmla="*/ 7743333 w 11683878"/>
                <a:gd name="connsiteY650" fmla="*/ 4640849 h 6246035"/>
                <a:gd name="connsiteX651" fmla="*/ 7504541 w 11683878"/>
                <a:gd name="connsiteY651" fmla="*/ 4633138 h 6246035"/>
                <a:gd name="connsiteX652" fmla="*/ 7504538 w 11683878"/>
                <a:gd name="connsiteY652" fmla="*/ 4633141 h 6246035"/>
                <a:gd name="connsiteX653" fmla="*/ 7527988 w 11683878"/>
                <a:gd name="connsiteY653" fmla="*/ 4673188 h 6246035"/>
                <a:gd name="connsiteX654" fmla="*/ 7527994 w 11683878"/>
                <a:gd name="connsiteY654" fmla="*/ 4673187 h 6246035"/>
                <a:gd name="connsiteX655" fmla="*/ 5471969 w 11683878"/>
                <a:gd name="connsiteY655" fmla="*/ 4626015 h 6246035"/>
                <a:gd name="connsiteX656" fmla="*/ 5471774 w 11683878"/>
                <a:gd name="connsiteY656" fmla="*/ 4626107 h 6246035"/>
                <a:gd name="connsiteX657" fmla="*/ 5488192 w 11683878"/>
                <a:gd name="connsiteY657" fmla="*/ 4633788 h 6246035"/>
                <a:gd name="connsiteX658" fmla="*/ 5468086 w 11683878"/>
                <a:gd name="connsiteY658" fmla="*/ 4673103 h 6246035"/>
                <a:gd name="connsiteX659" fmla="*/ 5472232 w 11683878"/>
                <a:gd name="connsiteY659" fmla="*/ 4674016 h 6246035"/>
                <a:gd name="connsiteX660" fmla="*/ 5488197 w 11683878"/>
                <a:gd name="connsiteY660" fmla="*/ 4633789 h 6246035"/>
                <a:gd name="connsiteX661" fmla="*/ 7404540 w 11683878"/>
                <a:gd name="connsiteY661" fmla="*/ 4624420 h 6246035"/>
                <a:gd name="connsiteX662" fmla="*/ 7404538 w 11683878"/>
                <a:gd name="connsiteY662" fmla="*/ 4624425 h 6246035"/>
                <a:gd name="connsiteX663" fmla="*/ 7431729 w 11683878"/>
                <a:gd name="connsiteY663" fmla="*/ 4654868 h 6246035"/>
                <a:gd name="connsiteX664" fmla="*/ 7431735 w 11683878"/>
                <a:gd name="connsiteY664" fmla="*/ 4654865 h 6246035"/>
                <a:gd name="connsiteX665" fmla="*/ 5004427 w 11683878"/>
                <a:gd name="connsiteY665" fmla="*/ 4621438 h 6246035"/>
                <a:gd name="connsiteX666" fmla="*/ 5004604 w 11683878"/>
                <a:gd name="connsiteY666" fmla="*/ 4621447 h 6246035"/>
                <a:gd name="connsiteX667" fmla="*/ 5004604 w 11683878"/>
                <a:gd name="connsiteY667" fmla="*/ 4621446 h 6246035"/>
                <a:gd name="connsiteX668" fmla="*/ 4978259 w 11683878"/>
                <a:gd name="connsiteY668" fmla="*/ 4620262 h 6246035"/>
                <a:gd name="connsiteX669" fmla="*/ 4968864 w 11683878"/>
                <a:gd name="connsiteY669" fmla="*/ 4636636 h 6246035"/>
                <a:gd name="connsiteX670" fmla="*/ 4864764 w 11683878"/>
                <a:gd name="connsiteY670" fmla="*/ 4634930 h 6246035"/>
                <a:gd name="connsiteX671" fmla="*/ 4864766 w 11683878"/>
                <a:gd name="connsiteY671" fmla="*/ 4634931 h 6246035"/>
                <a:gd name="connsiteX672" fmla="*/ 4968867 w 11683878"/>
                <a:gd name="connsiteY672" fmla="*/ 4636637 h 6246035"/>
                <a:gd name="connsiteX673" fmla="*/ 4978701 w 11683878"/>
                <a:gd name="connsiteY673" fmla="*/ 4620282 h 6246035"/>
                <a:gd name="connsiteX674" fmla="*/ 9580628 w 11683878"/>
                <a:gd name="connsiteY674" fmla="*/ 4615136 h 6246035"/>
                <a:gd name="connsiteX675" fmla="*/ 9579958 w 11683878"/>
                <a:gd name="connsiteY675" fmla="*/ 4642132 h 6246035"/>
                <a:gd name="connsiteX676" fmla="*/ 9585399 w 11683878"/>
                <a:gd name="connsiteY676" fmla="*/ 4641031 h 6246035"/>
                <a:gd name="connsiteX677" fmla="*/ 8146107 w 11683878"/>
                <a:gd name="connsiteY677" fmla="*/ 4610552 h 6246035"/>
                <a:gd name="connsiteX678" fmla="*/ 8145892 w 11683878"/>
                <a:gd name="connsiteY678" fmla="*/ 4610750 h 6246035"/>
                <a:gd name="connsiteX679" fmla="*/ 8165569 w 11683878"/>
                <a:gd name="connsiteY679" fmla="*/ 4651348 h 6246035"/>
                <a:gd name="connsiteX680" fmla="*/ 8165622 w 11683878"/>
                <a:gd name="connsiteY680" fmla="*/ 4651314 h 6246035"/>
                <a:gd name="connsiteX681" fmla="*/ 9129801 w 11683878"/>
                <a:gd name="connsiteY681" fmla="*/ 4610230 h 6246035"/>
                <a:gd name="connsiteX682" fmla="*/ 9129753 w 11683878"/>
                <a:gd name="connsiteY682" fmla="*/ 4611113 h 6246035"/>
                <a:gd name="connsiteX683" fmla="*/ 9134063 w 11683878"/>
                <a:gd name="connsiteY683" fmla="*/ 4610362 h 6246035"/>
                <a:gd name="connsiteX684" fmla="*/ 6316262 w 11683878"/>
                <a:gd name="connsiteY684" fmla="*/ 4604185 h 6246035"/>
                <a:gd name="connsiteX685" fmla="*/ 6351826 w 11683878"/>
                <a:gd name="connsiteY685" fmla="*/ 4612262 h 6246035"/>
                <a:gd name="connsiteX686" fmla="*/ 6351953 w 11683878"/>
                <a:gd name="connsiteY686" fmla="*/ 4612226 h 6246035"/>
                <a:gd name="connsiteX687" fmla="*/ 8247811 w 11683878"/>
                <a:gd name="connsiteY687" fmla="*/ 4597897 h 6246035"/>
                <a:gd name="connsiteX688" fmla="*/ 8240996 w 11683878"/>
                <a:gd name="connsiteY688" fmla="*/ 4602338 h 6246035"/>
                <a:gd name="connsiteX689" fmla="*/ 8247816 w 11683878"/>
                <a:gd name="connsiteY689" fmla="*/ 4597907 h 6246035"/>
                <a:gd name="connsiteX690" fmla="*/ 9226327 w 11683878"/>
                <a:gd name="connsiteY690" fmla="*/ 4594279 h 6246035"/>
                <a:gd name="connsiteX691" fmla="*/ 9226316 w 11683878"/>
                <a:gd name="connsiteY691" fmla="*/ 4594283 h 6246035"/>
                <a:gd name="connsiteX692" fmla="*/ 9263884 w 11683878"/>
                <a:gd name="connsiteY692" fmla="*/ 4668164 h 6246035"/>
                <a:gd name="connsiteX693" fmla="*/ 9263894 w 11683878"/>
                <a:gd name="connsiteY693" fmla="*/ 4668157 h 6246035"/>
                <a:gd name="connsiteX694" fmla="*/ 9388093 w 11683878"/>
                <a:gd name="connsiteY694" fmla="*/ 4593790 h 6246035"/>
                <a:gd name="connsiteX695" fmla="*/ 9318133 w 11683878"/>
                <a:gd name="connsiteY695" fmla="*/ 4638379 h 6246035"/>
                <a:gd name="connsiteX696" fmla="*/ 9381336 w 11683878"/>
                <a:gd name="connsiteY696" fmla="*/ 4607683 h 6246035"/>
                <a:gd name="connsiteX697" fmla="*/ 6267212 w 11683878"/>
                <a:gd name="connsiteY697" fmla="*/ 4593135 h 6246035"/>
                <a:gd name="connsiteX698" fmla="*/ 6227563 w 11683878"/>
                <a:gd name="connsiteY698" fmla="*/ 4681157 h 6246035"/>
                <a:gd name="connsiteX699" fmla="*/ 6267223 w 11683878"/>
                <a:gd name="connsiteY699" fmla="*/ 4593137 h 6246035"/>
                <a:gd name="connsiteX700" fmla="*/ 862300 w 11683878"/>
                <a:gd name="connsiteY700" fmla="*/ 4589622 h 6246035"/>
                <a:gd name="connsiteX701" fmla="*/ 821845 w 11683878"/>
                <a:gd name="connsiteY701" fmla="*/ 4665218 h 6246035"/>
                <a:gd name="connsiteX702" fmla="*/ 822060 w 11683878"/>
                <a:gd name="connsiteY702" fmla="*/ 4665377 h 6246035"/>
                <a:gd name="connsiteX703" fmla="*/ 6504370 w 11683878"/>
                <a:gd name="connsiteY703" fmla="*/ 4588207 h 6246035"/>
                <a:gd name="connsiteX704" fmla="*/ 6504271 w 11683878"/>
                <a:gd name="connsiteY704" fmla="*/ 4588264 h 6246035"/>
                <a:gd name="connsiteX705" fmla="*/ 6504563 w 11683878"/>
                <a:gd name="connsiteY705" fmla="*/ 4589541 h 6246035"/>
                <a:gd name="connsiteX706" fmla="*/ 7810124 w 11683878"/>
                <a:gd name="connsiteY706" fmla="*/ 4584333 h 6246035"/>
                <a:gd name="connsiteX707" fmla="*/ 7803080 w 11683878"/>
                <a:gd name="connsiteY707" fmla="*/ 4588259 h 6246035"/>
                <a:gd name="connsiteX708" fmla="*/ 7849536 w 11683878"/>
                <a:gd name="connsiteY708" fmla="*/ 4595809 h 6246035"/>
                <a:gd name="connsiteX709" fmla="*/ 7849748 w 11683878"/>
                <a:gd name="connsiteY709" fmla="*/ 4595560 h 6246035"/>
                <a:gd name="connsiteX710" fmla="*/ 7758554 w 11683878"/>
                <a:gd name="connsiteY710" fmla="*/ 4583019 h 6246035"/>
                <a:gd name="connsiteX711" fmla="*/ 7749863 w 11683878"/>
                <a:gd name="connsiteY711" fmla="*/ 4592143 h 6246035"/>
                <a:gd name="connsiteX712" fmla="*/ 7749303 w 11683878"/>
                <a:gd name="connsiteY712" fmla="*/ 4596323 h 6246035"/>
                <a:gd name="connsiteX713" fmla="*/ 9549782 w 11683878"/>
                <a:gd name="connsiteY713" fmla="*/ 4579784 h 6246035"/>
                <a:gd name="connsiteX714" fmla="*/ 9578852 w 11683878"/>
                <a:gd name="connsiteY714" fmla="*/ 4605499 h 6246035"/>
                <a:gd name="connsiteX715" fmla="*/ 9578253 w 11683878"/>
                <a:gd name="connsiteY715" fmla="*/ 4602245 h 6246035"/>
                <a:gd name="connsiteX716" fmla="*/ 4773668 w 11683878"/>
                <a:gd name="connsiteY716" fmla="*/ 4578075 h 6246035"/>
                <a:gd name="connsiteX717" fmla="*/ 4847570 w 11683878"/>
                <a:gd name="connsiteY717" fmla="*/ 4582489 h 6246035"/>
                <a:gd name="connsiteX718" fmla="*/ 4847570 w 11683878"/>
                <a:gd name="connsiteY718" fmla="*/ 4582488 h 6246035"/>
                <a:gd name="connsiteX719" fmla="*/ 6522822 w 11683878"/>
                <a:gd name="connsiteY719" fmla="*/ 4577515 h 6246035"/>
                <a:gd name="connsiteX720" fmla="*/ 6505054 w 11683878"/>
                <a:gd name="connsiteY720" fmla="*/ 4587810 h 6246035"/>
                <a:gd name="connsiteX721" fmla="*/ 6521080 w 11683878"/>
                <a:gd name="connsiteY721" fmla="*/ 4586899 h 6246035"/>
                <a:gd name="connsiteX722" fmla="*/ 5510540 w 11683878"/>
                <a:gd name="connsiteY722" fmla="*/ 4576758 h 6246035"/>
                <a:gd name="connsiteX723" fmla="*/ 5492716 w 11683878"/>
                <a:gd name="connsiteY723" fmla="*/ 4616247 h 6246035"/>
                <a:gd name="connsiteX724" fmla="*/ 5492615 w 11683878"/>
                <a:gd name="connsiteY724" fmla="*/ 4616295 h 6246035"/>
                <a:gd name="connsiteX725" fmla="*/ 5492720 w 11683878"/>
                <a:gd name="connsiteY725" fmla="*/ 4616247 h 6246035"/>
                <a:gd name="connsiteX726" fmla="*/ 5510544 w 11683878"/>
                <a:gd name="connsiteY726" fmla="*/ 4576759 h 6246035"/>
                <a:gd name="connsiteX727" fmla="*/ 5526146 w 11683878"/>
                <a:gd name="connsiteY727" fmla="*/ 4582206 h 6246035"/>
                <a:gd name="connsiteX728" fmla="*/ 5527547 w 11683878"/>
                <a:gd name="connsiteY728" fmla="*/ 4578676 h 6246035"/>
                <a:gd name="connsiteX729" fmla="*/ 4308871 w 11683878"/>
                <a:gd name="connsiteY729" fmla="*/ 4560499 h 6246035"/>
                <a:gd name="connsiteX730" fmla="*/ 4300508 w 11683878"/>
                <a:gd name="connsiteY730" fmla="*/ 4562325 h 6246035"/>
                <a:gd name="connsiteX731" fmla="*/ 4312167 w 11683878"/>
                <a:gd name="connsiteY731" fmla="*/ 4574262 h 6246035"/>
                <a:gd name="connsiteX732" fmla="*/ 8149669 w 11683878"/>
                <a:gd name="connsiteY732" fmla="*/ 4556761 h 6246035"/>
                <a:gd name="connsiteX733" fmla="*/ 8149538 w 11683878"/>
                <a:gd name="connsiteY733" fmla="*/ 4556787 h 6246035"/>
                <a:gd name="connsiteX734" fmla="*/ 8178137 w 11683878"/>
                <a:gd name="connsiteY734" fmla="*/ 4576002 h 6246035"/>
                <a:gd name="connsiteX735" fmla="*/ 5554875 w 11683878"/>
                <a:gd name="connsiteY735" fmla="*/ 4555979 h 6246035"/>
                <a:gd name="connsiteX736" fmla="*/ 5535448 w 11683878"/>
                <a:gd name="connsiteY736" fmla="*/ 4558773 h 6246035"/>
                <a:gd name="connsiteX737" fmla="*/ 5535446 w 11683878"/>
                <a:gd name="connsiteY737" fmla="*/ 4558792 h 6246035"/>
                <a:gd name="connsiteX738" fmla="*/ 5535453 w 11683878"/>
                <a:gd name="connsiteY738" fmla="*/ 4558773 h 6246035"/>
                <a:gd name="connsiteX739" fmla="*/ 5553962 w 11683878"/>
                <a:gd name="connsiteY739" fmla="*/ 4561589 h 6246035"/>
                <a:gd name="connsiteX740" fmla="*/ 6410427 w 11683878"/>
                <a:gd name="connsiteY740" fmla="*/ 4555942 h 6246035"/>
                <a:gd name="connsiteX741" fmla="*/ 6442534 w 11683878"/>
                <a:gd name="connsiteY741" fmla="*/ 4557349 h 6246035"/>
                <a:gd name="connsiteX742" fmla="*/ 6470211 w 11683878"/>
                <a:gd name="connsiteY742" fmla="*/ 4638498 h 6246035"/>
                <a:gd name="connsiteX743" fmla="*/ 6499940 w 11683878"/>
                <a:gd name="connsiteY743" fmla="*/ 4661942 h 6246035"/>
                <a:gd name="connsiteX744" fmla="*/ 6500295 w 11683878"/>
                <a:gd name="connsiteY744" fmla="*/ 4661764 h 6246035"/>
                <a:gd name="connsiteX745" fmla="*/ 6470215 w 11683878"/>
                <a:gd name="connsiteY745" fmla="*/ 4638498 h 6246035"/>
                <a:gd name="connsiteX746" fmla="*/ 6442540 w 11683878"/>
                <a:gd name="connsiteY746" fmla="*/ 4557349 h 6246035"/>
                <a:gd name="connsiteX747" fmla="*/ 7889586 w 11683878"/>
                <a:gd name="connsiteY747" fmla="*/ 4550913 h 6246035"/>
                <a:gd name="connsiteX748" fmla="*/ 7899814 w 11683878"/>
                <a:gd name="connsiteY748" fmla="*/ 4566104 h 6246035"/>
                <a:gd name="connsiteX749" fmla="*/ 7902499 w 11683878"/>
                <a:gd name="connsiteY749" fmla="*/ 4564716 h 6246035"/>
                <a:gd name="connsiteX750" fmla="*/ 7888470 w 11683878"/>
                <a:gd name="connsiteY750" fmla="*/ 4549721 h 6246035"/>
                <a:gd name="connsiteX751" fmla="*/ 7874530 w 11683878"/>
                <a:gd name="connsiteY751" fmla="*/ 4566457 h 6246035"/>
                <a:gd name="connsiteX752" fmla="*/ 7888633 w 11683878"/>
                <a:gd name="connsiteY752" fmla="*/ 4549895 h 6246035"/>
                <a:gd name="connsiteX753" fmla="*/ 7793166 w 11683878"/>
                <a:gd name="connsiteY753" fmla="*/ 4546678 h 6246035"/>
                <a:gd name="connsiteX754" fmla="*/ 7775073 w 11683878"/>
                <a:gd name="connsiteY754" fmla="*/ 4565674 h 6246035"/>
                <a:gd name="connsiteX755" fmla="*/ 7794911 w 11683878"/>
                <a:gd name="connsiteY755" fmla="*/ 4547524 h 6246035"/>
                <a:gd name="connsiteX756" fmla="*/ 925028 w 11683878"/>
                <a:gd name="connsiteY756" fmla="*/ 4543550 h 6246035"/>
                <a:gd name="connsiteX757" fmla="*/ 918327 w 11683878"/>
                <a:gd name="connsiteY757" fmla="*/ 4551379 h 6246035"/>
                <a:gd name="connsiteX758" fmla="*/ 929531 w 11683878"/>
                <a:gd name="connsiteY758" fmla="*/ 4573602 h 6246035"/>
                <a:gd name="connsiteX759" fmla="*/ 929532 w 11683878"/>
                <a:gd name="connsiteY759" fmla="*/ 4573602 h 6246035"/>
                <a:gd name="connsiteX760" fmla="*/ 9556241 w 11683878"/>
                <a:gd name="connsiteY760" fmla="*/ 4540425 h 6246035"/>
                <a:gd name="connsiteX761" fmla="*/ 9548831 w 11683878"/>
                <a:gd name="connsiteY761" fmla="*/ 4578943 h 6246035"/>
                <a:gd name="connsiteX762" fmla="*/ 9549004 w 11683878"/>
                <a:gd name="connsiteY762" fmla="*/ 4579096 h 6246035"/>
                <a:gd name="connsiteX763" fmla="*/ 9556385 w 11683878"/>
                <a:gd name="connsiteY763" fmla="*/ 4540610 h 6246035"/>
                <a:gd name="connsiteX764" fmla="*/ 7907033 w 11683878"/>
                <a:gd name="connsiteY764" fmla="*/ 4537809 h 6246035"/>
                <a:gd name="connsiteX765" fmla="*/ 7904419 w 11683878"/>
                <a:gd name="connsiteY765" fmla="*/ 4563724 h 6246035"/>
                <a:gd name="connsiteX766" fmla="*/ 7912030 w 11683878"/>
                <a:gd name="connsiteY766" fmla="*/ 4559790 h 6246035"/>
                <a:gd name="connsiteX767" fmla="*/ 8110950 w 11683878"/>
                <a:gd name="connsiteY767" fmla="*/ 4536778 h 6246035"/>
                <a:gd name="connsiteX768" fmla="*/ 8123591 w 11683878"/>
                <a:gd name="connsiteY768" fmla="*/ 4561700 h 6246035"/>
                <a:gd name="connsiteX769" fmla="*/ 8123810 w 11683878"/>
                <a:gd name="connsiteY769" fmla="*/ 4561656 h 6246035"/>
                <a:gd name="connsiteX770" fmla="*/ 9416021 w 11683878"/>
                <a:gd name="connsiteY770" fmla="*/ 4536367 h 6246035"/>
                <a:gd name="connsiteX771" fmla="*/ 9395232 w 11683878"/>
                <a:gd name="connsiteY771" fmla="*/ 4566203 h 6246035"/>
                <a:gd name="connsiteX772" fmla="*/ 9396964 w 11683878"/>
                <a:gd name="connsiteY772" fmla="*/ 4575551 h 6246035"/>
                <a:gd name="connsiteX773" fmla="*/ 4306876 w 11683878"/>
                <a:gd name="connsiteY773" fmla="*/ 4536006 h 6246035"/>
                <a:gd name="connsiteX774" fmla="*/ 4307995 w 11683878"/>
                <a:gd name="connsiteY774" fmla="*/ 4540942 h 6246035"/>
                <a:gd name="connsiteX775" fmla="*/ 4327746 w 11683878"/>
                <a:gd name="connsiteY775" fmla="*/ 4546329 h 6246035"/>
                <a:gd name="connsiteX776" fmla="*/ 4327746 w 11683878"/>
                <a:gd name="connsiteY776" fmla="*/ 4546328 h 6246035"/>
                <a:gd name="connsiteX777" fmla="*/ 7766312 w 11683878"/>
                <a:gd name="connsiteY777" fmla="*/ 4533665 h 6246035"/>
                <a:gd name="connsiteX778" fmla="*/ 7763196 w 11683878"/>
                <a:gd name="connsiteY778" fmla="*/ 4537565 h 6246035"/>
                <a:gd name="connsiteX779" fmla="*/ 7786378 w 11683878"/>
                <a:gd name="connsiteY779" fmla="*/ 4543389 h 6246035"/>
                <a:gd name="connsiteX780" fmla="*/ 9456061 w 11683878"/>
                <a:gd name="connsiteY780" fmla="*/ 4533117 h 6246035"/>
                <a:gd name="connsiteX781" fmla="*/ 9418159 w 11683878"/>
                <a:gd name="connsiteY781" fmla="*/ 4533298 h 6246035"/>
                <a:gd name="connsiteX782" fmla="*/ 9417516 w 11683878"/>
                <a:gd name="connsiteY782" fmla="*/ 4534221 h 6246035"/>
                <a:gd name="connsiteX783" fmla="*/ 9455934 w 11683878"/>
                <a:gd name="connsiteY783" fmla="*/ 4533293 h 6246035"/>
                <a:gd name="connsiteX784" fmla="*/ 883412 w 11683878"/>
                <a:gd name="connsiteY784" fmla="*/ 4526858 h 6246035"/>
                <a:gd name="connsiteX785" fmla="*/ 881772 w 11683878"/>
                <a:gd name="connsiteY785" fmla="*/ 4528711 h 6246035"/>
                <a:gd name="connsiteX786" fmla="*/ 899761 w 11683878"/>
                <a:gd name="connsiteY786" fmla="*/ 4531444 h 6246035"/>
                <a:gd name="connsiteX787" fmla="*/ 922434 w 11683878"/>
                <a:gd name="connsiteY787" fmla="*/ 4526247 h 6246035"/>
                <a:gd name="connsiteX788" fmla="*/ 919325 w 11683878"/>
                <a:gd name="connsiteY788" fmla="*/ 4534416 h 6246035"/>
                <a:gd name="connsiteX789" fmla="*/ 923760 w 11683878"/>
                <a:gd name="connsiteY789" fmla="*/ 4535090 h 6246035"/>
                <a:gd name="connsiteX790" fmla="*/ 9162131 w 11683878"/>
                <a:gd name="connsiteY790" fmla="*/ 4524337 h 6246035"/>
                <a:gd name="connsiteX791" fmla="*/ 9133381 w 11683878"/>
                <a:gd name="connsiteY791" fmla="*/ 4544015 h 6246035"/>
                <a:gd name="connsiteX792" fmla="*/ 9133368 w 11683878"/>
                <a:gd name="connsiteY792" fmla="*/ 4544260 h 6246035"/>
                <a:gd name="connsiteX793" fmla="*/ 9162234 w 11683878"/>
                <a:gd name="connsiteY793" fmla="*/ 4524625 h 6246035"/>
                <a:gd name="connsiteX794" fmla="*/ 5557006 w 11683878"/>
                <a:gd name="connsiteY794" fmla="*/ 4515574 h 6246035"/>
                <a:gd name="connsiteX795" fmla="*/ 5556906 w 11683878"/>
                <a:gd name="connsiteY795" fmla="*/ 4543508 h 6246035"/>
                <a:gd name="connsiteX796" fmla="*/ 5561113 w 11683878"/>
                <a:gd name="connsiteY796" fmla="*/ 4517661 h 6246035"/>
                <a:gd name="connsiteX797" fmla="*/ 893490 w 11683878"/>
                <a:gd name="connsiteY797" fmla="*/ 4515456 h 6246035"/>
                <a:gd name="connsiteX798" fmla="*/ 893494 w 11683878"/>
                <a:gd name="connsiteY798" fmla="*/ 4515462 h 6246035"/>
                <a:gd name="connsiteX799" fmla="*/ 893494 w 11683878"/>
                <a:gd name="connsiteY799" fmla="*/ 4515462 h 6246035"/>
                <a:gd name="connsiteX800" fmla="*/ 8704277 w 11683878"/>
                <a:gd name="connsiteY800" fmla="*/ 4515325 h 6246035"/>
                <a:gd name="connsiteX801" fmla="*/ 8673772 w 11683878"/>
                <a:gd name="connsiteY801" fmla="*/ 4522847 h 6246035"/>
                <a:gd name="connsiteX802" fmla="*/ 8673773 w 11683878"/>
                <a:gd name="connsiteY802" fmla="*/ 4522849 h 6246035"/>
                <a:gd name="connsiteX803" fmla="*/ 8703664 w 11683878"/>
                <a:gd name="connsiteY803" fmla="*/ 4515885 h 6246035"/>
                <a:gd name="connsiteX804" fmla="*/ 8561291 w 11683878"/>
                <a:gd name="connsiteY804" fmla="*/ 4514255 h 6246035"/>
                <a:gd name="connsiteX805" fmla="*/ 8527444 w 11683878"/>
                <a:gd name="connsiteY805" fmla="*/ 4528956 h 6246035"/>
                <a:gd name="connsiteX806" fmla="*/ 8527494 w 11683878"/>
                <a:gd name="connsiteY806" fmla="*/ 4528994 h 6246035"/>
                <a:gd name="connsiteX807" fmla="*/ 8666228 w 11683878"/>
                <a:gd name="connsiteY807" fmla="*/ 4505257 h 6246035"/>
                <a:gd name="connsiteX808" fmla="*/ 8673666 w 11683878"/>
                <a:gd name="connsiteY808" fmla="*/ 4522600 h 6246035"/>
                <a:gd name="connsiteX809" fmla="*/ 8666507 w 11683878"/>
                <a:gd name="connsiteY809" fmla="*/ 4505317 h 6246035"/>
                <a:gd name="connsiteX810" fmla="*/ 8587251 w 11683878"/>
                <a:gd name="connsiteY810" fmla="*/ 4502980 h 6246035"/>
                <a:gd name="connsiteX811" fmla="*/ 8586996 w 11683878"/>
                <a:gd name="connsiteY811" fmla="*/ 4503091 h 6246035"/>
                <a:gd name="connsiteX812" fmla="*/ 8620922 w 11683878"/>
                <a:gd name="connsiteY812" fmla="*/ 4518124 h 6246035"/>
                <a:gd name="connsiteX813" fmla="*/ 4377187 w 11683878"/>
                <a:gd name="connsiteY813" fmla="*/ 4502628 h 6246035"/>
                <a:gd name="connsiteX814" fmla="*/ 4426393 w 11683878"/>
                <a:gd name="connsiteY814" fmla="*/ 4512788 h 6246035"/>
                <a:gd name="connsiteX815" fmla="*/ 4426393 w 11683878"/>
                <a:gd name="connsiteY815" fmla="*/ 4512787 h 6246035"/>
                <a:gd name="connsiteX816" fmla="*/ 8641401 w 11683878"/>
                <a:gd name="connsiteY816" fmla="*/ 4499896 h 6246035"/>
                <a:gd name="connsiteX817" fmla="*/ 8621050 w 11683878"/>
                <a:gd name="connsiteY817" fmla="*/ 4518180 h 6246035"/>
                <a:gd name="connsiteX818" fmla="*/ 8621053 w 11683878"/>
                <a:gd name="connsiteY818" fmla="*/ 4518182 h 6246035"/>
                <a:gd name="connsiteX819" fmla="*/ 8641405 w 11683878"/>
                <a:gd name="connsiteY819" fmla="*/ 4499897 h 6246035"/>
                <a:gd name="connsiteX820" fmla="*/ 8641447 w 11683878"/>
                <a:gd name="connsiteY820" fmla="*/ 4499906 h 6246035"/>
                <a:gd name="connsiteX821" fmla="*/ 9537288 w 11683878"/>
                <a:gd name="connsiteY821" fmla="*/ 4495275 h 6246035"/>
                <a:gd name="connsiteX822" fmla="*/ 9537599 w 11683878"/>
                <a:gd name="connsiteY822" fmla="*/ 4495372 h 6246035"/>
                <a:gd name="connsiteX823" fmla="*/ 9528534 w 11683878"/>
                <a:gd name="connsiteY823" fmla="*/ 4504553 h 6246035"/>
                <a:gd name="connsiteX824" fmla="*/ 9528924 w 11683878"/>
                <a:gd name="connsiteY824" fmla="*/ 4505050 h 6246035"/>
                <a:gd name="connsiteX825" fmla="*/ 9537612 w 11683878"/>
                <a:gd name="connsiteY825" fmla="*/ 4495372 h 6246035"/>
                <a:gd name="connsiteX826" fmla="*/ 7893149 w 11683878"/>
                <a:gd name="connsiteY826" fmla="*/ 4489614 h 6246035"/>
                <a:gd name="connsiteX827" fmla="*/ 7887656 w 11683878"/>
                <a:gd name="connsiteY827" fmla="*/ 4502024 h 6246035"/>
                <a:gd name="connsiteX828" fmla="*/ 7887928 w 11683878"/>
                <a:gd name="connsiteY828" fmla="*/ 4502645 h 6246035"/>
                <a:gd name="connsiteX829" fmla="*/ 8118757 w 11683878"/>
                <a:gd name="connsiteY829" fmla="*/ 4486761 h 6246035"/>
                <a:gd name="connsiteX830" fmla="*/ 8097028 w 11683878"/>
                <a:gd name="connsiteY830" fmla="*/ 4503045 h 6246035"/>
                <a:gd name="connsiteX831" fmla="*/ 8098633 w 11683878"/>
                <a:gd name="connsiteY831" fmla="*/ 4503887 h 6246035"/>
                <a:gd name="connsiteX832" fmla="*/ 8088311 w 11683878"/>
                <a:gd name="connsiteY832" fmla="*/ 4529306 h 6246035"/>
                <a:gd name="connsiteX833" fmla="*/ 8088312 w 11683878"/>
                <a:gd name="connsiteY833" fmla="*/ 4529306 h 6246035"/>
                <a:gd name="connsiteX834" fmla="*/ 4414935 w 11683878"/>
                <a:gd name="connsiteY834" fmla="*/ 4486212 h 6246035"/>
                <a:gd name="connsiteX835" fmla="*/ 4414901 w 11683878"/>
                <a:gd name="connsiteY835" fmla="*/ 4486281 h 6246035"/>
                <a:gd name="connsiteX836" fmla="*/ 4414902 w 11683878"/>
                <a:gd name="connsiteY836" fmla="*/ 4486282 h 6246035"/>
                <a:gd name="connsiteX837" fmla="*/ 7895028 w 11683878"/>
                <a:gd name="connsiteY837" fmla="*/ 4485370 h 6246035"/>
                <a:gd name="connsiteX838" fmla="*/ 7894991 w 11683878"/>
                <a:gd name="connsiteY838" fmla="*/ 4485454 h 6246035"/>
                <a:gd name="connsiteX839" fmla="*/ 7912087 w 11683878"/>
                <a:gd name="connsiteY839" fmla="*/ 4486661 h 6246035"/>
                <a:gd name="connsiteX840" fmla="*/ 7912122 w 11683878"/>
                <a:gd name="connsiteY840" fmla="*/ 4486569 h 6246035"/>
                <a:gd name="connsiteX841" fmla="*/ 9492347 w 11683878"/>
                <a:gd name="connsiteY841" fmla="*/ 4481825 h 6246035"/>
                <a:gd name="connsiteX842" fmla="*/ 9464414 w 11683878"/>
                <a:gd name="connsiteY842" fmla="*/ 4521573 h 6246035"/>
                <a:gd name="connsiteX843" fmla="*/ 9493026 w 11683878"/>
                <a:gd name="connsiteY843" fmla="*/ 4482028 h 6246035"/>
                <a:gd name="connsiteX844" fmla="*/ 9146314 w 11683878"/>
                <a:gd name="connsiteY844" fmla="*/ 4480063 h 6246035"/>
                <a:gd name="connsiteX845" fmla="*/ 9146203 w 11683878"/>
                <a:gd name="connsiteY845" fmla="*/ 4480227 h 6246035"/>
                <a:gd name="connsiteX846" fmla="*/ 9153267 w 11683878"/>
                <a:gd name="connsiteY846" fmla="*/ 4499525 h 6246035"/>
                <a:gd name="connsiteX847" fmla="*/ 8244799 w 11683878"/>
                <a:gd name="connsiteY847" fmla="*/ 4479818 h 6246035"/>
                <a:gd name="connsiteX848" fmla="*/ 8248268 w 11683878"/>
                <a:gd name="connsiteY848" fmla="*/ 4483601 h 6246035"/>
                <a:gd name="connsiteX849" fmla="*/ 8248312 w 11683878"/>
                <a:gd name="connsiteY849" fmla="*/ 4483586 h 6246035"/>
                <a:gd name="connsiteX850" fmla="*/ 8453281 w 11683878"/>
                <a:gd name="connsiteY850" fmla="*/ 4472359 h 6246035"/>
                <a:gd name="connsiteX851" fmla="*/ 8453210 w 11683878"/>
                <a:gd name="connsiteY851" fmla="*/ 4472374 h 6246035"/>
                <a:gd name="connsiteX852" fmla="*/ 8453283 w 11683878"/>
                <a:gd name="connsiteY852" fmla="*/ 4472360 h 6246035"/>
                <a:gd name="connsiteX853" fmla="*/ 695030 w 11683878"/>
                <a:gd name="connsiteY853" fmla="*/ 4471464 h 6246035"/>
                <a:gd name="connsiteX854" fmla="*/ 695029 w 11683878"/>
                <a:gd name="connsiteY854" fmla="*/ 4471465 h 6246035"/>
                <a:gd name="connsiteX855" fmla="*/ 709382 w 11683878"/>
                <a:gd name="connsiteY855" fmla="*/ 4478012 h 6246035"/>
                <a:gd name="connsiteX856" fmla="*/ 706117 w 11683878"/>
                <a:gd name="connsiteY856" fmla="*/ 4521107 h 6246035"/>
                <a:gd name="connsiteX857" fmla="*/ 709383 w 11683878"/>
                <a:gd name="connsiteY857" fmla="*/ 4478012 h 6246035"/>
                <a:gd name="connsiteX858" fmla="*/ 8358713 w 11683878"/>
                <a:gd name="connsiteY858" fmla="*/ 4470798 h 6246035"/>
                <a:gd name="connsiteX859" fmla="*/ 8383849 w 11683878"/>
                <a:gd name="connsiteY859" fmla="*/ 4485091 h 6246035"/>
                <a:gd name="connsiteX860" fmla="*/ 8389160 w 11683878"/>
                <a:gd name="connsiteY860" fmla="*/ 4484117 h 6246035"/>
                <a:gd name="connsiteX861" fmla="*/ 8358703 w 11683878"/>
                <a:gd name="connsiteY861" fmla="*/ 4470794 h 6246035"/>
                <a:gd name="connsiteX862" fmla="*/ 8338810 w 11683878"/>
                <a:gd name="connsiteY862" fmla="*/ 4495736 h 6246035"/>
                <a:gd name="connsiteX863" fmla="*/ 8338813 w 11683878"/>
                <a:gd name="connsiteY863" fmla="*/ 4495738 h 6246035"/>
                <a:gd name="connsiteX864" fmla="*/ 8358707 w 11683878"/>
                <a:gd name="connsiteY864" fmla="*/ 4470796 h 6246035"/>
                <a:gd name="connsiteX865" fmla="*/ 8072789 w 11683878"/>
                <a:gd name="connsiteY865" fmla="*/ 4468270 h 6246035"/>
                <a:gd name="connsiteX866" fmla="*/ 8070851 w 11683878"/>
                <a:gd name="connsiteY866" fmla="*/ 4489305 h 6246035"/>
                <a:gd name="connsiteX867" fmla="*/ 8080040 w 11683878"/>
                <a:gd name="connsiteY867" fmla="*/ 4494128 h 6246035"/>
                <a:gd name="connsiteX868" fmla="*/ 8070903 w 11683878"/>
                <a:gd name="connsiteY868" fmla="*/ 4489071 h 6246035"/>
                <a:gd name="connsiteX869" fmla="*/ 8292970 w 11683878"/>
                <a:gd name="connsiteY869" fmla="*/ 4468085 h 6246035"/>
                <a:gd name="connsiteX870" fmla="*/ 8292521 w 11683878"/>
                <a:gd name="connsiteY870" fmla="*/ 4468243 h 6246035"/>
                <a:gd name="connsiteX871" fmla="*/ 8292972 w 11683878"/>
                <a:gd name="connsiteY871" fmla="*/ 4468087 h 6246035"/>
                <a:gd name="connsiteX872" fmla="*/ 6804873 w 11683878"/>
                <a:gd name="connsiteY872" fmla="*/ 4459449 h 6246035"/>
                <a:gd name="connsiteX873" fmla="*/ 6798306 w 11683878"/>
                <a:gd name="connsiteY873" fmla="*/ 4462440 h 6246035"/>
                <a:gd name="connsiteX874" fmla="*/ 6798326 w 11683878"/>
                <a:gd name="connsiteY874" fmla="*/ 4462463 h 6246035"/>
                <a:gd name="connsiteX875" fmla="*/ 828377 w 11683878"/>
                <a:gd name="connsiteY875" fmla="*/ 4457248 h 6246035"/>
                <a:gd name="connsiteX876" fmla="*/ 836017 w 11683878"/>
                <a:gd name="connsiteY876" fmla="*/ 4471192 h 6246035"/>
                <a:gd name="connsiteX877" fmla="*/ 836021 w 11683878"/>
                <a:gd name="connsiteY877" fmla="*/ 4471188 h 6246035"/>
                <a:gd name="connsiteX878" fmla="*/ 836017 w 11683878"/>
                <a:gd name="connsiteY878" fmla="*/ 4471191 h 6246035"/>
                <a:gd name="connsiteX879" fmla="*/ 6639858 w 11683878"/>
                <a:gd name="connsiteY879" fmla="*/ 4453397 h 6246035"/>
                <a:gd name="connsiteX880" fmla="*/ 6527659 w 11683878"/>
                <a:gd name="connsiteY880" fmla="*/ 4552216 h 6246035"/>
                <a:gd name="connsiteX881" fmla="*/ 6640076 w 11683878"/>
                <a:gd name="connsiteY881" fmla="*/ 4454889 h 6246035"/>
                <a:gd name="connsiteX882" fmla="*/ 8219128 w 11683878"/>
                <a:gd name="connsiteY882" fmla="*/ 4452291 h 6246035"/>
                <a:gd name="connsiteX883" fmla="*/ 8147815 w 11683878"/>
                <a:gd name="connsiteY883" fmla="*/ 4464983 h 6246035"/>
                <a:gd name="connsiteX884" fmla="*/ 8139989 w 11683878"/>
                <a:gd name="connsiteY884" fmla="*/ 4470848 h 6246035"/>
                <a:gd name="connsiteX885" fmla="*/ 8219228 w 11683878"/>
                <a:gd name="connsiteY885" fmla="*/ 4452398 h 6246035"/>
                <a:gd name="connsiteX886" fmla="*/ 7863913 w 11683878"/>
                <a:gd name="connsiteY886" fmla="*/ 4448201 h 6246035"/>
                <a:gd name="connsiteX887" fmla="*/ 7847698 w 11683878"/>
                <a:gd name="connsiteY887" fmla="*/ 4450019 h 6246035"/>
                <a:gd name="connsiteX888" fmla="*/ 7847757 w 11683878"/>
                <a:gd name="connsiteY888" fmla="*/ 4450149 h 6246035"/>
                <a:gd name="connsiteX889" fmla="*/ 7863932 w 11683878"/>
                <a:gd name="connsiteY889" fmla="*/ 4448245 h 6246035"/>
                <a:gd name="connsiteX890" fmla="*/ 8907986 w 11683878"/>
                <a:gd name="connsiteY890" fmla="*/ 4440247 h 6246035"/>
                <a:gd name="connsiteX891" fmla="*/ 8888271 w 11683878"/>
                <a:gd name="connsiteY891" fmla="*/ 4444912 h 6246035"/>
                <a:gd name="connsiteX892" fmla="*/ 8898253 w 11683878"/>
                <a:gd name="connsiteY892" fmla="*/ 4447314 h 6246035"/>
                <a:gd name="connsiteX893" fmla="*/ 713416 w 11683878"/>
                <a:gd name="connsiteY893" fmla="*/ 4438516 h 6246035"/>
                <a:gd name="connsiteX894" fmla="*/ 705501 w 11683878"/>
                <a:gd name="connsiteY894" fmla="*/ 4452700 h 6246035"/>
                <a:gd name="connsiteX895" fmla="*/ 713415 w 11683878"/>
                <a:gd name="connsiteY895" fmla="*/ 4438517 h 6246035"/>
                <a:gd name="connsiteX896" fmla="*/ 1191015 w 11683878"/>
                <a:gd name="connsiteY896" fmla="*/ 4438149 h 6246035"/>
                <a:gd name="connsiteX897" fmla="*/ 1171496 w 11683878"/>
                <a:gd name="connsiteY897" fmla="*/ 4462190 h 6246035"/>
                <a:gd name="connsiteX898" fmla="*/ 1171496 w 11683878"/>
                <a:gd name="connsiteY898" fmla="*/ 4462191 h 6246035"/>
                <a:gd name="connsiteX899" fmla="*/ 6775923 w 11683878"/>
                <a:gd name="connsiteY899" fmla="*/ 4436134 h 6246035"/>
                <a:gd name="connsiteX900" fmla="*/ 6770635 w 11683878"/>
                <a:gd name="connsiteY900" fmla="*/ 4438034 h 6246035"/>
                <a:gd name="connsiteX901" fmla="*/ 6775627 w 11683878"/>
                <a:gd name="connsiteY901" fmla="*/ 4436304 h 6246035"/>
                <a:gd name="connsiteX902" fmla="*/ 6794403 w 11683878"/>
                <a:gd name="connsiteY902" fmla="*/ 4457941 h 6246035"/>
                <a:gd name="connsiteX903" fmla="*/ 8845408 w 11683878"/>
                <a:gd name="connsiteY903" fmla="*/ 4434600 h 6246035"/>
                <a:gd name="connsiteX904" fmla="*/ 8798472 w 11683878"/>
                <a:gd name="connsiteY904" fmla="*/ 4448628 h 6246035"/>
                <a:gd name="connsiteX905" fmla="*/ 8785403 w 11683878"/>
                <a:gd name="connsiteY905" fmla="*/ 4479929 h 6246035"/>
                <a:gd name="connsiteX906" fmla="*/ 8755097 w 11683878"/>
                <a:gd name="connsiteY906" fmla="*/ 4468854 h 6246035"/>
                <a:gd name="connsiteX907" fmla="*/ 8753969 w 11683878"/>
                <a:gd name="connsiteY907" fmla="*/ 4469891 h 6246035"/>
                <a:gd name="connsiteX908" fmla="*/ 8755101 w 11683878"/>
                <a:gd name="connsiteY908" fmla="*/ 4468856 h 6246035"/>
                <a:gd name="connsiteX909" fmla="*/ 8785407 w 11683878"/>
                <a:gd name="connsiteY909" fmla="*/ 4479931 h 6246035"/>
                <a:gd name="connsiteX910" fmla="*/ 8798475 w 11683878"/>
                <a:gd name="connsiteY910" fmla="*/ 4448630 h 6246035"/>
                <a:gd name="connsiteX911" fmla="*/ 8845411 w 11683878"/>
                <a:gd name="connsiteY911" fmla="*/ 4434601 h 6246035"/>
                <a:gd name="connsiteX912" fmla="*/ 814178 w 11683878"/>
                <a:gd name="connsiteY912" fmla="*/ 4431337 h 6246035"/>
                <a:gd name="connsiteX913" fmla="*/ 788499 w 11683878"/>
                <a:gd name="connsiteY913" fmla="*/ 4458428 h 6246035"/>
                <a:gd name="connsiteX914" fmla="*/ 788500 w 11683878"/>
                <a:gd name="connsiteY914" fmla="*/ 4458428 h 6246035"/>
                <a:gd name="connsiteX915" fmla="*/ 814178 w 11683878"/>
                <a:gd name="connsiteY915" fmla="*/ 4431338 h 6246035"/>
                <a:gd name="connsiteX916" fmla="*/ 728902 w 11683878"/>
                <a:gd name="connsiteY916" fmla="*/ 4427442 h 6246035"/>
                <a:gd name="connsiteX917" fmla="*/ 713417 w 11683878"/>
                <a:gd name="connsiteY917" fmla="*/ 4438516 h 6246035"/>
                <a:gd name="connsiteX918" fmla="*/ 735852 w 11683878"/>
                <a:gd name="connsiteY918" fmla="*/ 4435857 h 6246035"/>
                <a:gd name="connsiteX919" fmla="*/ 777284 w 11683878"/>
                <a:gd name="connsiteY919" fmla="*/ 4425545 h 6246035"/>
                <a:gd name="connsiteX920" fmla="*/ 754103 w 11683878"/>
                <a:gd name="connsiteY920" fmla="*/ 4457955 h 6246035"/>
                <a:gd name="connsiteX921" fmla="*/ 746621 w 11683878"/>
                <a:gd name="connsiteY921" fmla="*/ 4448896 h 6246035"/>
                <a:gd name="connsiteX922" fmla="*/ 762353 w 11683878"/>
                <a:gd name="connsiteY922" fmla="*/ 4500124 h 6246035"/>
                <a:gd name="connsiteX923" fmla="*/ 752833 w 11683878"/>
                <a:gd name="connsiteY923" fmla="*/ 4463510 h 6246035"/>
                <a:gd name="connsiteX924" fmla="*/ 765800 w 11683878"/>
                <a:gd name="connsiteY924" fmla="*/ 4443860 h 6246035"/>
                <a:gd name="connsiteX925" fmla="*/ 769127 w 11683878"/>
                <a:gd name="connsiteY925" fmla="*/ 4445996 h 6246035"/>
                <a:gd name="connsiteX926" fmla="*/ 777199 w 11683878"/>
                <a:gd name="connsiteY926" fmla="*/ 4425459 h 6246035"/>
                <a:gd name="connsiteX927" fmla="*/ 777285 w 11683878"/>
                <a:gd name="connsiteY927" fmla="*/ 4425544 h 6246035"/>
                <a:gd name="connsiteX928" fmla="*/ 777285 w 11683878"/>
                <a:gd name="connsiteY928" fmla="*/ 4425543 h 6246035"/>
                <a:gd name="connsiteX929" fmla="*/ 7836054 w 11683878"/>
                <a:gd name="connsiteY929" fmla="*/ 4424462 h 6246035"/>
                <a:gd name="connsiteX930" fmla="*/ 7836006 w 11683878"/>
                <a:gd name="connsiteY930" fmla="*/ 4424506 h 6246035"/>
                <a:gd name="connsiteX931" fmla="*/ 7839945 w 11683878"/>
                <a:gd name="connsiteY931" fmla="*/ 4433101 h 6246035"/>
                <a:gd name="connsiteX932" fmla="*/ 4454280 w 11683878"/>
                <a:gd name="connsiteY932" fmla="*/ 4423618 h 6246035"/>
                <a:gd name="connsiteX933" fmla="*/ 4452904 w 11683878"/>
                <a:gd name="connsiteY933" fmla="*/ 4432938 h 6246035"/>
                <a:gd name="connsiteX934" fmla="*/ 4401405 w 11683878"/>
                <a:gd name="connsiteY934" fmla="*/ 4460790 h 6246035"/>
                <a:gd name="connsiteX935" fmla="*/ 4425150 w 11683878"/>
                <a:gd name="connsiteY935" fmla="*/ 4464706 h 6246035"/>
                <a:gd name="connsiteX936" fmla="*/ 4425207 w 11683878"/>
                <a:gd name="connsiteY936" fmla="*/ 4464583 h 6246035"/>
                <a:gd name="connsiteX937" fmla="*/ 4401405 w 11683878"/>
                <a:gd name="connsiteY937" fmla="*/ 4460790 h 6246035"/>
                <a:gd name="connsiteX938" fmla="*/ 4452904 w 11683878"/>
                <a:gd name="connsiteY938" fmla="*/ 4432939 h 6246035"/>
                <a:gd name="connsiteX939" fmla="*/ 6753292 w 11683878"/>
                <a:gd name="connsiteY939" fmla="*/ 4421679 h 6246035"/>
                <a:gd name="connsiteX940" fmla="*/ 6750340 w 11683878"/>
                <a:gd name="connsiteY940" fmla="*/ 4445066 h 6246035"/>
                <a:gd name="connsiteX941" fmla="*/ 6750618 w 11683878"/>
                <a:gd name="connsiteY941" fmla="*/ 4444970 h 6246035"/>
                <a:gd name="connsiteX942" fmla="*/ 6756913 w 11683878"/>
                <a:gd name="connsiteY942" fmla="*/ 4423268 h 6246035"/>
                <a:gd name="connsiteX943" fmla="*/ 6821706 w 11683878"/>
                <a:gd name="connsiteY943" fmla="*/ 4420510 h 6246035"/>
                <a:gd name="connsiteX944" fmla="*/ 6821596 w 11683878"/>
                <a:gd name="connsiteY944" fmla="*/ 4420617 h 6246035"/>
                <a:gd name="connsiteX945" fmla="*/ 6825425 w 11683878"/>
                <a:gd name="connsiteY945" fmla="*/ 4449987 h 6246035"/>
                <a:gd name="connsiteX946" fmla="*/ 6825558 w 11683878"/>
                <a:gd name="connsiteY946" fmla="*/ 4449926 h 6246035"/>
                <a:gd name="connsiteX947" fmla="*/ 678623 w 11683878"/>
                <a:gd name="connsiteY947" fmla="*/ 4415677 h 6246035"/>
                <a:gd name="connsiteX948" fmla="*/ 675890 w 11683878"/>
                <a:gd name="connsiteY948" fmla="*/ 4426680 h 6246035"/>
                <a:gd name="connsiteX949" fmla="*/ 706260 w 11683878"/>
                <a:gd name="connsiteY949" fmla="*/ 4440018 h 6246035"/>
                <a:gd name="connsiteX950" fmla="*/ 706261 w 11683878"/>
                <a:gd name="connsiteY950" fmla="*/ 4440017 h 6246035"/>
                <a:gd name="connsiteX951" fmla="*/ 675891 w 11683878"/>
                <a:gd name="connsiteY951" fmla="*/ 4426679 h 6246035"/>
                <a:gd name="connsiteX952" fmla="*/ 2847905 w 11683878"/>
                <a:gd name="connsiteY952" fmla="*/ 4414684 h 6246035"/>
                <a:gd name="connsiteX953" fmla="*/ 2811379 w 11683878"/>
                <a:gd name="connsiteY953" fmla="*/ 4424211 h 6246035"/>
                <a:gd name="connsiteX954" fmla="*/ 2811379 w 11683878"/>
                <a:gd name="connsiteY954" fmla="*/ 4424213 h 6246035"/>
                <a:gd name="connsiteX955" fmla="*/ 2847905 w 11683878"/>
                <a:gd name="connsiteY955" fmla="*/ 4414687 h 6246035"/>
                <a:gd name="connsiteX956" fmla="*/ 843787 w 11683878"/>
                <a:gd name="connsiteY956" fmla="*/ 4409514 h 6246035"/>
                <a:gd name="connsiteX957" fmla="*/ 874184 w 11683878"/>
                <a:gd name="connsiteY957" fmla="*/ 4443127 h 6246035"/>
                <a:gd name="connsiteX958" fmla="*/ 852777 w 11683878"/>
                <a:gd name="connsiteY958" fmla="*/ 4458867 h 6246035"/>
                <a:gd name="connsiteX959" fmla="*/ 861716 w 11683878"/>
                <a:gd name="connsiteY959" fmla="*/ 4470165 h 6246035"/>
                <a:gd name="connsiteX960" fmla="*/ 854750 w 11683878"/>
                <a:gd name="connsiteY960" fmla="*/ 4460234 h 6246035"/>
                <a:gd name="connsiteX961" fmla="*/ 874184 w 11683878"/>
                <a:gd name="connsiteY961" fmla="*/ 4443127 h 6246035"/>
                <a:gd name="connsiteX962" fmla="*/ 843788 w 11683878"/>
                <a:gd name="connsiteY962" fmla="*/ 4409514 h 6246035"/>
                <a:gd name="connsiteX963" fmla="*/ 8039666 w 11683878"/>
                <a:gd name="connsiteY963" fmla="*/ 4406649 h 6246035"/>
                <a:gd name="connsiteX964" fmla="*/ 8020007 w 11683878"/>
                <a:gd name="connsiteY964" fmla="*/ 4427376 h 6246035"/>
                <a:gd name="connsiteX965" fmla="*/ 8020057 w 11683878"/>
                <a:gd name="connsiteY965" fmla="*/ 4427446 h 6246035"/>
                <a:gd name="connsiteX966" fmla="*/ 8039666 w 11683878"/>
                <a:gd name="connsiteY966" fmla="*/ 4406654 h 6246035"/>
                <a:gd name="connsiteX967" fmla="*/ 6717646 w 11683878"/>
                <a:gd name="connsiteY967" fmla="*/ 4406040 h 6246035"/>
                <a:gd name="connsiteX968" fmla="*/ 6727701 w 11683878"/>
                <a:gd name="connsiteY968" fmla="*/ 4417483 h 6246035"/>
                <a:gd name="connsiteX969" fmla="*/ 6746655 w 11683878"/>
                <a:gd name="connsiteY969" fmla="*/ 4418767 h 6246035"/>
                <a:gd name="connsiteX970" fmla="*/ 11433277 w 11683878"/>
                <a:gd name="connsiteY970" fmla="*/ 4404456 h 6246035"/>
                <a:gd name="connsiteX971" fmla="*/ 11485527 w 11683878"/>
                <a:gd name="connsiteY971" fmla="*/ 4428260 h 6246035"/>
                <a:gd name="connsiteX972" fmla="*/ 11496139 w 11683878"/>
                <a:gd name="connsiteY972" fmla="*/ 4502439 h 6246035"/>
                <a:gd name="connsiteX973" fmla="*/ 11479554 w 11683878"/>
                <a:gd name="connsiteY973" fmla="*/ 4651686 h 6246035"/>
                <a:gd name="connsiteX974" fmla="*/ 11436260 w 11683878"/>
                <a:gd name="connsiteY974" fmla="*/ 4714269 h 6246035"/>
                <a:gd name="connsiteX975" fmla="*/ 11439404 w 11683878"/>
                <a:gd name="connsiteY975" fmla="*/ 4743962 h 6246035"/>
                <a:gd name="connsiteX976" fmla="*/ 11405032 w 11683878"/>
                <a:gd name="connsiteY976" fmla="*/ 4804387 h 6246035"/>
                <a:gd name="connsiteX977" fmla="*/ 11374702 w 11683878"/>
                <a:gd name="connsiteY977" fmla="*/ 4917224 h 6246035"/>
                <a:gd name="connsiteX978" fmla="*/ 11367617 w 11683878"/>
                <a:gd name="connsiteY978" fmla="*/ 4977041 h 6246035"/>
                <a:gd name="connsiteX979" fmla="*/ 11418905 w 11683878"/>
                <a:gd name="connsiteY979" fmla="*/ 5039640 h 6246035"/>
                <a:gd name="connsiteX980" fmla="*/ 11418509 w 11683878"/>
                <a:gd name="connsiteY980" fmla="*/ 5078111 h 6246035"/>
                <a:gd name="connsiteX981" fmla="*/ 11375523 w 11683878"/>
                <a:gd name="connsiteY981" fmla="*/ 5193846 h 6246035"/>
                <a:gd name="connsiteX982" fmla="*/ 11317354 w 11683878"/>
                <a:gd name="connsiteY982" fmla="*/ 5174778 h 6246035"/>
                <a:gd name="connsiteX983" fmla="*/ 11251558 w 11683878"/>
                <a:gd name="connsiteY983" fmla="*/ 5179076 h 6246035"/>
                <a:gd name="connsiteX984" fmla="*/ 11241561 w 11683878"/>
                <a:gd name="connsiteY984" fmla="*/ 5166280 h 6246035"/>
                <a:gd name="connsiteX985" fmla="*/ 11241559 w 11683878"/>
                <a:gd name="connsiteY985" fmla="*/ 5166280 h 6246035"/>
                <a:gd name="connsiteX986" fmla="*/ 11224453 w 11683878"/>
                <a:gd name="connsiteY986" fmla="*/ 5018057 h 6246035"/>
                <a:gd name="connsiteX987" fmla="*/ 11284258 w 11683878"/>
                <a:gd name="connsiteY987" fmla="*/ 4953891 h 6246035"/>
                <a:gd name="connsiteX988" fmla="*/ 11292821 w 11683878"/>
                <a:gd name="connsiteY988" fmla="*/ 4774131 h 6246035"/>
                <a:gd name="connsiteX989" fmla="*/ 11340301 w 11683878"/>
                <a:gd name="connsiteY989" fmla="*/ 4736646 h 6246035"/>
                <a:gd name="connsiteX990" fmla="*/ 11354427 w 11683878"/>
                <a:gd name="connsiteY990" fmla="*/ 4696773 h 6246035"/>
                <a:gd name="connsiteX991" fmla="*/ 11397460 w 11683878"/>
                <a:gd name="connsiteY991" fmla="*/ 4659025 h 6246035"/>
                <a:gd name="connsiteX992" fmla="*/ 11400514 w 11683878"/>
                <a:gd name="connsiteY992" fmla="*/ 4562317 h 6246035"/>
                <a:gd name="connsiteX993" fmla="*/ 11425391 w 11683878"/>
                <a:gd name="connsiteY993" fmla="*/ 4497218 h 6246035"/>
                <a:gd name="connsiteX994" fmla="*/ 11391115 w 11683878"/>
                <a:gd name="connsiteY994" fmla="*/ 4431649 h 6246035"/>
                <a:gd name="connsiteX995" fmla="*/ 11405901 w 11683878"/>
                <a:gd name="connsiteY995" fmla="*/ 4408787 h 6246035"/>
                <a:gd name="connsiteX996" fmla="*/ 7860525 w 11683878"/>
                <a:gd name="connsiteY996" fmla="*/ 4401626 h 6246035"/>
                <a:gd name="connsiteX997" fmla="*/ 7848956 w 11683878"/>
                <a:gd name="connsiteY997" fmla="*/ 4412421 h 6246035"/>
                <a:gd name="connsiteX998" fmla="*/ 7860543 w 11683878"/>
                <a:gd name="connsiteY998" fmla="*/ 4401684 h 6246035"/>
                <a:gd name="connsiteX999" fmla="*/ 731055 w 11683878"/>
                <a:gd name="connsiteY999" fmla="*/ 4389500 h 6246035"/>
                <a:gd name="connsiteX1000" fmla="*/ 727611 w 11683878"/>
                <a:gd name="connsiteY1000" fmla="*/ 4390900 h 6246035"/>
                <a:gd name="connsiteX1001" fmla="*/ 728341 w 11683878"/>
                <a:gd name="connsiteY1001" fmla="*/ 4393260 h 6246035"/>
                <a:gd name="connsiteX1002" fmla="*/ 9190949 w 11683878"/>
                <a:gd name="connsiteY1002" fmla="*/ 4384755 h 6246035"/>
                <a:gd name="connsiteX1003" fmla="*/ 9190912 w 11683878"/>
                <a:gd name="connsiteY1003" fmla="*/ 4384780 h 6246035"/>
                <a:gd name="connsiteX1004" fmla="*/ 9190810 w 11683878"/>
                <a:gd name="connsiteY1004" fmla="*/ 4414166 h 6246035"/>
                <a:gd name="connsiteX1005" fmla="*/ 9183465 w 11683878"/>
                <a:gd name="connsiteY1005" fmla="*/ 4425043 h 6246035"/>
                <a:gd name="connsiteX1006" fmla="*/ 9190831 w 11683878"/>
                <a:gd name="connsiteY1006" fmla="*/ 4414166 h 6246035"/>
                <a:gd name="connsiteX1007" fmla="*/ 8940493 w 11683878"/>
                <a:gd name="connsiteY1007" fmla="*/ 4380992 h 6246035"/>
                <a:gd name="connsiteX1008" fmla="*/ 8937456 w 11683878"/>
                <a:gd name="connsiteY1008" fmla="*/ 4382145 h 6246035"/>
                <a:gd name="connsiteX1009" fmla="*/ 8906579 w 11683878"/>
                <a:gd name="connsiteY1009" fmla="*/ 4408402 h 6246035"/>
                <a:gd name="connsiteX1010" fmla="*/ 8913986 w 11683878"/>
                <a:gd name="connsiteY1010" fmla="*/ 4435891 h 6246035"/>
                <a:gd name="connsiteX1011" fmla="*/ 8920156 w 11683878"/>
                <a:gd name="connsiteY1011" fmla="*/ 4431411 h 6246035"/>
                <a:gd name="connsiteX1012" fmla="*/ 8906583 w 11683878"/>
                <a:gd name="connsiteY1012" fmla="*/ 4408403 h 6246035"/>
                <a:gd name="connsiteX1013" fmla="*/ 3940863 w 11683878"/>
                <a:gd name="connsiteY1013" fmla="*/ 4380470 h 6246035"/>
                <a:gd name="connsiteX1014" fmla="*/ 3940863 w 11683878"/>
                <a:gd name="connsiteY1014" fmla="*/ 4380471 h 6246035"/>
                <a:gd name="connsiteX1015" fmla="*/ 3964277 w 11683878"/>
                <a:gd name="connsiteY1015" fmla="*/ 4384008 h 6246035"/>
                <a:gd name="connsiteX1016" fmla="*/ 3965755 w 11683878"/>
                <a:gd name="connsiteY1016" fmla="*/ 4384231 h 6246035"/>
                <a:gd name="connsiteX1017" fmla="*/ 3965756 w 11683878"/>
                <a:gd name="connsiteY1017" fmla="*/ 4384231 h 6246035"/>
                <a:gd name="connsiteX1018" fmla="*/ 3964277 w 11683878"/>
                <a:gd name="connsiteY1018" fmla="*/ 4384008 h 6246035"/>
                <a:gd name="connsiteX1019" fmla="*/ 6641303 w 11683878"/>
                <a:gd name="connsiteY1019" fmla="*/ 4380217 h 6246035"/>
                <a:gd name="connsiteX1020" fmla="*/ 6635548 w 11683878"/>
                <a:gd name="connsiteY1020" fmla="*/ 4380703 h 6246035"/>
                <a:gd name="connsiteX1021" fmla="*/ 6635890 w 11683878"/>
                <a:gd name="connsiteY1021" fmla="*/ 4383614 h 6246035"/>
                <a:gd name="connsiteX1022" fmla="*/ 894777 w 11683878"/>
                <a:gd name="connsiteY1022" fmla="*/ 4379974 h 6246035"/>
                <a:gd name="connsiteX1023" fmla="*/ 883959 w 11683878"/>
                <a:gd name="connsiteY1023" fmla="*/ 4388836 h 6246035"/>
                <a:gd name="connsiteX1024" fmla="*/ 895890 w 11683878"/>
                <a:gd name="connsiteY1024" fmla="*/ 4409148 h 6246035"/>
                <a:gd name="connsiteX1025" fmla="*/ 876081 w 11683878"/>
                <a:gd name="connsiteY1025" fmla="*/ 4419955 h 6246035"/>
                <a:gd name="connsiteX1026" fmla="*/ 895892 w 11683878"/>
                <a:gd name="connsiteY1026" fmla="*/ 4409148 h 6246035"/>
                <a:gd name="connsiteX1027" fmla="*/ 883960 w 11683878"/>
                <a:gd name="connsiteY1027" fmla="*/ 4388836 h 6246035"/>
                <a:gd name="connsiteX1028" fmla="*/ 894778 w 11683878"/>
                <a:gd name="connsiteY1028" fmla="*/ 4379974 h 6246035"/>
                <a:gd name="connsiteX1029" fmla="*/ 6696161 w 11683878"/>
                <a:gd name="connsiteY1029" fmla="*/ 4377721 h 6246035"/>
                <a:gd name="connsiteX1030" fmla="*/ 6694835 w 11683878"/>
                <a:gd name="connsiteY1030" fmla="*/ 4380080 h 6246035"/>
                <a:gd name="connsiteX1031" fmla="*/ 6700665 w 11683878"/>
                <a:gd name="connsiteY1031" fmla="*/ 4386715 h 6246035"/>
                <a:gd name="connsiteX1032" fmla="*/ 744403 w 11683878"/>
                <a:gd name="connsiteY1032" fmla="*/ 4369979 h 6246035"/>
                <a:gd name="connsiteX1033" fmla="*/ 768376 w 11683878"/>
                <a:gd name="connsiteY1033" fmla="*/ 4373546 h 6246035"/>
                <a:gd name="connsiteX1034" fmla="*/ 769364 w 11683878"/>
                <a:gd name="connsiteY1034" fmla="*/ 4373162 h 6246035"/>
                <a:gd name="connsiteX1035" fmla="*/ 977899 w 11683878"/>
                <a:gd name="connsiteY1035" fmla="*/ 4369808 h 6246035"/>
                <a:gd name="connsiteX1036" fmla="*/ 930741 w 11683878"/>
                <a:gd name="connsiteY1036" fmla="*/ 4388663 h 6246035"/>
                <a:gd name="connsiteX1037" fmla="*/ 930741 w 11683878"/>
                <a:gd name="connsiteY1037" fmla="*/ 4388663 h 6246035"/>
                <a:gd name="connsiteX1038" fmla="*/ 977881 w 11683878"/>
                <a:gd name="connsiteY1038" fmla="*/ 4369878 h 6246035"/>
                <a:gd name="connsiteX1039" fmla="*/ 977880 w 11683878"/>
                <a:gd name="connsiteY1039" fmla="*/ 4369877 h 6246035"/>
                <a:gd name="connsiteX1040" fmla="*/ 3949722 w 11683878"/>
                <a:gd name="connsiteY1040" fmla="*/ 4368669 h 6246035"/>
                <a:gd name="connsiteX1041" fmla="*/ 3938386 w 11683878"/>
                <a:gd name="connsiteY1041" fmla="*/ 4369196 h 6246035"/>
                <a:gd name="connsiteX1042" fmla="*/ 3965754 w 11683878"/>
                <a:gd name="connsiteY1042" fmla="*/ 4384228 h 6246035"/>
                <a:gd name="connsiteX1043" fmla="*/ 7862866 w 11683878"/>
                <a:gd name="connsiteY1043" fmla="*/ 4361775 h 6246035"/>
                <a:gd name="connsiteX1044" fmla="*/ 7850979 w 11683878"/>
                <a:gd name="connsiteY1044" fmla="*/ 4367162 h 6246035"/>
                <a:gd name="connsiteX1045" fmla="*/ 7851557 w 11683878"/>
                <a:gd name="connsiteY1045" fmla="*/ 4369238 h 6246035"/>
                <a:gd name="connsiteX1046" fmla="*/ 6676332 w 11683878"/>
                <a:gd name="connsiteY1046" fmla="*/ 4358235 h 6246035"/>
                <a:gd name="connsiteX1047" fmla="*/ 6676331 w 11683878"/>
                <a:gd name="connsiteY1047" fmla="*/ 4358237 h 6246035"/>
                <a:gd name="connsiteX1048" fmla="*/ 6700914 w 11683878"/>
                <a:gd name="connsiteY1048" fmla="*/ 4364535 h 6246035"/>
                <a:gd name="connsiteX1049" fmla="*/ 6701481 w 11683878"/>
                <a:gd name="connsiteY1049" fmla="*/ 4364133 h 6246035"/>
                <a:gd name="connsiteX1050" fmla="*/ 5506939 w 11683878"/>
                <a:gd name="connsiteY1050" fmla="*/ 4352390 h 6246035"/>
                <a:gd name="connsiteX1051" fmla="*/ 5506904 w 11683878"/>
                <a:gd name="connsiteY1051" fmla="*/ 4352403 h 6246035"/>
                <a:gd name="connsiteX1052" fmla="*/ 5460348 w 11683878"/>
                <a:gd name="connsiteY1052" fmla="*/ 4404817 h 6246035"/>
                <a:gd name="connsiteX1053" fmla="*/ 5459905 w 11683878"/>
                <a:gd name="connsiteY1053" fmla="*/ 4451736 h 6246035"/>
                <a:gd name="connsiteX1054" fmla="*/ 5464470 w 11683878"/>
                <a:gd name="connsiteY1054" fmla="*/ 4468572 h 6246035"/>
                <a:gd name="connsiteX1055" fmla="*/ 5521534 w 11683878"/>
                <a:gd name="connsiteY1055" fmla="*/ 4502938 h 6246035"/>
                <a:gd name="connsiteX1056" fmla="*/ 5538195 w 11683878"/>
                <a:gd name="connsiteY1056" fmla="*/ 4506020 h 6246035"/>
                <a:gd name="connsiteX1057" fmla="*/ 5464472 w 11683878"/>
                <a:gd name="connsiteY1057" fmla="*/ 4468572 h 6246035"/>
                <a:gd name="connsiteX1058" fmla="*/ 5460348 w 11683878"/>
                <a:gd name="connsiteY1058" fmla="*/ 4404817 h 6246035"/>
                <a:gd name="connsiteX1059" fmla="*/ 6857000 w 11683878"/>
                <a:gd name="connsiteY1059" fmla="*/ 4350325 h 6246035"/>
                <a:gd name="connsiteX1060" fmla="*/ 6864950 w 11683878"/>
                <a:gd name="connsiteY1060" fmla="*/ 4378276 h 6246035"/>
                <a:gd name="connsiteX1061" fmla="*/ 6865033 w 11683878"/>
                <a:gd name="connsiteY1061" fmla="*/ 4378195 h 6246035"/>
                <a:gd name="connsiteX1062" fmla="*/ 9200672 w 11683878"/>
                <a:gd name="connsiteY1062" fmla="*/ 4349255 h 6246035"/>
                <a:gd name="connsiteX1063" fmla="*/ 9199418 w 11683878"/>
                <a:gd name="connsiteY1063" fmla="*/ 4349860 h 6246035"/>
                <a:gd name="connsiteX1064" fmla="*/ 9216254 w 11683878"/>
                <a:gd name="connsiteY1064" fmla="*/ 4367981 h 6246035"/>
                <a:gd name="connsiteX1065" fmla="*/ 9216345 w 11683878"/>
                <a:gd name="connsiteY1065" fmla="*/ 4367921 h 6246035"/>
                <a:gd name="connsiteX1066" fmla="*/ 7262485 w 11683878"/>
                <a:gd name="connsiteY1066" fmla="*/ 4344122 h 6246035"/>
                <a:gd name="connsiteX1067" fmla="*/ 7256565 w 11683878"/>
                <a:gd name="connsiteY1067" fmla="*/ 4354119 h 6246035"/>
                <a:gd name="connsiteX1068" fmla="*/ 7256678 w 11683878"/>
                <a:gd name="connsiteY1068" fmla="*/ 4354127 h 6246035"/>
                <a:gd name="connsiteX1069" fmla="*/ 7848544 w 11683878"/>
                <a:gd name="connsiteY1069" fmla="*/ 4341033 h 6246035"/>
                <a:gd name="connsiteX1070" fmla="*/ 7848505 w 11683878"/>
                <a:gd name="connsiteY1070" fmla="*/ 4341096 h 6246035"/>
                <a:gd name="connsiteX1071" fmla="*/ 7863838 w 11683878"/>
                <a:gd name="connsiteY1071" fmla="*/ 4361134 h 6246035"/>
                <a:gd name="connsiteX1072" fmla="*/ 7863877 w 11683878"/>
                <a:gd name="connsiteY1072" fmla="*/ 4361108 h 6246035"/>
                <a:gd name="connsiteX1073" fmla="*/ 9220713 w 11683878"/>
                <a:gd name="connsiteY1073" fmla="*/ 4339353 h 6246035"/>
                <a:gd name="connsiteX1074" fmla="*/ 9220700 w 11683878"/>
                <a:gd name="connsiteY1074" fmla="*/ 4339385 h 6246035"/>
                <a:gd name="connsiteX1075" fmla="*/ 9220717 w 11683878"/>
                <a:gd name="connsiteY1075" fmla="*/ 4339378 h 6246035"/>
                <a:gd name="connsiteX1076" fmla="*/ 2794551 w 11683878"/>
                <a:gd name="connsiteY1076" fmla="*/ 4338595 h 6246035"/>
                <a:gd name="connsiteX1077" fmla="*/ 2805998 w 11683878"/>
                <a:gd name="connsiteY1077" fmla="*/ 4361880 h 6246035"/>
                <a:gd name="connsiteX1078" fmla="*/ 2824589 w 11683878"/>
                <a:gd name="connsiteY1078" fmla="*/ 4365336 h 6246035"/>
                <a:gd name="connsiteX1079" fmla="*/ 2794411 w 11683878"/>
                <a:gd name="connsiteY1079" fmla="*/ 4338471 h 6246035"/>
                <a:gd name="connsiteX1080" fmla="*/ 2768838 w 11683878"/>
                <a:gd name="connsiteY1080" fmla="*/ 4360329 h 6246035"/>
                <a:gd name="connsiteX1081" fmla="*/ 2768838 w 11683878"/>
                <a:gd name="connsiteY1081" fmla="*/ 4360330 h 6246035"/>
                <a:gd name="connsiteX1082" fmla="*/ 2794502 w 11683878"/>
                <a:gd name="connsiteY1082" fmla="*/ 4338552 h 6246035"/>
                <a:gd name="connsiteX1083" fmla="*/ 2613857 w 11683878"/>
                <a:gd name="connsiteY1083" fmla="*/ 4332581 h 6246035"/>
                <a:gd name="connsiteX1084" fmla="*/ 2640020 w 11683878"/>
                <a:gd name="connsiteY1084" fmla="*/ 4378595 h 6246035"/>
                <a:gd name="connsiteX1085" fmla="*/ 2640161 w 11683878"/>
                <a:gd name="connsiteY1085" fmla="*/ 4378654 h 6246035"/>
                <a:gd name="connsiteX1086" fmla="*/ 2760273 w 11683878"/>
                <a:gd name="connsiteY1086" fmla="*/ 4326247 h 6246035"/>
                <a:gd name="connsiteX1087" fmla="*/ 2768833 w 11683878"/>
                <a:gd name="connsiteY1087" fmla="*/ 4360309 h 6246035"/>
                <a:gd name="connsiteX1088" fmla="*/ 2768596 w 11683878"/>
                <a:gd name="connsiteY1088" fmla="*/ 4332494 h 6246035"/>
                <a:gd name="connsiteX1089" fmla="*/ 6829551 w 11683878"/>
                <a:gd name="connsiteY1089" fmla="*/ 4325785 h 6246035"/>
                <a:gd name="connsiteX1090" fmla="*/ 6829750 w 11683878"/>
                <a:gd name="connsiteY1090" fmla="*/ 4326128 h 6246035"/>
                <a:gd name="connsiteX1091" fmla="*/ 6850760 w 11683878"/>
                <a:gd name="connsiteY1091" fmla="*/ 4328676 h 6246035"/>
                <a:gd name="connsiteX1092" fmla="*/ 6850707 w 11683878"/>
                <a:gd name="connsiteY1092" fmla="*/ 4328492 h 6246035"/>
                <a:gd name="connsiteX1093" fmla="*/ 2758014 w 11683878"/>
                <a:gd name="connsiteY1093" fmla="*/ 4324552 h 6246035"/>
                <a:gd name="connsiteX1094" fmla="*/ 2752406 w 11683878"/>
                <a:gd name="connsiteY1094" fmla="*/ 4348340 h 6246035"/>
                <a:gd name="connsiteX1095" fmla="*/ 2758508 w 11683878"/>
                <a:gd name="connsiteY1095" fmla="*/ 4324922 h 6246035"/>
                <a:gd name="connsiteX1096" fmla="*/ 7869555 w 11683878"/>
                <a:gd name="connsiteY1096" fmla="*/ 4320096 h 6246035"/>
                <a:gd name="connsiteX1097" fmla="*/ 7860503 w 11683878"/>
                <a:gd name="connsiteY1097" fmla="*/ 4321521 h 6246035"/>
                <a:gd name="connsiteX1098" fmla="*/ 7848551 w 11683878"/>
                <a:gd name="connsiteY1098" fmla="*/ 4341021 h 6246035"/>
                <a:gd name="connsiteX1099" fmla="*/ 1127577 w 11683878"/>
                <a:gd name="connsiteY1099" fmla="*/ 4314976 h 6246035"/>
                <a:gd name="connsiteX1100" fmla="*/ 1134081 w 11683878"/>
                <a:gd name="connsiteY1100" fmla="*/ 4342788 h 6246035"/>
                <a:gd name="connsiteX1101" fmla="*/ 1120122 w 11683878"/>
                <a:gd name="connsiteY1101" fmla="*/ 4350866 h 6246035"/>
                <a:gd name="connsiteX1102" fmla="*/ 1134082 w 11683878"/>
                <a:gd name="connsiteY1102" fmla="*/ 4342788 h 6246035"/>
                <a:gd name="connsiteX1103" fmla="*/ 7907284 w 11683878"/>
                <a:gd name="connsiteY1103" fmla="*/ 4314155 h 6246035"/>
                <a:gd name="connsiteX1104" fmla="*/ 7905514 w 11683878"/>
                <a:gd name="connsiteY1104" fmla="*/ 4314434 h 6246035"/>
                <a:gd name="connsiteX1105" fmla="*/ 7907496 w 11683878"/>
                <a:gd name="connsiteY1105" fmla="*/ 4314274 h 6246035"/>
                <a:gd name="connsiteX1106" fmla="*/ 9036214 w 11683878"/>
                <a:gd name="connsiteY1106" fmla="*/ 4311858 h 6246035"/>
                <a:gd name="connsiteX1107" fmla="*/ 9056822 w 11683878"/>
                <a:gd name="connsiteY1107" fmla="*/ 4336829 h 6246035"/>
                <a:gd name="connsiteX1108" fmla="*/ 9050772 w 11683878"/>
                <a:gd name="connsiteY1108" fmla="*/ 4339126 h 6246035"/>
                <a:gd name="connsiteX1109" fmla="*/ 9067196 w 11683878"/>
                <a:gd name="connsiteY1109" fmla="*/ 4339264 h 6246035"/>
                <a:gd name="connsiteX1110" fmla="*/ 7438566 w 11683878"/>
                <a:gd name="connsiteY1110" fmla="*/ 4305818 h 6246035"/>
                <a:gd name="connsiteX1111" fmla="*/ 7450760 w 11683878"/>
                <a:gd name="connsiteY1111" fmla="*/ 4312809 h 6246035"/>
                <a:gd name="connsiteX1112" fmla="*/ 7451466 w 11683878"/>
                <a:gd name="connsiteY1112" fmla="*/ 4312198 h 6246035"/>
                <a:gd name="connsiteX1113" fmla="*/ 7438541 w 11683878"/>
                <a:gd name="connsiteY1113" fmla="*/ 4305806 h 6246035"/>
                <a:gd name="connsiteX1114" fmla="*/ 7437619 w 11683878"/>
                <a:gd name="connsiteY1114" fmla="*/ 4339776 h 6246035"/>
                <a:gd name="connsiteX1115" fmla="*/ 7437804 w 11683878"/>
                <a:gd name="connsiteY1115" fmla="*/ 4340330 h 6246035"/>
                <a:gd name="connsiteX1116" fmla="*/ 7438548 w 11683878"/>
                <a:gd name="connsiteY1116" fmla="*/ 4305809 h 6246035"/>
                <a:gd name="connsiteX1117" fmla="*/ 3747438 w 11683878"/>
                <a:gd name="connsiteY1117" fmla="*/ 4301586 h 6246035"/>
                <a:gd name="connsiteX1118" fmla="*/ 3740258 w 11683878"/>
                <a:gd name="connsiteY1118" fmla="*/ 4321530 h 6246035"/>
                <a:gd name="connsiteX1119" fmla="*/ 3751147 w 11683878"/>
                <a:gd name="connsiteY1119" fmla="*/ 4345805 h 6246035"/>
                <a:gd name="connsiteX1120" fmla="*/ 7424781 w 11683878"/>
                <a:gd name="connsiteY1120" fmla="*/ 4301341 h 6246035"/>
                <a:gd name="connsiteX1121" fmla="*/ 7424780 w 11683878"/>
                <a:gd name="connsiteY1121" fmla="*/ 4301342 h 6246035"/>
                <a:gd name="connsiteX1122" fmla="*/ 7424816 w 11683878"/>
                <a:gd name="connsiteY1122" fmla="*/ 4301450 h 6246035"/>
                <a:gd name="connsiteX1123" fmla="*/ 9234982 w 11683878"/>
                <a:gd name="connsiteY1123" fmla="*/ 4301132 h 6246035"/>
                <a:gd name="connsiteX1124" fmla="*/ 9233247 w 11683878"/>
                <a:gd name="connsiteY1124" fmla="*/ 4305779 h 6246035"/>
                <a:gd name="connsiteX1125" fmla="*/ 9237301 w 11683878"/>
                <a:gd name="connsiteY1125" fmla="*/ 4302068 h 6246035"/>
                <a:gd name="connsiteX1126" fmla="*/ 7360414 w 11683878"/>
                <a:gd name="connsiteY1126" fmla="*/ 4301073 h 6246035"/>
                <a:gd name="connsiteX1127" fmla="*/ 7360308 w 11683878"/>
                <a:gd name="connsiteY1127" fmla="*/ 4301133 h 6246035"/>
                <a:gd name="connsiteX1128" fmla="*/ 7286167 w 11683878"/>
                <a:gd name="connsiteY1128" fmla="*/ 4304126 h 6246035"/>
                <a:gd name="connsiteX1129" fmla="*/ 7286102 w 11683878"/>
                <a:gd name="connsiteY1129" fmla="*/ 4304237 h 6246035"/>
                <a:gd name="connsiteX1130" fmla="*/ 7360306 w 11683878"/>
                <a:gd name="connsiteY1130" fmla="*/ 4301135 h 6246035"/>
                <a:gd name="connsiteX1131" fmla="*/ 2538263 w 11683878"/>
                <a:gd name="connsiteY1131" fmla="*/ 4298526 h 6246035"/>
                <a:gd name="connsiteX1132" fmla="*/ 2538263 w 11683878"/>
                <a:gd name="connsiteY1132" fmla="*/ 4298529 h 6246035"/>
                <a:gd name="connsiteX1133" fmla="*/ 2552017 w 11683878"/>
                <a:gd name="connsiteY1133" fmla="*/ 4345842 h 6246035"/>
                <a:gd name="connsiteX1134" fmla="*/ 2552019 w 11683878"/>
                <a:gd name="connsiteY1134" fmla="*/ 4345842 h 6246035"/>
                <a:gd name="connsiteX1135" fmla="*/ 3995761 w 11683878"/>
                <a:gd name="connsiteY1135" fmla="*/ 4296954 h 6246035"/>
                <a:gd name="connsiteX1136" fmla="*/ 3995738 w 11683878"/>
                <a:gd name="connsiteY1136" fmla="*/ 4296955 h 6246035"/>
                <a:gd name="connsiteX1137" fmla="*/ 4003761 w 11683878"/>
                <a:gd name="connsiteY1137" fmla="*/ 4318468 h 6246035"/>
                <a:gd name="connsiteX1138" fmla="*/ 967738 w 11683878"/>
                <a:gd name="connsiteY1138" fmla="*/ 4296270 h 6246035"/>
                <a:gd name="connsiteX1139" fmla="*/ 979761 w 11683878"/>
                <a:gd name="connsiteY1139" fmla="*/ 4363099 h 6246035"/>
                <a:gd name="connsiteX1140" fmla="*/ 984951 w 11683878"/>
                <a:gd name="connsiteY1140" fmla="*/ 4344403 h 6246035"/>
                <a:gd name="connsiteX1141" fmla="*/ 7166466 w 11683878"/>
                <a:gd name="connsiteY1141" fmla="*/ 4291974 h 6246035"/>
                <a:gd name="connsiteX1142" fmla="*/ 7166465 w 11683878"/>
                <a:gd name="connsiteY1142" fmla="*/ 4291976 h 6246035"/>
                <a:gd name="connsiteX1143" fmla="*/ 7205758 w 11683878"/>
                <a:gd name="connsiteY1143" fmla="*/ 4350522 h 6246035"/>
                <a:gd name="connsiteX1144" fmla="*/ 7205912 w 11683878"/>
                <a:gd name="connsiteY1144" fmla="*/ 4350533 h 6246035"/>
                <a:gd name="connsiteX1145" fmla="*/ 9149929 w 11683878"/>
                <a:gd name="connsiteY1145" fmla="*/ 4289436 h 6246035"/>
                <a:gd name="connsiteX1146" fmla="*/ 9071042 w 11683878"/>
                <a:gd name="connsiteY1146" fmla="*/ 4339297 h 6246035"/>
                <a:gd name="connsiteX1147" fmla="*/ 9076410 w 11683878"/>
                <a:gd name="connsiteY1147" fmla="*/ 4339342 h 6246035"/>
                <a:gd name="connsiteX1148" fmla="*/ 7973316 w 11683878"/>
                <a:gd name="connsiteY1148" fmla="*/ 4284637 h 6246035"/>
                <a:gd name="connsiteX1149" fmla="*/ 7981868 w 11683878"/>
                <a:gd name="connsiteY1149" fmla="*/ 4319419 h 6246035"/>
                <a:gd name="connsiteX1150" fmla="*/ 7949942 w 11683878"/>
                <a:gd name="connsiteY1150" fmla="*/ 4337986 h 6246035"/>
                <a:gd name="connsiteX1151" fmla="*/ 7949943 w 11683878"/>
                <a:gd name="connsiteY1151" fmla="*/ 4337987 h 6246035"/>
                <a:gd name="connsiteX1152" fmla="*/ 7982135 w 11683878"/>
                <a:gd name="connsiteY1152" fmla="*/ 4319720 h 6246035"/>
                <a:gd name="connsiteX1153" fmla="*/ 7996750 w 11683878"/>
                <a:gd name="connsiteY1153" fmla="*/ 4394798 h 6246035"/>
                <a:gd name="connsiteX1154" fmla="*/ 8008712 w 11683878"/>
                <a:gd name="connsiteY1154" fmla="*/ 4411554 h 6246035"/>
                <a:gd name="connsiteX1155" fmla="*/ 7996729 w 11683878"/>
                <a:gd name="connsiteY1155" fmla="*/ 4394649 h 6246035"/>
                <a:gd name="connsiteX1156" fmla="*/ 7991262 w 11683878"/>
                <a:gd name="connsiteY1156" fmla="*/ 4329685 h 6246035"/>
                <a:gd name="connsiteX1157" fmla="*/ 9171767 w 11683878"/>
                <a:gd name="connsiteY1157" fmla="*/ 4275634 h 6246035"/>
                <a:gd name="connsiteX1158" fmla="*/ 9170419 w 11683878"/>
                <a:gd name="connsiteY1158" fmla="*/ 4276486 h 6246035"/>
                <a:gd name="connsiteX1159" fmla="*/ 9201363 w 11683878"/>
                <a:gd name="connsiteY1159" fmla="*/ 4287572 h 6246035"/>
                <a:gd name="connsiteX1160" fmla="*/ 1178875 w 11683878"/>
                <a:gd name="connsiteY1160" fmla="*/ 4273889 h 6246035"/>
                <a:gd name="connsiteX1161" fmla="*/ 1151191 w 11683878"/>
                <a:gd name="connsiteY1161" fmla="*/ 4309431 h 6246035"/>
                <a:gd name="connsiteX1162" fmla="*/ 1178875 w 11683878"/>
                <a:gd name="connsiteY1162" fmla="*/ 4273889 h 6246035"/>
                <a:gd name="connsiteX1163" fmla="*/ 7436383 w 11683878"/>
                <a:gd name="connsiteY1163" fmla="*/ 4273596 h 6246035"/>
                <a:gd name="connsiteX1164" fmla="*/ 7436290 w 11683878"/>
                <a:gd name="connsiteY1164" fmla="*/ 4273620 h 6246035"/>
                <a:gd name="connsiteX1165" fmla="*/ 7436382 w 11683878"/>
                <a:gd name="connsiteY1165" fmla="*/ 4273598 h 6246035"/>
                <a:gd name="connsiteX1166" fmla="*/ 7434702 w 11683878"/>
                <a:gd name="connsiteY1166" fmla="*/ 4277616 h 6246035"/>
                <a:gd name="connsiteX1167" fmla="*/ 3688249 w 11683878"/>
                <a:gd name="connsiteY1167" fmla="*/ 4271645 h 6246035"/>
                <a:gd name="connsiteX1168" fmla="*/ 3698738 w 11683878"/>
                <a:gd name="connsiteY1168" fmla="*/ 4284072 h 6246035"/>
                <a:gd name="connsiteX1169" fmla="*/ 3705699 w 11683878"/>
                <a:gd name="connsiteY1169" fmla="*/ 4286575 h 6246035"/>
                <a:gd name="connsiteX1170" fmla="*/ 4034215 w 11683878"/>
                <a:gd name="connsiteY1170" fmla="*/ 4269909 h 6246035"/>
                <a:gd name="connsiteX1171" fmla="*/ 4034215 w 11683878"/>
                <a:gd name="connsiteY1171" fmla="*/ 4269911 h 6246035"/>
                <a:gd name="connsiteX1172" fmla="*/ 4058372 w 11683878"/>
                <a:gd name="connsiteY1172" fmla="*/ 4289151 h 6246035"/>
                <a:gd name="connsiteX1173" fmla="*/ 4067358 w 11683878"/>
                <a:gd name="connsiteY1173" fmla="*/ 4286721 h 6246035"/>
                <a:gd name="connsiteX1174" fmla="*/ 4058376 w 11683878"/>
                <a:gd name="connsiteY1174" fmla="*/ 4289150 h 6246035"/>
                <a:gd name="connsiteX1175" fmla="*/ 6833141 w 11683878"/>
                <a:gd name="connsiteY1175" fmla="*/ 4261988 h 6246035"/>
                <a:gd name="connsiteX1176" fmla="*/ 6832934 w 11683878"/>
                <a:gd name="connsiteY1176" fmla="*/ 4262277 h 6246035"/>
                <a:gd name="connsiteX1177" fmla="*/ 6859471 w 11683878"/>
                <a:gd name="connsiteY1177" fmla="*/ 4264461 h 6246035"/>
                <a:gd name="connsiteX1178" fmla="*/ 570629 w 11683878"/>
                <a:gd name="connsiteY1178" fmla="*/ 4254690 h 6246035"/>
                <a:gd name="connsiteX1179" fmla="*/ 570056 w 11683878"/>
                <a:gd name="connsiteY1179" fmla="*/ 4255034 h 6246035"/>
                <a:gd name="connsiteX1180" fmla="*/ 593801 w 11683878"/>
                <a:gd name="connsiteY1180" fmla="*/ 4263810 h 6246035"/>
                <a:gd name="connsiteX1181" fmla="*/ 609860 w 11683878"/>
                <a:gd name="connsiteY1181" fmla="*/ 4252426 h 6246035"/>
                <a:gd name="connsiteX1182" fmla="*/ 609430 w 11683878"/>
                <a:gd name="connsiteY1182" fmla="*/ 4253187 h 6246035"/>
                <a:gd name="connsiteX1183" fmla="*/ 610975 w 11683878"/>
                <a:gd name="connsiteY1183" fmla="*/ 4253883 h 6246035"/>
                <a:gd name="connsiteX1184" fmla="*/ 2807553 w 11683878"/>
                <a:gd name="connsiteY1184" fmla="*/ 4246214 h 6246035"/>
                <a:gd name="connsiteX1185" fmla="*/ 2807551 w 11683878"/>
                <a:gd name="connsiteY1185" fmla="*/ 4246215 h 6246035"/>
                <a:gd name="connsiteX1186" fmla="*/ 2820540 w 11683878"/>
                <a:gd name="connsiteY1186" fmla="*/ 4252530 h 6246035"/>
                <a:gd name="connsiteX1187" fmla="*/ 2820542 w 11683878"/>
                <a:gd name="connsiteY1187" fmla="*/ 4252528 h 6246035"/>
                <a:gd name="connsiteX1188" fmla="*/ 7400918 w 11683878"/>
                <a:gd name="connsiteY1188" fmla="*/ 4245470 h 6246035"/>
                <a:gd name="connsiteX1189" fmla="*/ 7382051 w 11683878"/>
                <a:gd name="connsiteY1189" fmla="*/ 4288524 h 6246035"/>
                <a:gd name="connsiteX1190" fmla="*/ 7382115 w 11683878"/>
                <a:gd name="connsiteY1190" fmla="*/ 4288487 h 6246035"/>
                <a:gd name="connsiteX1191" fmla="*/ 7400918 w 11683878"/>
                <a:gd name="connsiteY1191" fmla="*/ 4245472 h 6246035"/>
                <a:gd name="connsiteX1192" fmla="*/ 7407060 w 11683878"/>
                <a:gd name="connsiteY1192" fmla="*/ 4280650 h 6246035"/>
                <a:gd name="connsiteX1193" fmla="*/ 7407553 w 11683878"/>
                <a:gd name="connsiteY1193" fmla="*/ 4280532 h 6246035"/>
                <a:gd name="connsiteX1194" fmla="*/ 5463493 w 11683878"/>
                <a:gd name="connsiteY1194" fmla="*/ 4236559 h 6246035"/>
                <a:gd name="connsiteX1195" fmla="*/ 5478560 w 11683878"/>
                <a:gd name="connsiteY1195" fmla="*/ 4290141 h 6246035"/>
                <a:gd name="connsiteX1196" fmla="*/ 5508988 w 11683878"/>
                <a:gd name="connsiteY1196" fmla="*/ 4292053 h 6246035"/>
                <a:gd name="connsiteX1197" fmla="*/ 5478562 w 11683878"/>
                <a:gd name="connsiteY1197" fmla="*/ 4290141 h 6246035"/>
                <a:gd name="connsiteX1198" fmla="*/ 3284469 w 11683878"/>
                <a:gd name="connsiteY1198" fmla="*/ 4235620 h 6246035"/>
                <a:gd name="connsiteX1199" fmla="*/ 3279726 w 11683878"/>
                <a:gd name="connsiteY1199" fmla="*/ 4260841 h 6246035"/>
                <a:gd name="connsiteX1200" fmla="*/ 3247877 w 11683878"/>
                <a:gd name="connsiteY1200" fmla="*/ 4280262 h 6246035"/>
                <a:gd name="connsiteX1201" fmla="*/ 3248210 w 11683878"/>
                <a:gd name="connsiteY1201" fmla="*/ 4281288 h 6246035"/>
                <a:gd name="connsiteX1202" fmla="*/ 3279728 w 11683878"/>
                <a:gd name="connsiteY1202" fmla="*/ 4260842 h 6246035"/>
                <a:gd name="connsiteX1203" fmla="*/ 3284470 w 11683878"/>
                <a:gd name="connsiteY1203" fmla="*/ 4235620 h 6246035"/>
                <a:gd name="connsiteX1204" fmla="*/ 2551332 w 11683878"/>
                <a:gd name="connsiteY1204" fmla="*/ 4223140 h 6246035"/>
                <a:gd name="connsiteX1205" fmla="*/ 2541511 w 11683878"/>
                <a:gd name="connsiteY1205" fmla="*/ 4225937 h 6246035"/>
                <a:gd name="connsiteX1206" fmla="*/ 2556173 w 11683878"/>
                <a:gd name="connsiteY1206" fmla="*/ 4255530 h 6246035"/>
                <a:gd name="connsiteX1207" fmla="*/ 2528061 w 11683878"/>
                <a:gd name="connsiteY1207" fmla="*/ 4279170 h 6246035"/>
                <a:gd name="connsiteX1208" fmla="*/ 2528063 w 11683878"/>
                <a:gd name="connsiteY1208" fmla="*/ 4279175 h 6246035"/>
                <a:gd name="connsiteX1209" fmla="*/ 2528062 w 11683878"/>
                <a:gd name="connsiteY1209" fmla="*/ 4279175 h 6246035"/>
                <a:gd name="connsiteX1210" fmla="*/ 2528464 w 11683878"/>
                <a:gd name="connsiteY1210" fmla="*/ 4280270 h 6246035"/>
                <a:gd name="connsiteX1211" fmla="*/ 2534526 w 11683878"/>
                <a:gd name="connsiteY1211" fmla="*/ 4296813 h 6246035"/>
                <a:gd name="connsiteX1212" fmla="*/ 2515297 w 11683878"/>
                <a:gd name="connsiteY1212" fmla="*/ 4316074 h 6246035"/>
                <a:gd name="connsiteX1213" fmla="*/ 2515301 w 11683878"/>
                <a:gd name="connsiteY1213" fmla="*/ 4316077 h 6246035"/>
                <a:gd name="connsiteX1214" fmla="*/ 2534530 w 11683878"/>
                <a:gd name="connsiteY1214" fmla="*/ 4296818 h 6246035"/>
                <a:gd name="connsiteX1215" fmla="*/ 2528464 w 11683878"/>
                <a:gd name="connsiteY1215" fmla="*/ 4280270 h 6246035"/>
                <a:gd name="connsiteX1216" fmla="*/ 2528063 w 11683878"/>
                <a:gd name="connsiteY1216" fmla="*/ 4279175 h 6246035"/>
                <a:gd name="connsiteX1217" fmla="*/ 2556176 w 11683878"/>
                <a:gd name="connsiteY1217" fmla="*/ 4255534 h 6246035"/>
                <a:gd name="connsiteX1218" fmla="*/ 2541514 w 11683878"/>
                <a:gd name="connsiteY1218" fmla="*/ 4225941 h 6246035"/>
                <a:gd name="connsiteX1219" fmla="*/ 2551342 w 11683878"/>
                <a:gd name="connsiteY1219" fmla="*/ 4223142 h 6246035"/>
                <a:gd name="connsiteX1220" fmla="*/ 9023840 w 11683878"/>
                <a:gd name="connsiteY1220" fmla="*/ 4214543 h 6246035"/>
                <a:gd name="connsiteX1221" fmla="*/ 9022016 w 11683878"/>
                <a:gd name="connsiteY1221" fmla="*/ 4232968 h 6246035"/>
                <a:gd name="connsiteX1222" fmla="*/ 9035875 w 11683878"/>
                <a:gd name="connsiteY1222" fmla="*/ 4311448 h 6246035"/>
                <a:gd name="connsiteX1223" fmla="*/ 9036003 w 11683878"/>
                <a:gd name="connsiteY1223" fmla="*/ 4311604 h 6246035"/>
                <a:gd name="connsiteX1224" fmla="*/ 9024003 w 11683878"/>
                <a:gd name="connsiteY1224" fmla="*/ 4212894 h 6246035"/>
                <a:gd name="connsiteX1225" fmla="*/ 9023957 w 11683878"/>
                <a:gd name="connsiteY1225" fmla="*/ 4213356 h 6246035"/>
                <a:gd name="connsiteX1226" fmla="*/ 9043796 w 11683878"/>
                <a:gd name="connsiteY1226" fmla="*/ 4215090 h 6246035"/>
                <a:gd name="connsiteX1227" fmla="*/ 9043762 w 11683878"/>
                <a:gd name="connsiteY1227" fmla="*/ 4214809 h 6246035"/>
                <a:gd name="connsiteX1228" fmla="*/ 604560 w 11683878"/>
                <a:gd name="connsiteY1228" fmla="*/ 4210749 h 6246035"/>
                <a:gd name="connsiteX1229" fmla="*/ 604560 w 11683878"/>
                <a:gd name="connsiteY1229" fmla="*/ 4210750 h 6246035"/>
                <a:gd name="connsiteX1230" fmla="*/ 626825 w 11683878"/>
                <a:gd name="connsiteY1230" fmla="*/ 4222341 h 6246035"/>
                <a:gd name="connsiteX1231" fmla="*/ 626825 w 11683878"/>
                <a:gd name="connsiteY1231" fmla="*/ 4222340 h 6246035"/>
                <a:gd name="connsiteX1232" fmla="*/ 3237454 w 11683878"/>
                <a:gd name="connsiteY1232" fmla="*/ 4202780 h 6246035"/>
                <a:gd name="connsiteX1233" fmla="*/ 3237621 w 11683878"/>
                <a:gd name="connsiteY1233" fmla="*/ 4221774 h 6246035"/>
                <a:gd name="connsiteX1234" fmla="*/ 3237622 w 11683878"/>
                <a:gd name="connsiteY1234" fmla="*/ 4221774 h 6246035"/>
                <a:gd name="connsiteX1235" fmla="*/ 3237455 w 11683878"/>
                <a:gd name="connsiteY1235" fmla="*/ 4202781 h 6246035"/>
                <a:gd name="connsiteX1236" fmla="*/ 3657638 w 11683878"/>
                <a:gd name="connsiteY1236" fmla="*/ 4201073 h 6246035"/>
                <a:gd name="connsiteX1237" fmla="*/ 3632165 w 11683878"/>
                <a:gd name="connsiteY1237" fmla="*/ 4203070 h 6246035"/>
                <a:gd name="connsiteX1238" fmla="*/ 3632165 w 11683878"/>
                <a:gd name="connsiteY1238" fmla="*/ 4203071 h 6246035"/>
                <a:gd name="connsiteX1239" fmla="*/ 3657639 w 11683878"/>
                <a:gd name="connsiteY1239" fmla="*/ 4201074 h 6246035"/>
                <a:gd name="connsiteX1240" fmla="*/ 610501 w 11683878"/>
                <a:gd name="connsiteY1240" fmla="*/ 4195913 h 6246035"/>
                <a:gd name="connsiteX1241" fmla="*/ 606912 w 11683878"/>
                <a:gd name="connsiteY1241" fmla="*/ 4196051 h 6246035"/>
                <a:gd name="connsiteX1242" fmla="*/ 606850 w 11683878"/>
                <a:gd name="connsiteY1242" fmla="*/ 4196437 h 6246035"/>
                <a:gd name="connsiteX1243" fmla="*/ 7539811 w 11683878"/>
                <a:gd name="connsiteY1243" fmla="*/ 4184961 h 6246035"/>
                <a:gd name="connsiteX1244" fmla="*/ 7539792 w 11683878"/>
                <a:gd name="connsiteY1244" fmla="*/ 4184994 h 6246035"/>
                <a:gd name="connsiteX1245" fmla="*/ 7501197 w 11683878"/>
                <a:gd name="connsiteY1245" fmla="*/ 4216920 h 6246035"/>
                <a:gd name="connsiteX1246" fmla="*/ 7501348 w 11683878"/>
                <a:gd name="connsiteY1246" fmla="*/ 4268957 h 6246035"/>
                <a:gd name="connsiteX1247" fmla="*/ 7499408 w 11683878"/>
                <a:gd name="connsiteY1247" fmla="*/ 4270646 h 6246035"/>
                <a:gd name="connsiteX1248" fmla="*/ 7501355 w 11683878"/>
                <a:gd name="connsiteY1248" fmla="*/ 4268959 h 6246035"/>
                <a:gd name="connsiteX1249" fmla="*/ 7501205 w 11683878"/>
                <a:gd name="connsiteY1249" fmla="*/ 4216922 h 6246035"/>
                <a:gd name="connsiteX1250" fmla="*/ 7539799 w 11683878"/>
                <a:gd name="connsiteY1250" fmla="*/ 4184996 h 6246035"/>
                <a:gd name="connsiteX1251" fmla="*/ 6795104 w 11683878"/>
                <a:gd name="connsiteY1251" fmla="*/ 4181999 h 6246035"/>
                <a:gd name="connsiteX1252" fmla="*/ 6795116 w 11683878"/>
                <a:gd name="connsiteY1252" fmla="*/ 4182042 h 6246035"/>
                <a:gd name="connsiteX1253" fmla="*/ 6862417 w 11683878"/>
                <a:gd name="connsiteY1253" fmla="*/ 4205674 h 6246035"/>
                <a:gd name="connsiteX1254" fmla="*/ 6867350 w 11683878"/>
                <a:gd name="connsiteY1254" fmla="*/ 4265110 h 6246035"/>
                <a:gd name="connsiteX1255" fmla="*/ 6867475 w 11683878"/>
                <a:gd name="connsiteY1255" fmla="*/ 4265120 h 6246035"/>
                <a:gd name="connsiteX1256" fmla="*/ 6862638 w 11683878"/>
                <a:gd name="connsiteY1256" fmla="*/ 4205055 h 6246035"/>
                <a:gd name="connsiteX1257" fmla="*/ 3200418 w 11683878"/>
                <a:gd name="connsiteY1257" fmla="*/ 4175703 h 6246035"/>
                <a:gd name="connsiteX1258" fmla="*/ 3195103 w 11683878"/>
                <a:gd name="connsiteY1258" fmla="*/ 4178297 h 6246035"/>
                <a:gd name="connsiteX1259" fmla="*/ 3198651 w 11683878"/>
                <a:gd name="connsiteY1259" fmla="*/ 4180348 h 6246035"/>
                <a:gd name="connsiteX1260" fmla="*/ 3616263 w 11683878"/>
                <a:gd name="connsiteY1260" fmla="*/ 4174996 h 6246035"/>
                <a:gd name="connsiteX1261" fmla="*/ 3600050 w 11683878"/>
                <a:gd name="connsiteY1261" fmla="*/ 4179670 h 6246035"/>
                <a:gd name="connsiteX1262" fmla="*/ 3600050 w 11683878"/>
                <a:gd name="connsiteY1262" fmla="*/ 4179672 h 6246035"/>
                <a:gd name="connsiteX1263" fmla="*/ 3616263 w 11683878"/>
                <a:gd name="connsiteY1263" fmla="*/ 4174997 h 6246035"/>
                <a:gd name="connsiteX1264" fmla="*/ 3625286 w 11683878"/>
                <a:gd name="connsiteY1264" fmla="*/ 4190925 h 6246035"/>
                <a:gd name="connsiteX1265" fmla="*/ 2584318 w 11683878"/>
                <a:gd name="connsiteY1265" fmla="*/ 4172900 h 6246035"/>
                <a:gd name="connsiteX1266" fmla="*/ 2558188 w 11683878"/>
                <a:gd name="connsiteY1266" fmla="*/ 4211588 h 6246035"/>
                <a:gd name="connsiteX1267" fmla="*/ 2524653 w 11683878"/>
                <a:gd name="connsiteY1267" fmla="*/ 4217167 h 6246035"/>
                <a:gd name="connsiteX1268" fmla="*/ 2524664 w 11683878"/>
                <a:gd name="connsiteY1268" fmla="*/ 4217169 h 6246035"/>
                <a:gd name="connsiteX1269" fmla="*/ 2558190 w 11683878"/>
                <a:gd name="connsiteY1269" fmla="*/ 4211593 h 6246035"/>
                <a:gd name="connsiteX1270" fmla="*/ 2584322 w 11683878"/>
                <a:gd name="connsiteY1270" fmla="*/ 4172901 h 6246035"/>
                <a:gd name="connsiteX1271" fmla="*/ 5399957 w 11683878"/>
                <a:gd name="connsiteY1271" fmla="*/ 4165969 h 6246035"/>
                <a:gd name="connsiteX1272" fmla="*/ 5431821 w 11683878"/>
                <a:gd name="connsiteY1272" fmla="*/ 4183059 h 6246035"/>
                <a:gd name="connsiteX1273" fmla="*/ 5433627 w 11683878"/>
                <a:gd name="connsiteY1273" fmla="*/ 4214553 h 6246035"/>
                <a:gd name="connsiteX1274" fmla="*/ 5439692 w 11683878"/>
                <a:gd name="connsiteY1274" fmla="*/ 4216336 h 6246035"/>
                <a:gd name="connsiteX1275" fmla="*/ 5433628 w 11683878"/>
                <a:gd name="connsiteY1275" fmla="*/ 4214553 h 6246035"/>
                <a:gd name="connsiteX1276" fmla="*/ 5431823 w 11683878"/>
                <a:gd name="connsiteY1276" fmla="*/ 4183059 h 6246035"/>
                <a:gd name="connsiteX1277" fmla="*/ 4059305 w 11683878"/>
                <a:gd name="connsiteY1277" fmla="*/ 4164762 h 6246035"/>
                <a:gd name="connsiteX1278" fmla="*/ 4076615 w 11683878"/>
                <a:gd name="connsiteY1278" fmla="*/ 4170358 h 6246035"/>
                <a:gd name="connsiteX1279" fmla="*/ 4076608 w 11683878"/>
                <a:gd name="connsiteY1279" fmla="*/ 4170291 h 6246035"/>
                <a:gd name="connsiteX1280" fmla="*/ 4059047 w 11683878"/>
                <a:gd name="connsiteY1280" fmla="*/ 4164680 h 6246035"/>
                <a:gd name="connsiteX1281" fmla="*/ 4039820 w 11683878"/>
                <a:gd name="connsiteY1281" fmla="*/ 4182667 h 6246035"/>
                <a:gd name="connsiteX1282" fmla="*/ 4040908 w 11683878"/>
                <a:gd name="connsiteY1282" fmla="*/ 4184668 h 6246035"/>
                <a:gd name="connsiteX1283" fmla="*/ 4059050 w 11683878"/>
                <a:gd name="connsiteY1283" fmla="*/ 4164681 h 6246035"/>
                <a:gd name="connsiteX1284" fmla="*/ 1305841 w 11683878"/>
                <a:gd name="connsiteY1284" fmla="*/ 4161210 h 6246035"/>
                <a:gd name="connsiteX1285" fmla="*/ 1283135 w 11683878"/>
                <a:gd name="connsiteY1285" fmla="*/ 4228145 h 6246035"/>
                <a:gd name="connsiteX1286" fmla="*/ 1289636 w 11683878"/>
                <a:gd name="connsiteY1286" fmla="*/ 4289126 h 6246035"/>
                <a:gd name="connsiteX1287" fmla="*/ 1244609 w 11683878"/>
                <a:gd name="connsiteY1287" fmla="*/ 4284649 h 6246035"/>
                <a:gd name="connsiteX1288" fmla="*/ 1289637 w 11683878"/>
                <a:gd name="connsiteY1288" fmla="*/ 4289127 h 6246035"/>
                <a:gd name="connsiteX1289" fmla="*/ 1283136 w 11683878"/>
                <a:gd name="connsiteY1289" fmla="*/ 4228145 h 6246035"/>
                <a:gd name="connsiteX1290" fmla="*/ 1305842 w 11683878"/>
                <a:gd name="connsiteY1290" fmla="*/ 4161210 h 6246035"/>
                <a:gd name="connsiteX1291" fmla="*/ 9053639 w 11683878"/>
                <a:gd name="connsiteY1291" fmla="*/ 4157223 h 6246035"/>
                <a:gd name="connsiteX1292" fmla="*/ 9048093 w 11683878"/>
                <a:gd name="connsiteY1292" fmla="*/ 4173292 h 6246035"/>
                <a:gd name="connsiteX1293" fmla="*/ 9065978 w 11683878"/>
                <a:gd name="connsiteY1293" fmla="*/ 4201298 h 6246035"/>
                <a:gd name="connsiteX1294" fmla="*/ 9041769 w 11683878"/>
                <a:gd name="connsiteY1294" fmla="*/ 4196556 h 6246035"/>
                <a:gd name="connsiteX1295" fmla="*/ 9041788 w 11683878"/>
                <a:gd name="connsiteY1295" fmla="*/ 4196701 h 6246035"/>
                <a:gd name="connsiteX1296" fmla="*/ 9065979 w 11683878"/>
                <a:gd name="connsiteY1296" fmla="*/ 4201299 h 6246035"/>
                <a:gd name="connsiteX1297" fmla="*/ 9048095 w 11683878"/>
                <a:gd name="connsiteY1297" fmla="*/ 4173293 h 6246035"/>
                <a:gd name="connsiteX1298" fmla="*/ 9055375 w 11683878"/>
                <a:gd name="connsiteY1298" fmla="*/ 4158551 h 6246035"/>
                <a:gd name="connsiteX1299" fmla="*/ 7824077 w 11683878"/>
                <a:gd name="connsiteY1299" fmla="*/ 4148344 h 6246035"/>
                <a:gd name="connsiteX1300" fmla="*/ 7838884 w 11683878"/>
                <a:gd name="connsiteY1300" fmla="*/ 4162485 h 6246035"/>
                <a:gd name="connsiteX1301" fmla="*/ 7838898 w 11683878"/>
                <a:gd name="connsiteY1301" fmla="*/ 4162348 h 6246035"/>
                <a:gd name="connsiteX1302" fmla="*/ 7904290 w 11683878"/>
                <a:gd name="connsiteY1302" fmla="*/ 4148180 h 6246035"/>
                <a:gd name="connsiteX1303" fmla="*/ 7937298 w 11683878"/>
                <a:gd name="connsiteY1303" fmla="*/ 4268673 h 6246035"/>
                <a:gd name="connsiteX1304" fmla="*/ 7972085 w 11683878"/>
                <a:gd name="connsiteY1304" fmla="*/ 4281546 h 6246035"/>
                <a:gd name="connsiteX1305" fmla="*/ 7970557 w 11683878"/>
                <a:gd name="connsiteY1305" fmla="*/ 4277712 h 6246035"/>
                <a:gd name="connsiteX1306" fmla="*/ 7937272 w 11683878"/>
                <a:gd name="connsiteY1306" fmla="*/ 4268535 h 6246035"/>
                <a:gd name="connsiteX1307" fmla="*/ 7904819 w 11683878"/>
                <a:gd name="connsiteY1307" fmla="*/ 4148433 h 6246035"/>
                <a:gd name="connsiteX1308" fmla="*/ 7823613 w 11683878"/>
                <a:gd name="connsiteY1308" fmla="*/ 4147906 h 6246035"/>
                <a:gd name="connsiteX1309" fmla="*/ 7811693 w 11683878"/>
                <a:gd name="connsiteY1309" fmla="*/ 4165199 h 6246035"/>
                <a:gd name="connsiteX1310" fmla="*/ 7811475 w 11683878"/>
                <a:gd name="connsiteY1310" fmla="*/ 4165206 h 6246035"/>
                <a:gd name="connsiteX1311" fmla="*/ 7811699 w 11683878"/>
                <a:gd name="connsiteY1311" fmla="*/ 4165200 h 6246035"/>
                <a:gd name="connsiteX1312" fmla="*/ 7823618 w 11683878"/>
                <a:gd name="connsiteY1312" fmla="*/ 4147911 h 6246035"/>
                <a:gd name="connsiteX1313" fmla="*/ 2557947 w 11683878"/>
                <a:gd name="connsiteY1313" fmla="*/ 4144150 h 6246035"/>
                <a:gd name="connsiteX1314" fmla="*/ 2557947 w 11683878"/>
                <a:gd name="connsiteY1314" fmla="*/ 4144151 h 6246035"/>
                <a:gd name="connsiteX1315" fmla="*/ 2566227 w 11683878"/>
                <a:gd name="connsiteY1315" fmla="*/ 4169606 h 6246035"/>
                <a:gd name="connsiteX1316" fmla="*/ 2566229 w 11683878"/>
                <a:gd name="connsiteY1316" fmla="*/ 4169606 h 6246035"/>
                <a:gd name="connsiteX1317" fmla="*/ 621480 w 11683878"/>
                <a:gd name="connsiteY1317" fmla="*/ 4141701 h 6246035"/>
                <a:gd name="connsiteX1318" fmla="*/ 621480 w 11683878"/>
                <a:gd name="connsiteY1318" fmla="*/ 4141702 h 6246035"/>
                <a:gd name="connsiteX1319" fmla="*/ 657550 w 11683878"/>
                <a:gd name="connsiteY1319" fmla="*/ 4189157 h 6246035"/>
                <a:gd name="connsiteX1320" fmla="*/ 662699 w 11683878"/>
                <a:gd name="connsiteY1320" fmla="*/ 4188418 h 6246035"/>
                <a:gd name="connsiteX1321" fmla="*/ 7771259 w 11683878"/>
                <a:gd name="connsiteY1321" fmla="*/ 4141592 h 6246035"/>
                <a:gd name="connsiteX1322" fmla="*/ 7771621 w 11683878"/>
                <a:gd name="connsiteY1322" fmla="*/ 4154069 h 6246035"/>
                <a:gd name="connsiteX1323" fmla="*/ 7771741 w 11683878"/>
                <a:gd name="connsiteY1323" fmla="*/ 4154168 h 6246035"/>
                <a:gd name="connsiteX1324" fmla="*/ 5249043 w 11683878"/>
                <a:gd name="connsiteY1324" fmla="*/ 4141169 h 6246035"/>
                <a:gd name="connsiteX1325" fmla="*/ 5248924 w 11683878"/>
                <a:gd name="connsiteY1325" fmla="*/ 4142418 h 6246035"/>
                <a:gd name="connsiteX1326" fmla="*/ 5249831 w 11683878"/>
                <a:gd name="connsiteY1326" fmla="*/ 4142560 h 6246035"/>
                <a:gd name="connsiteX1327" fmla="*/ 4312455 w 11683878"/>
                <a:gd name="connsiteY1327" fmla="*/ 4138468 h 6246035"/>
                <a:gd name="connsiteX1328" fmla="*/ 4368051 w 11683878"/>
                <a:gd name="connsiteY1328" fmla="*/ 4162564 h 6246035"/>
                <a:gd name="connsiteX1329" fmla="*/ 4368918 w 11683878"/>
                <a:gd name="connsiteY1329" fmla="*/ 4162202 h 6246035"/>
                <a:gd name="connsiteX1330" fmla="*/ 4368050 w 11683878"/>
                <a:gd name="connsiteY1330" fmla="*/ 4162563 h 6246035"/>
                <a:gd name="connsiteX1331" fmla="*/ 3215884 w 11683878"/>
                <a:gd name="connsiteY1331" fmla="*/ 4135058 h 6246035"/>
                <a:gd name="connsiteX1332" fmla="*/ 3215886 w 11683878"/>
                <a:gd name="connsiteY1332" fmla="*/ 4135058 h 6246035"/>
                <a:gd name="connsiteX1333" fmla="*/ 3215885 w 11683878"/>
                <a:gd name="connsiteY1333" fmla="*/ 4135059 h 6246035"/>
                <a:gd name="connsiteX1334" fmla="*/ 3215884 w 11683878"/>
                <a:gd name="connsiteY1334" fmla="*/ 4135056 h 6246035"/>
                <a:gd name="connsiteX1335" fmla="*/ 3215883 w 11683878"/>
                <a:gd name="connsiteY1335" fmla="*/ 4135064 h 6246035"/>
                <a:gd name="connsiteX1336" fmla="*/ 3215885 w 11683878"/>
                <a:gd name="connsiteY1336" fmla="*/ 4135059 h 6246035"/>
                <a:gd name="connsiteX1337" fmla="*/ 3230031 w 11683878"/>
                <a:gd name="connsiteY1337" fmla="*/ 4150862 h 6246035"/>
                <a:gd name="connsiteX1338" fmla="*/ 3244019 w 11683878"/>
                <a:gd name="connsiteY1338" fmla="*/ 4143245 h 6246035"/>
                <a:gd name="connsiteX1339" fmla="*/ 3244018 w 11683878"/>
                <a:gd name="connsiteY1339" fmla="*/ 4143243 h 6246035"/>
                <a:gd name="connsiteX1340" fmla="*/ 3230031 w 11683878"/>
                <a:gd name="connsiteY1340" fmla="*/ 4150861 h 6246035"/>
                <a:gd name="connsiteX1341" fmla="*/ 3215886 w 11683878"/>
                <a:gd name="connsiteY1341" fmla="*/ 4135058 h 6246035"/>
                <a:gd name="connsiteX1342" fmla="*/ 2891183 w 11683878"/>
                <a:gd name="connsiteY1342" fmla="*/ 4132482 h 6246035"/>
                <a:gd name="connsiteX1343" fmla="*/ 2891183 w 11683878"/>
                <a:gd name="connsiteY1343" fmla="*/ 4132483 h 6246035"/>
                <a:gd name="connsiteX1344" fmla="*/ 2912571 w 11683878"/>
                <a:gd name="connsiteY1344" fmla="*/ 4139002 h 6246035"/>
                <a:gd name="connsiteX1345" fmla="*/ 2912573 w 11683878"/>
                <a:gd name="connsiteY1345" fmla="*/ 4139001 h 6246035"/>
                <a:gd name="connsiteX1346" fmla="*/ 7200916 w 11683878"/>
                <a:gd name="connsiteY1346" fmla="*/ 4132112 h 6246035"/>
                <a:gd name="connsiteX1347" fmla="*/ 7186911 w 11683878"/>
                <a:gd name="connsiteY1347" fmla="*/ 4167399 h 6246035"/>
                <a:gd name="connsiteX1348" fmla="*/ 7185052 w 11683878"/>
                <a:gd name="connsiteY1348" fmla="*/ 4257950 h 6246035"/>
                <a:gd name="connsiteX1349" fmla="*/ 7185053 w 11683878"/>
                <a:gd name="connsiteY1349" fmla="*/ 4257948 h 6246035"/>
                <a:gd name="connsiteX1350" fmla="*/ 7186913 w 11683878"/>
                <a:gd name="connsiteY1350" fmla="*/ 4167397 h 6246035"/>
                <a:gd name="connsiteX1351" fmla="*/ 588170 w 11683878"/>
                <a:gd name="connsiteY1351" fmla="*/ 4127686 h 6246035"/>
                <a:gd name="connsiteX1352" fmla="*/ 538203 w 11683878"/>
                <a:gd name="connsiteY1352" fmla="*/ 4128371 h 6246035"/>
                <a:gd name="connsiteX1353" fmla="*/ 548802 w 11683878"/>
                <a:gd name="connsiteY1353" fmla="*/ 4133905 h 6246035"/>
                <a:gd name="connsiteX1354" fmla="*/ 588168 w 11683878"/>
                <a:gd name="connsiteY1354" fmla="*/ 4127734 h 6246035"/>
                <a:gd name="connsiteX1355" fmla="*/ 4285838 w 11683878"/>
                <a:gd name="connsiteY1355" fmla="*/ 4126932 h 6246035"/>
                <a:gd name="connsiteX1356" fmla="*/ 4252365 w 11683878"/>
                <a:gd name="connsiteY1356" fmla="*/ 4139971 h 6246035"/>
                <a:gd name="connsiteX1357" fmla="*/ 4252510 w 11683878"/>
                <a:gd name="connsiteY1357" fmla="*/ 4140040 h 6246035"/>
                <a:gd name="connsiteX1358" fmla="*/ 4285841 w 11683878"/>
                <a:gd name="connsiteY1358" fmla="*/ 4126933 h 6246035"/>
                <a:gd name="connsiteX1359" fmla="*/ 7856609 w 11683878"/>
                <a:gd name="connsiteY1359" fmla="*/ 4125378 h 6246035"/>
                <a:gd name="connsiteX1360" fmla="*/ 7849352 w 11683878"/>
                <a:gd name="connsiteY1360" fmla="*/ 4128131 h 6246035"/>
                <a:gd name="connsiteX1361" fmla="*/ 7856770 w 11683878"/>
                <a:gd name="connsiteY1361" fmla="*/ 4125455 h 6246035"/>
                <a:gd name="connsiteX1362" fmla="*/ 4468380 w 11683878"/>
                <a:gd name="connsiteY1362" fmla="*/ 4120853 h 6246035"/>
                <a:gd name="connsiteX1363" fmla="*/ 4460213 w 11683878"/>
                <a:gd name="connsiteY1363" fmla="*/ 4124249 h 6246035"/>
                <a:gd name="connsiteX1364" fmla="*/ 4474006 w 11683878"/>
                <a:gd name="connsiteY1364" fmla="*/ 4149503 h 6246035"/>
                <a:gd name="connsiteX1365" fmla="*/ 9004891 w 11683878"/>
                <a:gd name="connsiteY1365" fmla="*/ 4120105 h 6246035"/>
                <a:gd name="connsiteX1366" fmla="*/ 9008455 w 11683878"/>
                <a:gd name="connsiteY1366" fmla="*/ 4122666 h 6246035"/>
                <a:gd name="connsiteX1367" fmla="*/ 9005172 w 11683878"/>
                <a:gd name="connsiteY1367" fmla="*/ 4120155 h 6246035"/>
                <a:gd name="connsiteX1368" fmla="*/ 2945001 w 11683878"/>
                <a:gd name="connsiteY1368" fmla="*/ 4119647 h 6246035"/>
                <a:gd name="connsiteX1369" fmla="*/ 2944996 w 11683878"/>
                <a:gd name="connsiteY1369" fmla="*/ 4119650 h 6246035"/>
                <a:gd name="connsiteX1370" fmla="*/ 2970175 w 11683878"/>
                <a:gd name="connsiteY1370" fmla="*/ 4144663 h 6246035"/>
                <a:gd name="connsiteX1371" fmla="*/ 2970177 w 11683878"/>
                <a:gd name="connsiteY1371" fmla="*/ 4144658 h 6246035"/>
                <a:gd name="connsiteX1372" fmla="*/ 7562070 w 11683878"/>
                <a:gd name="connsiteY1372" fmla="*/ 4117493 h 6246035"/>
                <a:gd name="connsiteX1373" fmla="*/ 7559266 w 11683878"/>
                <a:gd name="connsiteY1373" fmla="*/ 4119596 h 6246035"/>
                <a:gd name="connsiteX1374" fmla="*/ 7560159 w 11683878"/>
                <a:gd name="connsiteY1374" fmla="*/ 4123287 h 6246035"/>
                <a:gd name="connsiteX1375" fmla="*/ 526956 w 11683878"/>
                <a:gd name="connsiteY1375" fmla="*/ 4116056 h 6246035"/>
                <a:gd name="connsiteX1376" fmla="*/ 524084 w 11683878"/>
                <a:gd name="connsiteY1376" fmla="*/ 4120998 h 6246035"/>
                <a:gd name="connsiteX1377" fmla="*/ 529558 w 11683878"/>
                <a:gd name="connsiteY1377" fmla="*/ 4123856 h 6246035"/>
                <a:gd name="connsiteX1378" fmla="*/ 6775540 w 11683878"/>
                <a:gd name="connsiteY1378" fmla="*/ 4114927 h 6246035"/>
                <a:gd name="connsiteX1379" fmla="*/ 6775526 w 11683878"/>
                <a:gd name="connsiteY1379" fmla="*/ 4114976 h 6246035"/>
                <a:gd name="connsiteX1380" fmla="*/ 6780495 w 11683878"/>
                <a:gd name="connsiteY1380" fmla="*/ 4131985 h 6246035"/>
                <a:gd name="connsiteX1381" fmla="*/ 7752387 w 11683878"/>
                <a:gd name="connsiteY1381" fmla="*/ 4108872 h 6246035"/>
                <a:gd name="connsiteX1382" fmla="*/ 7752012 w 11683878"/>
                <a:gd name="connsiteY1382" fmla="*/ 4109256 h 6246035"/>
                <a:gd name="connsiteX1383" fmla="*/ 7770136 w 11683878"/>
                <a:gd name="connsiteY1383" fmla="*/ 4112275 h 6246035"/>
                <a:gd name="connsiteX1384" fmla="*/ 7770124 w 11683878"/>
                <a:gd name="connsiteY1384" fmla="*/ 4111967 h 6246035"/>
                <a:gd name="connsiteX1385" fmla="*/ 614544 w 11683878"/>
                <a:gd name="connsiteY1385" fmla="*/ 4097869 h 6246035"/>
                <a:gd name="connsiteX1386" fmla="*/ 614234 w 11683878"/>
                <a:gd name="connsiteY1386" fmla="*/ 4103609 h 6246035"/>
                <a:gd name="connsiteX1387" fmla="*/ 589470 w 11683878"/>
                <a:gd name="connsiteY1387" fmla="*/ 4104147 h 6246035"/>
                <a:gd name="connsiteX1388" fmla="*/ 589451 w 11683878"/>
                <a:gd name="connsiteY1388" fmla="*/ 4104579 h 6246035"/>
                <a:gd name="connsiteX1389" fmla="*/ 589475 w 11683878"/>
                <a:gd name="connsiteY1389" fmla="*/ 4104147 h 6246035"/>
                <a:gd name="connsiteX1390" fmla="*/ 613083 w 11683878"/>
                <a:gd name="connsiteY1390" fmla="*/ 4104725 h 6246035"/>
                <a:gd name="connsiteX1391" fmla="*/ 630628 w 11683878"/>
                <a:gd name="connsiteY1391" fmla="*/ 4118614 h 6246035"/>
                <a:gd name="connsiteX1392" fmla="*/ 4197231 w 11683878"/>
                <a:gd name="connsiteY1392" fmla="*/ 4097145 h 6246035"/>
                <a:gd name="connsiteX1393" fmla="*/ 4204389 w 11683878"/>
                <a:gd name="connsiteY1393" fmla="*/ 4116956 h 6246035"/>
                <a:gd name="connsiteX1394" fmla="*/ 4197572 w 11683878"/>
                <a:gd name="connsiteY1394" fmla="*/ 4097235 h 6246035"/>
                <a:gd name="connsiteX1395" fmla="*/ 7202569 w 11683878"/>
                <a:gd name="connsiteY1395" fmla="*/ 4095536 h 6246035"/>
                <a:gd name="connsiteX1396" fmla="*/ 7202381 w 11683878"/>
                <a:gd name="connsiteY1396" fmla="*/ 4095596 h 6246035"/>
                <a:gd name="connsiteX1397" fmla="*/ 7210477 w 11683878"/>
                <a:gd name="connsiteY1397" fmla="*/ 4108019 h 6246035"/>
                <a:gd name="connsiteX1398" fmla="*/ 7210477 w 11683878"/>
                <a:gd name="connsiteY1398" fmla="*/ 4108018 h 6246035"/>
                <a:gd name="connsiteX1399" fmla="*/ 3266079 w 11683878"/>
                <a:gd name="connsiteY1399" fmla="*/ 4089743 h 6246035"/>
                <a:gd name="connsiteX1400" fmla="*/ 3261663 w 11683878"/>
                <a:gd name="connsiteY1400" fmla="*/ 4106766 h 6246035"/>
                <a:gd name="connsiteX1401" fmla="*/ 3245480 w 11683878"/>
                <a:gd name="connsiteY1401" fmla="*/ 4103156 h 6246035"/>
                <a:gd name="connsiteX1402" fmla="*/ 3245319 w 11683878"/>
                <a:gd name="connsiteY1402" fmla="*/ 4107593 h 6246035"/>
                <a:gd name="connsiteX1403" fmla="*/ 3261663 w 11683878"/>
                <a:gd name="connsiteY1403" fmla="*/ 4106767 h 6246035"/>
                <a:gd name="connsiteX1404" fmla="*/ 3266079 w 11683878"/>
                <a:gd name="connsiteY1404" fmla="*/ 4089744 h 6246035"/>
                <a:gd name="connsiteX1405" fmla="*/ 3302340 w 11683878"/>
                <a:gd name="connsiteY1405" fmla="*/ 4103137 h 6246035"/>
                <a:gd name="connsiteX1406" fmla="*/ 7591535 w 11683878"/>
                <a:gd name="connsiteY1406" fmla="*/ 4089176 h 6246035"/>
                <a:gd name="connsiteX1407" fmla="*/ 7590575 w 11683878"/>
                <a:gd name="connsiteY1407" fmla="*/ 4096118 h 6246035"/>
                <a:gd name="connsiteX1408" fmla="*/ 7590547 w 11683878"/>
                <a:gd name="connsiteY1408" fmla="*/ 4096139 h 6246035"/>
                <a:gd name="connsiteX1409" fmla="*/ 7590581 w 11683878"/>
                <a:gd name="connsiteY1409" fmla="*/ 4096120 h 6246035"/>
                <a:gd name="connsiteX1410" fmla="*/ 2502665 w 11683878"/>
                <a:gd name="connsiteY1410" fmla="*/ 4089074 h 6246035"/>
                <a:gd name="connsiteX1411" fmla="*/ 2515074 w 11683878"/>
                <a:gd name="connsiteY1411" fmla="*/ 4121072 h 6246035"/>
                <a:gd name="connsiteX1412" fmla="*/ 2495117 w 11683878"/>
                <a:gd name="connsiteY1412" fmla="*/ 4148312 h 6246035"/>
                <a:gd name="connsiteX1413" fmla="*/ 2495121 w 11683878"/>
                <a:gd name="connsiteY1413" fmla="*/ 4148316 h 6246035"/>
                <a:gd name="connsiteX1414" fmla="*/ 2515076 w 11683878"/>
                <a:gd name="connsiteY1414" fmla="*/ 4121076 h 6246035"/>
                <a:gd name="connsiteX1415" fmla="*/ 2502670 w 11683878"/>
                <a:gd name="connsiteY1415" fmla="*/ 4089081 h 6246035"/>
                <a:gd name="connsiteX1416" fmla="*/ 8999950 w 11683878"/>
                <a:gd name="connsiteY1416" fmla="*/ 4087830 h 6246035"/>
                <a:gd name="connsiteX1417" fmla="*/ 8999995 w 11683878"/>
                <a:gd name="connsiteY1417" fmla="*/ 4088031 h 6246035"/>
                <a:gd name="connsiteX1418" fmla="*/ 8966465 w 11683878"/>
                <a:gd name="connsiteY1418" fmla="*/ 4112390 h 6246035"/>
                <a:gd name="connsiteX1419" fmla="*/ 8967531 w 11683878"/>
                <a:gd name="connsiteY1419" fmla="*/ 4112602 h 6246035"/>
                <a:gd name="connsiteX1420" fmla="*/ 8999997 w 11683878"/>
                <a:gd name="connsiteY1420" fmla="*/ 4088033 h 6246035"/>
                <a:gd name="connsiteX1421" fmla="*/ 7773750 w 11683878"/>
                <a:gd name="connsiteY1421" fmla="*/ 4086939 h 6246035"/>
                <a:gd name="connsiteX1422" fmla="*/ 7773439 w 11683878"/>
                <a:gd name="connsiteY1422" fmla="*/ 4086975 h 6246035"/>
                <a:gd name="connsiteX1423" fmla="*/ 7773748 w 11683878"/>
                <a:gd name="connsiteY1423" fmla="*/ 4086941 h 6246035"/>
                <a:gd name="connsiteX1424" fmla="*/ 2526327 w 11683878"/>
                <a:gd name="connsiteY1424" fmla="*/ 4086210 h 6246035"/>
                <a:gd name="connsiteX1425" fmla="*/ 2510484 w 11683878"/>
                <a:gd name="connsiteY1425" fmla="*/ 4102400 h 6246035"/>
                <a:gd name="connsiteX1426" fmla="*/ 2510486 w 11683878"/>
                <a:gd name="connsiteY1426" fmla="*/ 4102404 h 6246035"/>
                <a:gd name="connsiteX1427" fmla="*/ 2526332 w 11683878"/>
                <a:gd name="connsiteY1427" fmla="*/ 4086213 h 6246035"/>
                <a:gd name="connsiteX1428" fmla="*/ 979010 w 11683878"/>
                <a:gd name="connsiteY1428" fmla="*/ 4084245 h 6246035"/>
                <a:gd name="connsiteX1429" fmla="*/ 990730 w 11683878"/>
                <a:gd name="connsiteY1429" fmla="*/ 4086372 h 6246035"/>
                <a:gd name="connsiteX1430" fmla="*/ 990730 w 11683878"/>
                <a:gd name="connsiteY1430" fmla="*/ 4086371 h 6246035"/>
                <a:gd name="connsiteX1431" fmla="*/ 4060710 w 11683878"/>
                <a:gd name="connsiteY1431" fmla="*/ 4077404 h 6246035"/>
                <a:gd name="connsiteX1432" fmla="*/ 4060837 w 11683878"/>
                <a:gd name="connsiteY1432" fmla="*/ 4136022 h 6246035"/>
                <a:gd name="connsiteX1433" fmla="*/ 4063609 w 11683878"/>
                <a:gd name="connsiteY1433" fmla="*/ 4134507 h 6246035"/>
                <a:gd name="connsiteX1434" fmla="*/ 5272510 w 11683878"/>
                <a:gd name="connsiteY1434" fmla="*/ 4075355 h 6246035"/>
                <a:gd name="connsiteX1435" fmla="*/ 5252909 w 11683878"/>
                <a:gd name="connsiteY1435" fmla="*/ 4100547 h 6246035"/>
                <a:gd name="connsiteX1436" fmla="*/ 5251468 w 11683878"/>
                <a:gd name="connsiteY1436" fmla="*/ 4115690 h 6246035"/>
                <a:gd name="connsiteX1437" fmla="*/ 5272510 w 11683878"/>
                <a:gd name="connsiteY1437" fmla="*/ 4075356 h 6246035"/>
                <a:gd name="connsiteX1438" fmla="*/ 7726350 w 11683878"/>
                <a:gd name="connsiteY1438" fmla="*/ 4069962 h 6246035"/>
                <a:gd name="connsiteX1439" fmla="*/ 7745743 w 11683878"/>
                <a:gd name="connsiteY1439" fmla="*/ 4089979 h 6246035"/>
                <a:gd name="connsiteX1440" fmla="*/ 7745760 w 11683878"/>
                <a:gd name="connsiteY1440" fmla="*/ 4089977 h 6246035"/>
                <a:gd name="connsiteX1441" fmla="*/ 966954 w 11683878"/>
                <a:gd name="connsiteY1441" fmla="*/ 4067895 h 6246035"/>
                <a:gd name="connsiteX1442" fmla="*/ 949734 w 11683878"/>
                <a:gd name="connsiteY1442" fmla="*/ 4076129 h 6246035"/>
                <a:gd name="connsiteX1443" fmla="*/ 949734 w 11683878"/>
                <a:gd name="connsiteY1443" fmla="*/ 4076129 h 6246035"/>
                <a:gd name="connsiteX1444" fmla="*/ 984174 w 11683878"/>
                <a:gd name="connsiteY1444" fmla="*/ 4059661 h 6246035"/>
                <a:gd name="connsiteX1445" fmla="*/ 981051 w 11683878"/>
                <a:gd name="connsiteY1445" fmla="*/ 4071855 h 6246035"/>
                <a:gd name="connsiteX1446" fmla="*/ 984174 w 11683878"/>
                <a:gd name="connsiteY1446" fmla="*/ 4059661 h 6246035"/>
                <a:gd name="connsiteX1447" fmla="*/ 6815590 w 11683878"/>
                <a:gd name="connsiteY1447" fmla="*/ 4059659 h 6246035"/>
                <a:gd name="connsiteX1448" fmla="*/ 6785872 w 11683878"/>
                <a:gd name="connsiteY1448" fmla="*/ 4077475 h 6246035"/>
                <a:gd name="connsiteX1449" fmla="*/ 6779364 w 11683878"/>
                <a:gd name="connsiteY1449" fmla="*/ 4101066 h 6246035"/>
                <a:gd name="connsiteX1450" fmla="*/ 6785979 w 11683878"/>
                <a:gd name="connsiteY1450" fmla="*/ 4077468 h 6246035"/>
                <a:gd name="connsiteX1451" fmla="*/ 6815878 w 11683878"/>
                <a:gd name="connsiteY1451" fmla="*/ 4060023 h 6246035"/>
                <a:gd name="connsiteX1452" fmla="*/ 616896 w 11683878"/>
                <a:gd name="connsiteY1452" fmla="*/ 4054336 h 6246035"/>
                <a:gd name="connsiteX1453" fmla="*/ 616895 w 11683878"/>
                <a:gd name="connsiteY1453" fmla="*/ 4054359 h 6246035"/>
                <a:gd name="connsiteX1454" fmla="*/ 616901 w 11683878"/>
                <a:gd name="connsiteY1454" fmla="*/ 4054338 h 6246035"/>
                <a:gd name="connsiteX1455" fmla="*/ 927046 w 11683878"/>
                <a:gd name="connsiteY1455" fmla="*/ 4053870 h 6246035"/>
                <a:gd name="connsiteX1456" fmla="*/ 927037 w 11683878"/>
                <a:gd name="connsiteY1456" fmla="*/ 4054340 h 6246035"/>
                <a:gd name="connsiteX1457" fmla="*/ 949710 w 11683878"/>
                <a:gd name="connsiteY1457" fmla="*/ 4076106 h 6246035"/>
                <a:gd name="connsiteX1458" fmla="*/ 7603595 w 11683878"/>
                <a:gd name="connsiteY1458" fmla="*/ 4050927 h 6246035"/>
                <a:gd name="connsiteX1459" fmla="*/ 7596355 w 11683878"/>
                <a:gd name="connsiteY1459" fmla="*/ 4054310 h 6246035"/>
                <a:gd name="connsiteX1460" fmla="*/ 7596331 w 11683878"/>
                <a:gd name="connsiteY1460" fmla="*/ 4054484 h 6246035"/>
                <a:gd name="connsiteX1461" fmla="*/ 1042945 w 11683878"/>
                <a:gd name="connsiteY1461" fmla="*/ 4046925 h 6246035"/>
                <a:gd name="connsiteX1462" fmla="*/ 1008045 w 11683878"/>
                <a:gd name="connsiteY1462" fmla="*/ 4047626 h 6246035"/>
                <a:gd name="connsiteX1463" fmla="*/ 993660 w 11683878"/>
                <a:gd name="connsiteY1463" fmla="*/ 4079816 h 6246035"/>
                <a:gd name="connsiteX1464" fmla="*/ 1008046 w 11683878"/>
                <a:gd name="connsiteY1464" fmla="*/ 4047626 h 6246035"/>
                <a:gd name="connsiteX1465" fmla="*/ 2964964 w 11683878"/>
                <a:gd name="connsiteY1465" fmla="*/ 4046593 h 6246035"/>
                <a:gd name="connsiteX1466" fmla="*/ 2914289 w 11683878"/>
                <a:gd name="connsiteY1466" fmla="*/ 4048475 h 6246035"/>
                <a:gd name="connsiteX1467" fmla="*/ 2914289 w 11683878"/>
                <a:gd name="connsiteY1467" fmla="*/ 4048476 h 6246035"/>
                <a:gd name="connsiteX1468" fmla="*/ 2964967 w 11683878"/>
                <a:gd name="connsiteY1468" fmla="*/ 4046595 h 6246035"/>
                <a:gd name="connsiteX1469" fmla="*/ 4156809 w 11683878"/>
                <a:gd name="connsiteY1469" fmla="*/ 4045911 h 6246035"/>
                <a:gd name="connsiteX1470" fmla="*/ 4134687 w 11683878"/>
                <a:gd name="connsiteY1470" fmla="*/ 4080555 h 6246035"/>
                <a:gd name="connsiteX1471" fmla="*/ 4135272 w 11683878"/>
                <a:gd name="connsiteY1471" fmla="*/ 4080708 h 6246035"/>
                <a:gd name="connsiteX1472" fmla="*/ 665945 w 11683878"/>
                <a:gd name="connsiteY1472" fmla="*/ 4043986 h 6246035"/>
                <a:gd name="connsiteX1473" fmla="*/ 665997 w 11683878"/>
                <a:gd name="connsiteY1473" fmla="*/ 4044051 h 6246035"/>
                <a:gd name="connsiteX1474" fmla="*/ 636353 w 11683878"/>
                <a:gd name="connsiteY1474" fmla="*/ 4061949 h 6246035"/>
                <a:gd name="connsiteX1475" fmla="*/ 636356 w 11683878"/>
                <a:gd name="connsiteY1475" fmla="*/ 4061950 h 6246035"/>
                <a:gd name="connsiteX1476" fmla="*/ 666002 w 11683878"/>
                <a:gd name="connsiteY1476" fmla="*/ 4044051 h 6246035"/>
                <a:gd name="connsiteX1477" fmla="*/ 3028267 w 11683878"/>
                <a:gd name="connsiteY1477" fmla="*/ 4040318 h 6246035"/>
                <a:gd name="connsiteX1478" fmla="*/ 2976772 w 11683878"/>
                <a:gd name="connsiteY1478" fmla="*/ 4061499 h 6246035"/>
                <a:gd name="connsiteX1479" fmla="*/ 2976774 w 11683878"/>
                <a:gd name="connsiteY1479" fmla="*/ 4061502 h 6246035"/>
                <a:gd name="connsiteX1480" fmla="*/ 3028270 w 11683878"/>
                <a:gd name="connsiteY1480" fmla="*/ 4040321 h 6246035"/>
                <a:gd name="connsiteX1481" fmla="*/ 7634037 w 11683878"/>
                <a:gd name="connsiteY1481" fmla="*/ 4036703 h 6246035"/>
                <a:gd name="connsiteX1482" fmla="*/ 7633413 w 11683878"/>
                <a:gd name="connsiteY1482" fmla="*/ 4036995 h 6246035"/>
                <a:gd name="connsiteX1483" fmla="*/ 7704101 w 11683878"/>
                <a:gd name="connsiteY1483" fmla="*/ 4047018 h 6246035"/>
                <a:gd name="connsiteX1484" fmla="*/ 7704010 w 11683878"/>
                <a:gd name="connsiteY1484" fmla="*/ 4046924 h 6246035"/>
                <a:gd name="connsiteX1485" fmla="*/ 1306483 w 11683878"/>
                <a:gd name="connsiteY1485" fmla="*/ 4027451 h 6246035"/>
                <a:gd name="connsiteX1486" fmla="*/ 1311369 w 11683878"/>
                <a:gd name="connsiteY1486" fmla="*/ 4030174 h 6246035"/>
                <a:gd name="connsiteX1487" fmla="*/ 1287297 w 11683878"/>
                <a:gd name="connsiteY1487" fmla="*/ 4074511 h 6246035"/>
                <a:gd name="connsiteX1488" fmla="*/ 1287075 w 11683878"/>
                <a:gd name="connsiteY1488" fmla="*/ 4139452 h 6246035"/>
                <a:gd name="connsiteX1489" fmla="*/ 1294742 w 11683878"/>
                <a:gd name="connsiteY1489" fmla="*/ 4141017 h 6246035"/>
                <a:gd name="connsiteX1490" fmla="*/ 1287076 w 11683878"/>
                <a:gd name="connsiteY1490" fmla="*/ 4139452 h 6246035"/>
                <a:gd name="connsiteX1491" fmla="*/ 1287297 w 11683878"/>
                <a:gd name="connsiteY1491" fmla="*/ 4074511 h 6246035"/>
                <a:gd name="connsiteX1492" fmla="*/ 1311370 w 11683878"/>
                <a:gd name="connsiteY1492" fmla="*/ 4030174 h 6246035"/>
                <a:gd name="connsiteX1493" fmla="*/ 4154838 w 11683878"/>
                <a:gd name="connsiteY1493" fmla="*/ 4026206 h 6246035"/>
                <a:gd name="connsiteX1494" fmla="*/ 4162247 w 11683878"/>
                <a:gd name="connsiteY1494" fmla="*/ 4037123 h 6246035"/>
                <a:gd name="connsiteX1495" fmla="*/ 4162312 w 11683878"/>
                <a:gd name="connsiteY1495" fmla="*/ 4037017 h 6246035"/>
                <a:gd name="connsiteX1496" fmla="*/ 2906360 w 11683878"/>
                <a:gd name="connsiteY1496" fmla="*/ 4024202 h 6246035"/>
                <a:gd name="connsiteX1497" fmla="*/ 2862050 w 11683878"/>
                <a:gd name="connsiteY1497" fmla="*/ 4024933 h 6246035"/>
                <a:gd name="connsiteX1498" fmla="*/ 2862051 w 11683878"/>
                <a:gd name="connsiteY1498" fmla="*/ 4024935 h 6246035"/>
                <a:gd name="connsiteX1499" fmla="*/ 2906360 w 11683878"/>
                <a:gd name="connsiteY1499" fmla="*/ 4024203 h 6246035"/>
                <a:gd name="connsiteX1500" fmla="*/ 3313903 w 11683878"/>
                <a:gd name="connsiteY1500" fmla="*/ 4020123 h 6246035"/>
                <a:gd name="connsiteX1501" fmla="*/ 3306259 w 11683878"/>
                <a:gd name="connsiteY1501" fmla="*/ 4074992 h 6246035"/>
                <a:gd name="connsiteX1502" fmla="*/ 3317408 w 11683878"/>
                <a:gd name="connsiteY1502" fmla="*/ 4061465 h 6246035"/>
                <a:gd name="connsiteX1503" fmla="*/ 4320181 w 11683878"/>
                <a:gd name="connsiteY1503" fmla="*/ 4019567 h 6246035"/>
                <a:gd name="connsiteX1504" fmla="*/ 4320112 w 11683878"/>
                <a:gd name="connsiteY1504" fmla="*/ 4019805 h 6246035"/>
                <a:gd name="connsiteX1505" fmla="*/ 4468143 w 11683878"/>
                <a:gd name="connsiteY1505" fmla="*/ 4119643 h 6246035"/>
                <a:gd name="connsiteX1506" fmla="*/ 4466630 w 11683878"/>
                <a:gd name="connsiteY1506" fmla="*/ 4111934 h 6246035"/>
                <a:gd name="connsiteX1507" fmla="*/ 4526070 w 11683878"/>
                <a:gd name="connsiteY1507" fmla="*/ 4083127 h 6246035"/>
                <a:gd name="connsiteX1508" fmla="*/ 4534341 w 11683878"/>
                <a:gd name="connsiteY1508" fmla="*/ 4045843 h 6246035"/>
                <a:gd name="connsiteX1509" fmla="*/ 4571711 w 11683878"/>
                <a:gd name="connsiteY1509" fmla="*/ 4024594 h 6246035"/>
                <a:gd name="connsiteX1510" fmla="*/ 4563660 w 11683878"/>
                <a:gd name="connsiteY1510" fmla="*/ 4025210 h 6246035"/>
                <a:gd name="connsiteX1511" fmla="*/ 4534341 w 11683878"/>
                <a:gd name="connsiteY1511" fmla="*/ 4045843 h 6246035"/>
                <a:gd name="connsiteX1512" fmla="*/ 4526069 w 11683878"/>
                <a:gd name="connsiteY1512" fmla="*/ 4083127 h 6246035"/>
                <a:gd name="connsiteX1513" fmla="*/ 4466628 w 11683878"/>
                <a:gd name="connsiteY1513" fmla="*/ 4111934 h 6246035"/>
                <a:gd name="connsiteX1514" fmla="*/ 9008290 w 11683878"/>
                <a:gd name="connsiteY1514" fmla="*/ 4018618 h 6246035"/>
                <a:gd name="connsiteX1515" fmla="*/ 8990571 w 11683878"/>
                <a:gd name="connsiteY1515" fmla="*/ 4045636 h 6246035"/>
                <a:gd name="connsiteX1516" fmla="*/ 8990608 w 11683878"/>
                <a:gd name="connsiteY1516" fmla="*/ 4045804 h 6246035"/>
                <a:gd name="connsiteX1517" fmla="*/ 9008998 w 11683878"/>
                <a:gd name="connsiteY1517" fmla="*/ 4019037 h 6246035"/>
                <a:gd name="connsiteX1518" fmla="*/ 903317 w 11683878"/>
                <a:gd name="connsiteY1518" fmla="*/ 4014722 h 6246035"/>
                <a:gd name="connsiteX1519" fmla="*/ 916701 w 11683878"/>
                <a:gd name="connsiteY1519" fmla="*/ 4083418 h 6246035"/>
                <a:gd name="connsiteX1520" fmla="*/ 904375 w 11683878"/>
                <a:gd name="connsiteY1520" fmla="*/ 4014828 h 6246035"/>
                <a:gd name="connsiteX1521" fmla="*/ 2526612 w 11683878"/>
                <a:gd name="connsiteY1521" fmla="*/ 4011781 h 6246035"/>
                <a:gd name="connsiteX1522" fmla="*/ 2505484 w 11683878"/>
                <a:gd name="connsiteY1522" fmla="*/ 4073195 h 6246035"/>
                <a:gd name="connsiteX1523" fmla="*/ 2505487 w 11683878"/>
                <a:gd name="connsiteY1523" fmla="*/ 4073197 h 6246035"/>
                <a:gd name="connsiteX1524" fmla="*/ 2526615 w 11683878"/>
                <a:gd name="connsiteY1524" fmla="*/ 4011784 h 6246035"/>
                <a:gd name="connsiteX1525" fmla="*/ 3528807 w 11683878"/>
                <a:gd name="connsiteY1525" fmla="*/ 4005715 h 6246035"/>
                <a:gd name="connsiteX1526" fmla="*/ 3527890 w 11683878"/>
                <a:gd name="connsiteY1526" fmla="*/ 4006642 h 6246035"/>
                <a:gd name="connsiteX1527" fmla="*/ 3572678 w 11683878"/>
                <a:gd name="connsiteY1527" fmla="*/ 4014733 h 6246035"/>
                <a:gd name="connsiteX1528" fmla="*/ 3570146 w 11683878"/>
                <a:gd name="connsiteY1528" fmla="*/ 4044280 h 6246035"/>
                <a:gd name="connsiteX1529" fmla="*/ 3574638 w 11683878"/>
                <a:gd name="connsiteY1529" fmla="*/ 4028232 h 6246035"/>
                <a:gd name="connsiteX1530" fmla="*/ 3592148 w 11683878"/>
                <a:gd name="connsiteY1530" fmla="*/ 4039261 h 6246035"/>
                <a:gd name="connsiteX1531" fmla="*/ 3592150 w 11683878"/>
                <a:gd name="connsiteY1531" fmla="*/ 4039260 h 6246035"/>
                <a:gd name="connsiteX1532" fmla="*/ 3572680 w 11683878"/>
                <a:gd name="connsiteY1532" fmla="*/ 4014733 h 6246035"/>
                <a:gd name="connsiteX1533" fmla="*/ 7186964 w 11683878"/>
                <a:gd name="connsiteY1533" fmla="*/ 4004666 h 6246035"/>
                <a:gd name="connsiteX1534" fmla="*/ 7227942 w 11683878"/>
                <a:gd name="connsiteY1534" fmla="*/ 4016724 h 6246035"/>
                <a:gd name="connsiteX1535" fmla="*/ 7227981 w 11683878"/>
                <a:gd name="connsiteY1535" fmla="*/ 4016386 h 6246035"/>
                <a:gd name="connsiteX1536" fmla="*/ 4137401 w 11683878"/>
                <a:gd name="connsiteY1536" fmla="*/ 4000985 h 6246035"/>
                <a:gd name="connsiteX1537" fmla="*/ 4060702 w 11683878"/>
                <a:gd name="connsiteY1537" fmla="*/ 4073720 h 6246035"/>
                <a:gd name="connsiteX1538" fmla="*/ 4060702 w 11683878"/>
                <a:gd name="connsiteY1538" fmla="*/ 4073804 h 6246035"/>
                <a:gd name="connsiteX1539" fmla="*/ 4137560 w 11683878"/>
                <a:gd name="connsiteY1539" fmla="*/ 4001213 h 6246035"/>
                <a:gd name="connsiteX1540" fmla="*/ 3455812 w 11683878"/>
                <a:gd name="connsiteY1540" fmla="*/ 3990073 h 6246035"/>
                <a:gd name="connsiteX1541" fmla="*/ 3455810 w 11683878"/>
                <a:gd name="connsiteY1541" fmla="*/ 3990074 h 6246035"/>
                <a:gd name="connsiteX1542" fmla="*/ 3495161 w 11683878"/>
                <a:gd name="connsiteY1542" fmla="*/ 4039725 h 6246035"/>
                <a:gd name="connsiteX1543" fmla="*/ 3495161 w 11683878"/>
                <a:gd name="connsiteY1543" fmla="*/ 4039724 h 6246035"/>
                <a:gd name="connsiteX1544" fmla="*/ 5226312 w 11683878"/>
                <a:gd name="connsiteY1544" fmla="*/ 3987541 h 6246035"/>
                <a:gd name="connsiteX1545" fmla="*/ 5253052 w 11683878"/>
                <a:gd name="connsiteY1545" fmla="*/ 3998855 h 6246035"/>
                <a:gd name="connsiteX1546" fmla="*/ 5250517 w 11683878"/>
                <a:gd name="connsiteY1546" fmla="*/ 3988889 h 6246035"/>
                <a:gd name="connsiteX1547" fmla="*/ 5250455 w 11683878"/>
                <a:gd name="connsiteY1547" fmla="*/ 3988910 h 6246035"/>
                <a:gd name="connsiteX1548" fmla="*/ 1144143 w 11683878"/>
                <a:gd name="connsiteY1548" fmla="*/ 3979026 h 6246035"/>
                <a:gd name="connsiteX1549" fmla="*/ 1121933 w 11683878"/>
                <a:gd name="connsiteY1549" fmla="*/ 4008237 h 6246035"/>
                <a:gd name="connsiteX1550" fmla="*/ 1146402 w 11683878"/>
                <a:gd name="connsiteY1550" fmla="*/ 3987155 h 6246035"/>
                <a:gd name="connsiteX1551" fmla="*/ 846866 w 11683878"/>
                <a:gd name="connsiteY1551" fmla="*/ 3976802 h 6246035"/>
                <a:gd name="connsiteX1552" fmla="*/ 828456 w 11683878"/>
                <a:gd name="connsiteY1552" fmla="*/ 3994608 h 6246035"/>
                <a:gd name="connsiteX1553" fmla="*/ 848212 w 11683878"/>
                <a:gd name="connsiteY1553" fmla="*/ 3977757 h 6246035"/>
                <a:gd name="connsiteX1554" fmla="*/ 1084610 w 11683878"/>
                <a:gd name="connsiteY1554" fmla="*/ 3970758 h 6246035"/>
                <a:gd name="connsiteX1555" fmla="*/ 1084609 w 11683878"/>
                <a:gd name="connsiteY1555" fmla="*/ 3970759 h 6246035"/>
                <a:gd name="connsiteX1556" fmla="*/ 1094387 w 11683878"/>
                <a:gd name="connsiteY1556" fmla="*/ 3982891 h 6246035"/>
                <a:gd name="connsiteX1557" fmla="*/ 1104098 w 11683878"/>
                <a:gd name="connsiteY1557" fmla="*/ 3975469 h 6246035"/>
                <a:gd name="connsiteX1558" fmla="*/ 3614906 w 11683878"/>
                <a:gd name="connsiteY1558" fmla="*/ 3968333 h 6246035"/>
                <a:gd name="connsiteX1559" fmla="*/ 3595267 w 11683878"/>
                <a:gd name="connsiteY1559" fmla="*/ 4005089 h 6246035"/>
                <a:gd name="connsiteX1560" fmla="*/ 3597574 w 11683878"/>
                <a:gd name="connsiteY1560" fmla="*/ 4007612 h 6246035"/>
                <a:gd name="connsiteX1561" fmla="*/ 833818 w 11683878"/>
                <a:gd name="connsiteY1561" fmla="*/ 3967542 h 6246035"/>
                <a:gd name="connsiteX1562" fmla="*/ 806793 w 11683878"/>
                <a:gd name="connsiteY1562" fmla="*/ 3979241 h 6246035"/>
                <a:gd name="connsiteX1563" fmla="*/ 808038 w 11683878"/>
                <a:gd name="connsiteY1563" fmla="*/ 3980692 h 6246035"/>
                <a:gd name="connsiteX1564" fmla="*/ 833819 w 11683878"/>
                <a:gd name="connsiteY1564" fmla="*/ 3967543 h 6246035"/>
                <a:gd name="connsiteX1565" fmla="*/ 1140676 w 11683878"/>
                <a:gd name="connsiteY1565" fmla="*/ 3966546 h 6246035"/>
                <a:gd name="connsiteX1566" fmla="*/ 1135176 w 11683878"/>
                <a:gd name="connsiteY1566" fmla="*/ 3971859 h 6246035"/>
                <a:gd name="connsiteX1567" fmla="*/ 1142363 w 11683878"/>
                <a:gd name="connsiteY1567" fmla="*/ 3972620 h 6246035"/>
                <a:gd name="connsiteX1568" fmla="*/ 7169029 w 11683878"/>
                <a:gd name="connsiteY1568" fmla="*/ 3963425 h 6246035"/>
                <a:gd name="connsiteX1569" fmla="*/ 7169328 w 11683878"/>
                <a:gd name="connsiteY1569" fmla="*/ 3963966 h 6246035"/>
                <a:gd name="connsiteX1570" fmla="*/ 7165822 w 11683878"/>
                <a:gd name="connsiteY1570" fmla="*/ 3998445 h 6246035"/>
                <a:gd name="connsiteX1571" fmla="*/ 7165902 w 11683878"/>
                <a:gd name="connsiteY1571" fmla="*/ 3998468 h 6246035"/>
                <a:gd name="connsiteX1572" fmla="*/ 7169329 w 11683878"/>
                <a:gd name="connsiteY1572" fmla="*/ 3963964 h 6246035"/>
                <a:gd name="connsiteX1573" fmla="*/ 8986610 w 11683878"/>
                <a:gd name="connsiteY1573" fmla="*/ 3960819 h 6246035"/>
                <a:gd name="connsiteX1574" fmla="*/ 8928192 w 11683878"/>
                <a:gd name="connsiteY1574" fmla="*/ 3969099 h 6246035"/>
                <a:gd name="connsiteX1575" fmla="*/ 8931243 w 11683878"/>
                <a:gd name="connsiteY1575" fmla="*/ 3970951 h 6246035"/>
                <a:gd name="connsiteX1576" fmla="*/ 8986613 w 11683878"/>
                <a:gd name="connsiteY1576" fmla="*/ 3960820 h 6246035"/>
                <a:gd name="connsiteX1577" fmla="*/ 1430402 w 11683878"/>
                <a:gd name="connsiteY1577" fmla="*/ 3958049 h 6246035"/>
                <a:gd name="connsiteX1578" fmla="*/ 1433633 w 11683878"/>
                <a:gd name="connsiteY1578" fmla="*/ 3962524 h 6246035"/>
                <a:gd name="connsiteX1579" fmla="*/ 1432436 w 11683878"/>
                <a:gd name="connsiteY1579" fmla="*/ 3958050 h 6246035"/>
                <a:gd name="connsiteX1580" fmla="*/ 1372127 w 11683878"/>
                <a:gd name="connsiteY1580" fmla="*/ 3958010 h 6246035"/>
                <a:gd name="connsiteX1581" fmla="*/ 1379194 w 11683878"/>
                <a:gd name="connsiteY1581" fmla="*/ 3961893 h 6246035"/>
                <a:gd name="connsiteX1582" fmla="*/ 1410548 w 11683878"/>
                <a:gd name="connsiteY1582" fmla="*/ 3958035 h 6246035"/>
                <a:gd name="connsiteX1583" fmla="*/ 10049175 w 11683878"/>
                <a:gd name="connsiteY1583" fmla="*/ 3956405 h 6246035"/>
                <a:gd name="connsiteX1584" fmla="*/ 10130579 w 11683878"/>
                <a:gd name="connsiteY1584" fmla="*/ 3989044 h 6246035"/>
                <a:gd name="connsiteX1585" fmla="*/ 10150587 w 11683878"/>
                <a:gd name="connsiteY1585" fmla="*/ 4030255 h 6246035"/>
                <a:gd name="connsiteX1586" fmla="*/ 10274713 w 11683878"/>
                <a:gd name="connsiteY1586" fmla="*/ 4136019 h 6246035"/>
                <a:gd name="connsiteX1587" fmla="*/ 10329097 w 11683878"/>
                <a:gd name="connsiteY1587" fmla="*/ 4242819 h 6246035"/>
                <a:gd name="connsiteX1588" fmla="*/ 10525080 w 11683878"/>
                <a:gd name="connsiteY1588" fmla="*/ 4416571 h 6246035"/>
                <a:gd name="connsiteX1589" fmla="*/ 10673483 w 11683878"/>
                <a:gd name="connsiteY1589" fmla="*/ 4529997 h 6246035"/>
                <a:gd name="connsiteX1590" fmla="*/ 10737944 w 11683878"/>
                <a:gd name="connsiteY1590" fmla="*/ 4550893 h 6246035"/>
                <a:gd name="connsiteX1591" fmla="*/ 10772886 w 11683878"/>
                <a:gd name="connsiteY1591" fmla="*/ 4584089 h 6246035"/>
                <a:gd name="connsiteX1592" fmla="*/ 10775368 w 11683878"/>
                <a:gd name="connsiteY1592" fmla="*/ 4614129 h 6246035"/>
                <a:gd name="connsiteX1593" fmla="*/ 10750140 w 11683878"/>
                <a:gd name="connsiteY1593" fmla="*/ 4636360 h 6246035"/>
                <a:gd name="connsiteX1594" fmla="*/ 10636275 w 11683878"/>
                <a:gd name="connsiteY1594" fmla="*/ 4598722 h 6246035"/>
                <a:gd name="connsiteX1595" fmla="*/ 10588662 w 11683878"/>
                <a:gd name="connsiteY1595" fmla="*/ 4634822 h 6246035"/>
                <a:gd name="connsiteX1596" fmla="*/ 10661669 w 11683878"/>
                <a:gd name="connsiteY1596" fmla="*/ 4825730 h 6246035"/>
                <a:gd name="connsiteX1597" fmla="*/ 10742699 w 11683878"/>
                <a:gd name="connsiteY1597" fmla="*/ 4856123 h 6246035"/>
                <a:gd name="connsiteX1598" fmla="*/ 10767760 w 11683878"/>
                <a:gd name="connsiteY1598" fmla="*/ 4882019 h 6246035"/>
                <a:gd name="connsiteX1599" fmla="*/ 10820407 w 11683878"/>
                <a:gd name="connsiteY1599" fmla="*/ 4881564 h 6246035"/>
                <a:gd name="connsiteX1600" fmla="*/ 10887759 w 11683878"/>
                <a:gd name="connsiteY1600" fmla="*/ 4945263 h 6246035"/>
                <a:gd name="connsiteX1601" fmla="*/ 10904487 w 11683878"/>
                <a:gd name="connsiteY1601" fmla="*/ 5014430 h 6246035"/>
                <a:gd name="connsiteX1602" fmla="*/ 10891545 w 11683878"/>
                <a:gd name="connsiteY1602" fmla="*/ 5040258 h 6246035"/>
                <a:gd name="connsiteX1603" fmla="*/ 10860000 w 11683878"/>
                <a:gd name="connsiteY1603" fmla="*/ 5043521 h 6246035"/>
                <a:gd name="connsiteX1604" fmla="*/ 10828431 w 11683878"/>
                <a:gd name="connsiteY1604" fmla="*/ 5007904 h 6246035"/>
                <a:gd name="connsiteX1605" fmla="*/ 10795692 w 11683878"/>
                <a:gd name="connsiteY1605" fmla="*/ 4996089 h 6246035"/>
                <a:gd name="connsiteX1606" fmla="*/ 10771409 w 11683878"/>
                <a:gd name="connsiteY1606" fmla="*/ 5026682 h 6246035"/>
                <a:gd name="connsiteX1607" fmla="*/ 10805192 w 11683878"/>
                <a:gd name="connsiteY1607" fmla="*/ 5132178 h 6246035"/>
                <a:gd name="connsiteX1608" fmla="*/ 10745485 w 11683878"/>
                <a:gd name="connsiteY1608" fmla="*/ 5156734 h 6246035"/>
                <a:gd name="connsiteX1609" fmla="*/ 10659305 w 11683878"/>
                <a:gd name="connsiteY1609" fmla="*/ 5067187 h 6246035"/>
                <a:gd name="connsiteX1610" fmla="*/ 10627926 w 11683878"/>
                <a:gd name="connsiteY1610" fmla="*/ 4975359 h 6246035"/>
                <a:gd name="connsiteX1611" fmla="*/ 10574443 w 11683878"/>
                <a:gd name="connsiteY1611" fmla="*/ 4913175 h 6246035"/>
                <a:gd name="connsiteX1612" fmla="*/ 10557425 w 11683878"/>
                <a:gd name="connsiteY1612" fmla="*/ 4849181 h 6246035"/>
                <a:gd name="connsiteX1613" fmla="*/ 10466426 w 11683878"/>
                <a:gd name="connsiteY1613" fmla="*/ 4776401 h 6246035"/>
                <a:gd name="connsiteX1614" fmla="*/ 10423404 w 11683878"/>
                <a:gd name="connsiteY1614" fmla="*/ 4660744 h 6246035"/>
                <a:gd name="connsiteX1615" fmla="*/ 10302155 w 11683878"/>
                <a:gd name="connsiteY1615" fmla="*/ 4502138 h 6246035"/>
                <a:gd name="connsiteX1616" fmla="*/ 10296232 w 11683878"/>
                <a:gd name="connsiteY1616" fmla="*/ 4456518 h 6246035"/>
                <a:gd name="connsiteX1617" fmla="*/ 10250289 w 11683878"/>
                <a:gd name="connsiteY1617" fmla="*/ 4424903 h 6246035"/>
                <a:gd name="connsiteX1618" fmla="*/ 10212415 w 11683878"/>
                <a:gd name="connsiteY1618" fmla="*/ 4422302 h 6246035"/>
                <a:gd name="connsiteX1619" fmla="*/ 10212415 w 11683878"/>
                <a:gd name="connsiteY1619" fmla="*/ 4422303 h 6246035"/>
                <a:gd name="connsiteX1620" fmla="*/ 10089407 w 11683878"/>
                <a:gd name="connsiteY1620" fmla="*/ 4190115 h 6246035"/>
                <a:gd name="connsiteX1621" fmla="*/ 10040173 w 11683878"/>
                <a:gd name="connsiteY1621" fmla="*/ 4156897 h 6246035"/>
                <a:gd name="connsiteX1622" fmla="*/ 10081744 w 11683878"/>
                <a:gd name="connsiteY1622" fmla="*/ 4080971 h 6246035"/>
                <a:gd name="connsiteX1623" fmla="*/ 10018696 w 11683878"/>
                <a:gd name="connsiteY1623" fmla="*/ 4049262 h 6246035"/>
                <a:gd name="connsiteX1624" fmla="*/ 10006036 w 11683878"/>
                <a:gd name="connsiteY1624" fmla="*/ 4020910 h 6246035"/>
                <a:gd name="connsiteX1625" fmla="*/ 2972771 w 11683878"/>
                <a:gd name="connsiteY1625" fmla="*/ 3956020 h 6246035"/>
                <a:gd name="connsiteX1626" fmla="*/ 2981893 w 11683878"/>
                <a:gd name="connsiteY1626" fmla="*/ 3982946 h 6246035"/>
                <a:gd name="connsiteX1627" fmla="*/ 2972772 w 11683878"/>
                <a:gd name="connsiteY1627" fmla="*/ 3956020 h 6246035"/>
                <a:gd name="connsiteX1628" fmla="*/ 3379970 w 11683878"/>
                <a:gd name="connsiteY1628" fmla="*/ 3954736 h 6246035"/>
                <a:gd name="connsiteX1629" fmla="*/ 3379706 w 11683878"/>
                <a:gd name="connsiteY1629" fmla="*/ 3954814 h 6246035"/>
                <a:gd name="connsiteX1630" fmla="*/ 3383616 w 11683878"/>
                <a:gd name="connsiteY1630" fmla="*/ 3970860 h 6246035"/>
                <a:gd name="connsiteX1631" fmla="*/ 3430889 w 11683878"/>
                <a:gd name="connsiteY1631" fmla="*/ 3980427 h 6246035"/>
                <a:gd name="connsiteX1632" fmla="*/ 3436325 w 11683878"/>
                <a:gd name="connsiteY1632" fmla="*/ 4000806 h 6246035"/>
                <a:gd name="connsiteX1633" fmla="*/ 3436327 w 11683878"/>
                <a:gd name="connsiteY1633" fmla="*/ 4000805 h 6246035"/>
                <a:gd name="connsiteX1634" fmla="*/ 3430892 w 11683878"/>
                <a:gd name="connsiteY1634" fmla="*/ 3980427 h 6246035"/>
                <a:gd name="connsiteX1635" fmla="*/ 3383616 w 11683878"/>
                <a:gd name="connsiteY1635" fmla="*/ 3970860 h 6246035"/>
                <a:gd name="connsiteX1636" fmla="*/ 6871640 w 11683878"/>
                <a:gd name="connsiteY1636" fmla="*/ 3951640 h 6246035"/>
                <a:gd name="connsiteX1637" fmla="*/ 6871385 w 11683878"/>
                <a:gd name="connsiteY1637" fmla="*/ 3951904 h 6246035"/>
                <a:gd name="connsiteX1638" fmla="*/ 6879466 w 11683878"/>
                <a:gd name="connsiteY1638" fmla="*/ 3974480 h 6246035"/>
                <a:gd name="connsiteX1639" fmla="*/ 891221 w 11683878"/>
                <a:gd name="connsiteY1639" fmla="*/ 3949066 h 6246035"/>
                <a:gd name="connsiteX1640" fmla="*/ 900703 w 11683878"/>
                <a:gd name="connsiteY1640" fmla="*/ 3980809 h 6246035"/>
                <a:gd name="connsiteX1641" fmla="*/ 928284 w 11683878"/>
                <a:gd name="connsiteY1641" fmla="*/ 3992281 h 6246035"/>
                <a:gd name="connsiteX1642" fmla="*/ 928281 w 11683878"/>
                <a:gd name="connsiteY1642" fmla="*/ 3992412 h 6246035"/>
                <a:gd name="connsiteX1643" fmla="*/ 928284 w 11683878"/>
                <a:gd name="connsiteY1643" fmla="*/ 3992281 h 6246035"/>
                <a:gd name="connsiteX1644" fmla="*/ 900703 w 11683878"/>
                <a:gd name="connsiteY1644" fmla="*/ 3980809 h 6246035"/>
                <a:gd name="connsiteX1645" fmla="*/ 3083269 w 11683878"/>
                <a:gd name="connsiteY1645" fmla="*/ 3948940 h 6246035"/>
                <a:gd name="connsiteX1646" fmla="*/ 3084085 w 11683878"/>
                <a:gd name="connsiteY1646" fmla="*/ 3951724 h 6246035"/>
                <a:gd name="connsiteX1647" fmla="*/ 3089263 w 11683878"/>
                <a:gd name="connsiteY1647" fmla="*/ 3952479 h 6246035"/>
                <a:gd name="connsiteX1648" fmla="*/ 2992942 w 11683878"/>
                <a:gd name="connsiteY1648" fmla="*/ 3947267 h 6246035"/>
                <a:gd name="connsiteX1649" fmla="*/ 2986285 w 11683878"/>
                <a:gd name="connsiteY1649" fmla="*/ 3964555 h 6246035"/>
                <a:gd name="connsiteX1650" fmla="*/ 2992943 w 11683878"/>
                <a:gd name="connsiteY1650" fmla="*/ 3947267 h 6246035"/>
                <a:gd name="connsiteX1651" fmla="*/ 3044041 w 11683878"/>
                <a:gd name="connsiteY1651" fmla="*/ 3945884 h 6246035"/>
                <a:gd name="connsiteX1652" fmla="*/ 3019759 w 11683878"/>
                <a:gd name="connsiteY1652" fmla="*/ 3959676 h 6246035"/>
                <a:gd name="connsiteX1653" fmla="*/ 3044042 w 11683878"/>
                <a:gd name="connsiteY1653" fmla="*/ 3945884 h 6246035"/>
                <a:gd name="connsiteX1654" fmla="*/ 5174718 w 11683878"/>
                <a:gd name="connsiteY1654" fmla="*/ 3944656 h 6246035"/>
                <a:gd name="connsiteX1655" fmla="*/ 5172232 w 11683878"/>
                <a:gd name="connsiteY1655" fmla="*/ 3946230 h 6246035"/>
                <a:gd name="connsiteX1656" fmla="*/ 5198578 w 11683878"/>
                <a:gd name="connsiteY1656" fmla="*/ 3949026 h 6246035"/>
                <a:gd name="connsiteX1657" fmla="*/ 8975189 w 11683878"/>
                <a:gd name="connsiteY1657" fmla="*/ 3943328 h 6246035"/>
                <a:gd name="connsiteX1658" fmla="*/ 8970065 w 11683878"/>
                <a:gd name="connsiteY1658" fmla="*/ 3955365 h 6246035"/>
                <a:gd name="connsiteX1659" fmla="*/ 8970068 w 11683878"/>
                <a:gd name="connsiteY1659" fmla="*/ 3955366 h 6246035"/>
                <a:gd name="connsiteX1660" fmla="*/ 2949285 w 11683878"/>
                <a:gd name="connsiteY1660" fmla="*/ 3938445 h 6246035"/>
                <a:gd name="connsiteX1661" fmla="*/ 2908550 w 11683878"/>
                <a:gd name="connsiteY1661" fmla="*/ 3960406 h 6246035"/>
                <a:gd name="connsiteX1662" fmla="*/ 2949299 w 11683878"/>
                <a:gd name="connsiteY1662" fmla="*/ 3940604 h 6246035"/>
                <a:gd name="connsiteX1663" fmla="*/ 2923262 w 11683878"/>
                <a:gd name="connsiteY1663" fmla="*/ 3936783 h 6246035"/>
                <a:gd name="connsiteX1664" fmla="*/ 2908490 w 11683878"/>
                <a:gd name="connsiteY1664" fmla="*/ 3960435 h 6246035"/>
                <a:gd name="connsiteX1665" fmla="*/ 2908498 w 11683878"/>
                <a:gd name="connsiteY1665" fmla="*/ 3960432 h 6246035"/>
                <a:gd name="connsiteX1666" fmla="*/ 1310794 w 11683878"/>
                <a:gd name="connsiteY1666" fmla="*/ 3935329 h 6246035"/>
                <a:gd name="connsiteX1667" fmla="*/ 1246713 w 11683878"/>
                <a:gd name="connsiteY1667" fmla="*/ 3961829 h 6246035"/>
                <a:gd name="connsiteX1668" fmla="*/ 1226895 w 11683878"/>
                <a:gd name="connsiteY1668" fmla="*/ 3941994 h 6246035"/>
                <a:gd name="connsiteX1669" fmla="*/ 1226895 w 11683878"/>
                <a:gd name="connsiteY1669" fmla="*/ 3941995 h 6246035"/>
                <a:gd name="connsiteX1670" fmla="*/ 1246714 w 11683878"/>
                <a:gd name="connsiteY1670" fmla="*/ 3961830 h 6246035"/>
                <a:gd name="connsiteX1671" fmla="*/ 1282050 w 11683878"/>
                <a:gd name="connsiteY1671" fmla="*/ 3948648 h 6246035"/>
                <a:gd name="connsiteX1672" fmla="*/ 1291352 w 11683878"/>
                <a:gd name="connsiteY1672" fmla="*/ 3999959 h 6246035"/>
                <a:gd name="connsiteX1673" fmla="*/ 1282051 w 11683878"/>
                <a:gd name="connsiteY1673" fmla="*/ 3948648 h 6246035"/>
                <a:gd name="connsiteX1674" fmla="*/ 1310795 w 11683878"/>
                <a:gd name="connsiteY1674" fmla="*/ 3935330 h 6246035"/>
                <a:gd name="connsiteX1675" fmla="*/ 1340727 w 11683878"/>
                <a:gd name="connsiteY1675" fmla="*/ 3958253 h 6246035"/>
                <a:gd name="connsiteX1676" fmla="*/ 1332041 w 11683878"/>
                <a:gd name="connsiteY1676" fmla="*/ 3936163 h 6246035"/>
                <a:gd name="connsiteX1677" fmla="*/ 1331911 w 11683878"/>
                <a:gd name="connsiteY1677" fmla="*/ 3936064 h 6246035"/>
                <a:gd name="connsiteX1678" fmla="*/ 1340726 w 11683878"/>
                <a:gd name="connsiteY1678" fmla="*/ 3958252 h 6246035"/>
                <a:gd name="connsiteX1679" fmla="*/ 5368778 w 11683878"/>
                <a:gd name="connsiteY1679" fmla="*/ 3934237 h 6246035"/>
                <a:gd name="connsiteX1680" fmla="*/ 5368770 w 11683878"/>
                <a:gd name="connsiteY1680" fmla="*/ 3934240 h 6246035"/>
                <a:gd name="connsiteX1681" fmla="*/ 5370234 w 11683878"/>
                <a:gd name="connsiteY1681" fmla="*/ 3947800 h 6246035"/>
                <a:gd name="connsiteX1682" fmla="*/ 5368772 w 11683878"/>
                <a:gd name="connsiteY1682" fmla="*/ 3934240 h 6246035"/>
                <a:gd name="connsiteX1683" fmla="*/ 839828 w 11683878"/>
                <a:gd name="connsiteY1683" fmla="*/ 3931225 h 6246035"/>
                <a:gd name="connsiteX1684" fmla="*/ 855075 w 11683878"/>
                <a:gd name="connsiteY1684" fmla="*/ 3947849 h 6246035"/>
                <a:gd name="connsiteX1685" fmla="*/ 855075 w 11683878"/>
                <a:gd name="connsiteY1685" fmla="*/ 3947849 h 6246035"/>
                <a:gd name="connsiteX1686" fmla="*/ 839828 w 11683878"/>
                <a:gd name="connsiteY1686" fmla="*/ 3931225 h 6246035"/>
                <a:gd name="connsiteX1687" fmla="*/ 4883073 w 11683878"/>
                <a:gd name="connsiteY1687" fmla="*/ 3927782 h 6246035"/>
                <a:gd name="connsiteX1688" fmla="*/ 4883098 w 11683878"/>
                <a:gd name="connsiteY1688" fmla="*/ 3927884 h 6246035"/>
                <a:gd name="connsiteX1689" fmla="*/ 4985867 w 11683878"/>
                <a:gd name="connsiteY1689" fmla="*/ 3930932 h 6246035"/>
                <a:gd name="connsiteX1690" fmla="*/ 3217112 w 11683878"/>
                <a:gd name="connsiteY1690" fmla="*/ 3919377 h 6246035"/>
                <a:gd name="connsiteX1691" fmla="*/ 3245010 w 11683878"/>
                <a:gd name="connsiteY1691" fmla="*/ 3942533 h 6246035"/>
                <a:gd name="connsiteX1692" fmla="*/ 3245011 w 11683878"/>
                <a:gd name="connsiteY1692" fmla="*/ 3942533 h 6246035"/>
                <a:gd name="connsiteX1693" fmla="*/ 2089720 w 11683878"/>
                <a:gd name="connsiteY1693" fmla="*/ 3917342 h 6246035"/>
                <a:gd name="connsiteX1694" fmla="*/ 2090504 w 11683878"/>
                <a:gd name="connsiteY1694" fmla="*/ 3918401 h 6246035"/>
                <a:gd name="connsiteX1695" fmla="*/ 2090500 w 11683878"/>
                <a:gd name="connsiteY1695" fmla="*/ 3918410 h 6246035"/>
                <a:gd name="connsiteX1696" fmla="*/ 2090505 w 11683878"/>
                <a:gd name="connsiteY1696" fmla="*/ 3918400 h 6246035"/>
                <a:gd name="connsiteX1697" fmla="*/ 881739 w 11683878"/>
                <a:gd name="connsiteY1697" fmla="*/ 3917323 h 6246035"/>
                <a:gd name="connsiteX1698" fmla="*/ 865741 w 11683878"/>
                <a:gd name="connsiteY1698" fmla="*/ 3935639 h 6246035"/>
                <a:gd name="connsiteX1699" fmla="*/ 881740 w 11683878"/>
                <a:gd name="connsiteY1699" fmla="*/ 3917323 h 6246035"/>
                <a:gd name="connsiteX1700" fmla="*/ 6905115 w 11683878"/>
                <a:gd name="connsiteY1700" fmla="*/ 3917038 h 6246035"/>
                <a:gd name="connsiteX1701" fmla="*/ 6889234 w 11683878"/>
                <a:gd name="connsiteY1701" fmla="*/ 3933455 h 6246035"/>
                <a:gd name="connsiteX1702" fmla="*/ 6905135 w 11683878"/>
                <a:gd name="connsiteY1702" fmla="*/ 3917518 h 6246035"/>
                <a:gd name="connsiteX1703" fmla="*/ 803092 w 11683878"/>
                <a:gd name="connsiteY1703" fmla="*/ 3916747 h 6246035"/>
                <a:gd name="connsiteX1704" fmla="*/ 802508 w 11683878"/>
                <a:gd name="connsiteY1704" fmla="*/ 3917647 h 6246035"/>
                <a:gd name="connsiteX1705" fmla="*/ 814854 w 11683878"/>
                <a:gd name="connsiteY1705" fmla="*/ 3939474 h 6246035"/>
                <a:gd name="connsiteX1706" fmla="*/ 814854 w 11683878"/>
                <a:gd name="connsiteY1706" fmla="*/ 3939474 h 6246035"/>
                <a:gd name="connsiteX1707" fmla="*/ 1129270 w 11683878"/>
                <a:gd name="connsiteY1707" fmla="*/ 3916080 h 6246035"/>
                <a:gd name="connsiteX1708" fmla="*/ 1100201 w 11683878"/>
                <a:gd name="connsiteY1708" fmla="*/ 3940360 h 6246035"/>
                <a:gd name="connsiteX1709" fmla="*/ 1101698 w 11683878"/>
                <a:gd name="connsiteY1709" fmla="*/ 3942140 h 6246035"/>
                <a:gd name="connsiteX1710" fmla="*/ 1084613 w 11683878"/>
                <a:gd name="connsiteY1710" fmla="*/ 3970753 h 6246035"/>
                <a:gd name="connsiteX1711" fmla="*/ 1129270 w 11683878"/>
                <a:gd name="connsiteY1711" fmla="*/ 3916081 h 6246035"/>
                <a:gd name="connsiteX1712" fmla="*/ 1150148 w 11683878"/>
                <a:gd name="connsiteY1712" fmla="*/ 3929713 h 6246035"/>
                <a:gd name="connsiteX1713" fmla="*/ 1176513 w 11683878"/>
                <a:gd name="connsiteY1713" fmla="*/ 3924110 h 6246035"/>
                <a:gd name="connsiteX1714" fmla="*/ 1191465 w 11683878"/>
                <a:gd name="connsiteY1714" fmla="*/ 3949526 h 6246035"/>
                <a:gd name="connsiteX1715" fmla="*/ 1195541 w 11683878"/>
                <a:gd name="connsiteY1715" fmla="*/ 3945100 h 6246035"/>
                <a:gd name="connsiteX1716" fmla="*/ 1176513 w 11683878"/>
                <a:gd name="connsiteY1716" fmla="*/ 3924109 h 6246035"/>
                <a:gd name="connsiteX1717" fmla="*/ 1150147 w 11683878"/>
                <a:gd name="connsiteY1717" fmla="*/ 3929712 h 6246035"/>
                <a:gd name="connsiteX1718" fmla="*/ 1236698 w 11683878"/>
                <a:gd name="connsiteY1718" fmla="*/ 3914976 h 6246035"/>
                <a:gd name="connsiteX1719" fmla="*/ 1242417 w 11683878"/>
                <a:gd name="connsiteY1719" fmla="*/ 3927059 h 6246035"/>
                <a:gd name="connsiteX1720" fmla="*/ 1242417 w 11683878"/>
                <a:gd name="connsiteY1720" fmla="*/ 3927059 h 6246035"/>
                <a:gd name="connsiteX1721" fmla="*/ 3224625 w 11683878"/>
                <a:gd name="connsiteY1721" fmla="*/ 3906156 h 6246035"/>
                <a:gd name="connsiteX1722" fmla="*/ 3214953 w 11683878"/>
                <a:gd name="connsiteY1722" fmla="*/ 3917586 h 6246035"/>
                <a:gd name="connsiteX1723" fmla="*/ 3214955 w 11683878"/>
                <a:gd name="connsiteY1723" fmla="*/ 3917587 h 6246035"/>
                <a:gd name="connsiteX1724" fmla="*/ 3224627 w 11683878"/>
                <a:gd name="connsiteY1724" fmla="*/ 3906156 h 6246035"/>
                <a:gd name="connsiteX1725" fmla="*/ 3633602 w 11683878"/>
                <a:gd name="connsiteY1725" fmla="*/ 3905506 h 6246035"/>
                <a:gd name="connsiteX1726" fmla="*/ 3639390 w 11683878"/>
                <a:gd name="connsiteY1726" fmla="*/ 3922027 h 6246035"/>
                <a:gd name="connsiteX1727" fmla="*/ 3639417 w 11683878"/>
                <a:gd name="connsiteY1727" fmla="*/ 3922002 h 6246035"/>
                <a:gd name="connsiteX1728" fmla="*/ 1232142 w 11683878"/>
                <a:gd name="connsiteY1728" fmla="*/ 3905348 h 6246035"/>
                <a:gd name="connsiteX1729" fmla="*/ 1232131 w 11683878"/>
                <a:gd name="connsiteY1729" fmla="*/ 3905363 h 6246035"/>
                <a:gd name="connsiteX1730" fmla="*/ 1232143 w 11683878"/>
                <a:gd name="connsiteY1730" fmla="*/ 3905349 h 6246035"/>
                <a:gd name="connsiteX1731" fmla="*/ 688521 w 11683878"/>
                <a:gd name="connsiteY1731" fmla="*/ 3904013 h 6246035"/>
                <a:gd name="connsiteX1732" fmla="*/ 667715 w 11683878"/>
                <a:gd name="connsiteY1732" fmla="*/ 3922205 h 6246035"/>
                <a:gd name="connsiteX1733" fmla="*/ 647737 w 11683878"/>
                <a:gd name="connsiteY1733" fmla="*/ 3968118 h 6246035"/>
                <a:gd name="connsiteX1734" fmla="*/ 670164 w 11683878"/>
                <a:gd name="connsiteY1734" fmla="*/ 3984143 h 6246035"/>
                <a:gd name="connsiteX1735" fmla="*/ 651487 w 11683878"/>
                <a:gd name="connsiteY1735" fmla="*/ 4025974 h 6246035"/>
                <a:gd name="connsiteX1736" fmla="*/ 651908 w 11683878"/>
                <a:gd name="connsiteY1736" fmla="*/ 4026499 h 6246035"/>
                <a:gd name="connsiteX1737" fmla="*/ 670168 w 11683878"/>
                <a:gd name="connsiteY1737" fmla="*/ 3984143 h 6246035"/>
                <a:gd name="connsiteX1738" fmla="*/ 647742 w 11683878"/>
                <a:gd name="connsiteY1738" fmla="*/ 3968118 h 6246035"/>
                <a:gd name="connsiteX1739" fmla="*/ 667721 w 11683878"/>
                <a:gd name="connsiteY1739" fmla="*/ 3922205 h 6246035"/>
                <a:gd name="connsiteX1740" fmla="*/ 688522 w 11683878"/>
                <a:gd name="connsiteY1740" fmla="*/ 3904015 h 6246035"/>
                <a:gd name="connsiteX1741" fmla="*/ 741302 w 11683878"/>
                <a:gd name="connsiteY1741" fmla="*/ 3902896 h 6246035"/>
                <a:gd name="connsiteX1742" fmla="*/ 805055 w 11683878"/>
                <a:gd name="connsiteY1742" fmla="*/ 3977214 h 6246035"/>
                <a:gd name="connsiteX1743" fmla="*/ 785326 w 11683878"/>
                <a:gd name="connsiteY1743" fmla="*/ 3944494 h 6246035"/>
                <a:gd name="connsiteX1744" fmla="*/ 791484 w 11683878"/>
                <a:gd name="connsiteY1744" fmla="*/ 3934615 h 6246035"/>
                <a:gd name="connsiteX1745" fmla="*/ 785134 w 11683878"/>
                <a:gd name="connsiteY1745" fmla="*/ 3944388 h 6246035"/>
                <a:gd name="connsiteX1746" fmla="*/ 3689995 w 11683878"/>
                <a:gd name="connsiteY1746" fmla="*/ 3902051 h 6246035"/>
                <a:gd name="connsiteX1747" fmla="*/ 3690367 w 11683878"/>
                <a:gd name="connsiteY1747" fmla="*/ 3919196 h 6246035"/>
                <a:gd name="connsiteX1748" fmla="*/ 3690369 w 11683878"/>
                <a:gd name="connsiteY1748" fmla="*/ 3919195 h 6246035"/>
                <a:gd name="connsiteX1749" fmla="*/ 3689998 w 11683878"/>
                <a:gd name="connsiteY1749" fmla="*/ 3902051 h 6246035"/>
                <a:gd name="connsiteX1750" fmla="*/ 8957635 w 11683878"/>
                <a:gd name="connsiteY1750" fmla="*/ 3901271 h 6246035"/>
                <a:gd name="connsiteX1751" fmla="*/ 8979043 w 11683878"/>
                <a:gd name="connsiteY1751" fmla="*/ 3934267 h 6246035"/>
                <a:gd name="connsiteX1752" fmla="*/ 8979058 w 11683878"/>
                <a:gd name="connsiteY1752" fmla="*/ 3934232 h 6246035"/>
                <a:gd name="connsiteX1753" fmla="*/ 3182806 w 11683878"/>
                <a:gd name="connsiteY1753" fmla="*/ 3899742 h 6246035"/>
                <a:gd name="connsiteX1754" fmla="*/ 3183367 w 11683878"/>
                <a:gd name="connsiteY1754" fmla="*/ 3900338 h 6246035"/>
                <a:gd name="connsiteX1755" fmla="*/ 3224555 w 11683878"/>
                <a:gd name="connsiteY1755" fmla="*/ 3906145 h 6246035"/>
                <a:gd name="connsiteX1756" fmla="*/ 3071345 w 11683878"/>
                <a:gd name="connsiteY1756" fmla="*/ 3899096 h 6246035"/>
                <a:gd name="connsiteX1757" fmla="*/ 3068119 w 11683878"/>
                <a:gd name="connsiteY1757" fmla="*/ 3901820 h 6246035"/>
                <a:gd name="connsiteX1758" fmla="*/ 3079525 w 11683878"/>
                <a:gd name="connsiteY1758" fmla="*/ 3913503 h 6246035"/>
                <a:gd name="connsiteX1759" fmla="*/ 3058603 w 11683878"/>
                <a:gd name="connsiteY1759" fmla="*/ 3934381 h 6246035"/>
                <a:gd name="connsiteX1760" fmla="*/ 3058605 w 11683878"/>
                <a:gd name="connsiteY1760" fmla="*/ 3934381 h 6246035"/>
                <a:gd name="connsiteX1761" fmla="*/ 3079528 w 11683878"/>
                <a:gd name="connsiteY1761" fmla="*/ 3913503 h 6246035"/>
                <a:gd name="connsiteX1762" fmla="*/ 4862450 w 11683878"/>
                <a:gd name="connsiteY1762" fmla="*/ 3892398 h 6246035"/>
                <a:gd name="connsiteX1763" fmla="*/ 4875012 w 11683878"/>
                <a:gd name="connsiteY1763" fmla="*/ 3894505 h 6246035"/>
                <a:gd name="connsiteX1764" fmla="*/ 4879276 w 11683878"/>
                <a:gd name="connsiteY1764" fmla="*/ 3912107 h 6246035"/>
                <a:gd name="connsiteX1765" fmla="*/ 4876038 w 11683878"/>
                <a:gd name="connsiteY1765" fmla="*/ 3894612 h 6246035"/>
                <a:gd name="connsiteX1766" fmla="*/ 8978156 w 11683878"/>
                <a:gd name="connsiteY1766" fmla="*/ 3889344 h 6246035"/>
                <a:gd name="connsiteX1767" fmla="*/ 8978252 w 11683878"/>
                <a:gd name="connsiteY1767" fmla="*/ 3890032 h 6246035"/>
                <a:gd name="connsiteX1768" fmla="*/ 8978171 w 11683878"/>
                <a:gd name="connsiteY1768" fmla="*/ 3890070 h 6246035"/>
                <a:gd name="connsiteX1769" fmla="*/ 8978253 w 11683878"/>
                <a:gd name="connsiteY1769" fmla="*/ 3890032 h 6246035"/>
                <a:gd name="connsiteX1770" fmla="*/ 7147360 w 11683878"/>
                <a:gd name="connsiteY1770" fmla="*/ 3888061 h 6246035"/>
                <a:gd name="connsiteX1771" fmla="*/ 7139793 w 11683878"/>
                <a:gd name="connsiteY1771" fmla="*/ 3910596 h 6246035"/>
                <a:gd name="connsiteX1772" fmla="*/ 7139905 w 11683878"/>
                <a:gd name="connsiteY1772" fmla="*/ 3910798 h 6246035"/>
                <a:gd name="connsiteX1773" fmla="*/ 2884934 w 11683878"/>
                <a:gd name="connsiteY1773" fmla="*/ 3875945 h 6246035"/>
                <a:gd name="connsiteX1774" fmla="*/ 2911843 w 11683878"/>
                <a:gd name="connsiteY1774" fmla="*/ 3881208 h 6246035"/>
                <a:gd name="connsiteX1775" fmla="*/ 2944943 w 11683878"/>
                <a:gd name="connsiteY1775" fmla="*/ 3927762 h 6246035"/>
                <a:gd name="connsiteX1776" fmla="*/ 2944817 w 11683878"/>
                <a:gd name="connsiteY1776" fmla="*/ 3927760 h 6246035"/>
                <a:gd name="connsiteX1777" fmla="*/ 2944945 w 11683878"/>
                <a:gd name="connsiteY1777" fmla="*/ 3927763 h 6246035"/>
                <a:gd name="connsiteX1778" fmla="*/ 2911846 w 11683878"/>
                <a:gd name="connsiteY1778" fmla="*/ 3881208 h 6246035"/>
                <a:gd name="connsiteX1779" fmla="*/ 4715760 w 11683878"/>
                <a:gd name="connsiteY1779" fmla="*/ 3869982 h 6246035"/>
                <a:gd name="connsiteX1780" fmla="*/ 4707692 w 11683878"/>
                <a:gd name="connsiteY1780" fmla="*/ 3889815 h 6246035"/>
                <a:gd name="connsiteX1781" fmla="*/ 4677634 w 11683878"/>
                <a:gd name="connsiteY1781" fmla="*/ 3903750 h 6246035"/>
                <a:gd name="connsiteX1782" fmla="*/ 4629674 w 11683878"/>
                <a:gd name="connsiteY1782" fmla="*/ 4020162 h 6246035"/>
                <a:gd name="connsiteX1783" fmla="*/ 4629676 w 11683878"/>
                <a:gd name="connsiteY1783" fmla="*/ 4020162 h 6246035"/>
                <a:gd name="connsiteX1784" fmla="*/ 4677724 w 11683878"/>
                <a:gd name="connsiteY1784" fmla="*/ 3904130 h 6246035"/>
                <a:gd name="connsiteX1785" fmla="*/ 4707757 w 11683878"/>
                <a:gd name="connsiteY1785" fmla="*/ 3889972 h 6246035"/>
                <a:gd name="connsiteX1786" fmla="*/ 2258554 w 11683878"/>
                <a:gd name="connsiteY1786" fmla="*/ 3867292 h 6246035"/>
                <a:gd name="connsiteX1787" fmla="*/ 2236671 w 11683878"/>
                <a:gd name="connsiteY1787" fmla="*/ 3894590 h 6246035"/>
                <a:gd name="connsiteX1788" fmla="*/ 2216300 w 11683878"/>
                <a:gd name="connsiteY1788" fmla="*/ 3882464 h 6246035"/>
                <a:gd name="connsiteX1789" fmla="*/ 2201991 w 11683878"/>
                <a:gd name="connsiteY1789" fmla="*/ 3911027 h 6246035"/>
                <a:gd name="connsiteX1790" fmla="*/ 2182732 w 11683878"/>
                <a:gd name="connsiteY1790" fmla="*/ 3907940 h 6246035"/>
                <a:gd name="connsiteX1791" fmla="*/ 2154716 w 11683878"/>
                <a:gd name="connsiteY1791" fmla="*/ 3944625 h 6246035"/>
                <a:gd name="connsiteX1792" fmla="*/ 2080401 w 11683878"/>
                <a:gd name="connsiteY1792" fmla="*/ 3941573 h 6246035"/>
                <a:gd name="connsiteX1793" fmla="*/ 2154716 w 11683878"/>
                <a:gd name="connsiteY1793" fmla="*/ 3944626 h 6246035"/>
                <a:gd name="connsiteX1794" fmla="*/ 2182732 w 11683878"/>
                <a:gd name="connsiteY1794" fmla="*/ 3907941 h 6246035"/>
                <a:gd name="connsiteX1795" fmla="*/ 2201991 w 11683878"/>
                <a:gd name="connsiteY1795" fmla="*/ 3911028 h 6246035"/>
                <a:gd name="connsiteX1796" fmla="*/ 2216300 w 11683878"/>
                <a:gd name="connsiteY1796" fmla="*/ 3882465 h 6246035"/>
                <a:gd name="connsiteX1797" fmla="*/ 2236671 w 11683878"/>
                <a:gd name="connsiteY1797" fmla="*/ 3894591 h 6246035"/>
                <a:gd name="connsiteX1798" fmla="*/ 2258554 w 11683878"/>
                <a:gd name="connsiteY1798" fmla="*/ 3867293 h 6246035"/>
                <a:gd name="connsiteX1799" fmla="*/ 2311802 w 11683878"/>
                <a:gd name="connsiteY1799" fmla="*/ 3868313 h 6246035"/>
                <a:gd name="connsiteX1800" fmla="*/ 2075591 w 11683878"/>
                <a:gd name="connsiteY1800" fmla="*/ 3865420 h 6246035"/>
                <a:gd name="connsiteX1801" fmla="*/ 2058602 w 11683878"/>
                <a:gd name="connsiteY1801" fmla="*/ 3875334 h 6246035"/>
                <a:gd name="connsiteX1802" fmla="*/ 2058802 w 11683878"/>
                <a:gd name="connsiteY1802" fmla="*/ 3875604 h 6246035"/>
                <a:gd name="connsiteX1803" fmla="*/ 769193 w 11683878"/>
                <a:gd name="connsiteY1803" fmla="*/ 3853027 h 6246035"/>
                <a:gd name="connsiteX1804" fmla="*/ 746835 w 11683878"/>
                <a:gd name="connsiteY1804" fmla="*/ 3871267 h 6246035"/>
                <a:gd name="connsiteX1805" fmla="*/ 727030 w 11683878"/>
                <a:gd name="connsiteY1805" fmla="*/ 3932001 h 6246035"/>
                <a:gd name="connsiteX1806" fmla="*/ 709559 w 11683878"/>
                <a:gd name="connsiteY1806" fmla="*/ 3932223 h 6246035"/>
                <a:gd name="connsiteX1807" fmla="*/ 727035 w 11683878"/>
                <a:gd name="connsiteY1807" fmla="*/ 3932001 h 6246035"/>
                <a:gd name="connsiteX1808" fmla="*/ 741275 w 11683878"/>
                <a:gd name="connsiteY1808" fmla="*/ 3902870 h 6246035"/>
                <a:gd name="connsiteX1809" fmla="*/ 741271 w 11683878"/>
                <a:gd name="connsiteY1809" fmla="*/ 3902867 h 6246035"/>
                <a:gd name="connsiteX1810" fmla="*/ 746834 w 11683878"/>
                <a:gd name="connsiteY1810" fmla="*/ 3871268 h 6246035"/>
                <a:gd name="connsiteX1811" fmla="*/ 769193 w 11683878"/>
                <a:gd name="connsiteY1811" fmla="*/ 3853027 h 6246035"/>
                <a:gd name="connsiteX1812" fmla="*/ 5313182 w 11683878"/>
                <a:gd name="connsiteY1812" fmla="*/ 3851645 h 6246035"/>
                <a:gd name="connsiteX1813" fmla="*/ 5313200 w 11683878"/>
                <a:gd name="connsiteY1813" fmla="*/ 3851973 h 6246035"/>
                <a:gd name="connsiteX1814" fmla="*/ 5390668 w 11683878"/>
                <a:gd name="connsiteY1814" fmla="*/ 3902662 h 6246035"/>
                <a:gd name="connsiteX1815" fmla="*/ 5394909 w 11683878"/>
                <a:gd name="connsiteY1815" fmla="*/ 3922588 h 6246035"/>
                <a:gd name="connsiteX1816" fmla="*/ 5396995 w 11683878"/>
                <a:gd name="connsiteY1816" fmla="*/ 3921658 h 6246035"/>
                <a:gd name="connsiteX1817" fmla="*/ 5390668 w 11683878"/>
                <a:gd name="connsiteY1817" fmla="*/ 3902662 h 6246035"/>
                <a:gd name="connsiteX1818" fmla="*/ 5313203 w 11683878"/>
                <a:gd name="connsiteY1818" fmla="*/ 3851973 h 6246035"/>
                <a:gd name="connsiteX1819" fmla="*/ 3096722 w 11683878"/>
                <a:gd name="connsiteY1819" fmla="*/ 3845096 h 6246035"/>
                <a:gd name="connsiteX1820" fmla="*/ 3073788 w 11683878"/>
                <a:gd name="connsiteY1820" fmla="*/ 3856240 h 6246035"/>
                <a:gd name="connsiteX1821" fmla="*/ 3093897 w 11683878"/>
                <a:gd name="connsiteY1821" fmla="*/ 3848074 h 6246035"/>
                <a:gd name="connsiteX1822" fmla="*/ 3114280 w 11683878"/>
                <a:gd name="connsiteY1822" fmla="*/ 3862838 h 6246035"/>
                <a:gd name="connsiteX1823" fmla="*/ 3114245 w 11683878"/>
                <a:gd name="connsiteY1823" fmla="*/ 3862867 h 6246035"/>
                <a:gd name="connsiteX1824" fmla="*/ 3114282 w 11683878"/>
                <a:gd name="connsiteY1824" fmla="*/ 3862838 h 6246035"/>
                <a:gd name="connsiteX1825" fmla="*/ 748267 w 11683878"/>
                <a:gd name="connsiteY1825" fmla="*/ 3842667 h 6246035"/>
                <a:gd name="connsiteX1826" fmla="*/ 756568 w 11683878"/>
                <a:gd name="connsiteY1826" fmla="*/ 3854873 h 6246035"/>
                <a:gd name="connsiteX1827" fmla="*/ 769192 w 11683878"/>
                <a:gd name="connsiteY1827" fmla="*/ 3853026 h 6246035"/>
                <a:gd name="connsiteX1828" fmla="*/ 4727324 w 11683878"/>
                <a:gd name="connsiteY1828" fmla="*/ 3841559 h 6246035"/>
                <a:gd name="connsiteX1829" fmla="*/ 4727267 w 11683878"/>
                <a:gd name="connsiteY1829" fmla="*/ 3841697 h 6246035"/>
                <a:gd name="connsiteX1830" fmla="*/ 4749705 w 11683878"/>
                <a:gd name="connsiteY1830" fmla="*/ 3856673 h 6246035"/>
                <a:gd name="connsiteX1831" fmla="*/ 3114167 w 11683878"/>
                <a:gd name="connsiteY1831" fmla="*/ 3836620 h 6246035"/>
                <a:gd name="connsiteX1832" fmla="*/ 3097345 w 11683878"/>
                <a:gd name="connsiteY1832" fmla="*/ 3844793 h 6246035"/>
                <a:gd name="connsiteX1833" fmla="*/ 3105625 w 11683878"/>
                <a:gd name="connsiteY1833" fmla="*/ 3850152 h 6246035"/>
                <a:gd name="connsiteX1834" fmla="*/ 3122967 w 11683878"/>
                <a:gd name="connsiteY1834" fmla="*/ 3832344 h 6246035"/>
                <a:gd name="connsiteX1835" fmla="*/ 3120538 w 11683878"/>
                <a:gd name="connsiteY1835" fmla="*/ 3833524 h 6246035"/>
                <a:gd name="connsiteX1836" fmla="*/ 3179289 w 11683878"/>
                <a:gd name="connsiteY1836" fmla="*/ 3896001 h 6246035"/>
                <a:gd name="connsiteX1837" fmla="*/ 7152798 w 11683878"/>
                <a:gd name="connsiteY1837" fmla="*/ 3826570 h 6246035"/>
                <a:gd name="connsiteX1838" fmla="*/ 7120013 w 11683878"/>
                <a:gd name="connsiteY1838" fmla="*/ 3833023 h 6246035"/>
                <a:gd name="connsiteX1839" fmla="*/ 7120098 w 11683878"/>
                <a:gd name="connsiteY1839" fmla="*/ 3833128 h 6246035"/>
                <a:gd name="connsiteX1840" fmla="*/ 7152797 w 11683878"/>
                <a:gd name="connsiteY1840" fmla="*/ 3826572 h 6246035"/>
                <a:gd name="connsiteX1841" fmla="*/ 7161539 w 11683878"/>
                <a:gd name="connsiteY1841" fmla="*/ 3844821 h 6246035"/>
                <a:gd name="connsiteX1842" fmla="*/ 7161620 w 11683878"/>
                <a:gd name="connsiteY1842" fmla="*/ 3844573 h 6246035"/>
                <a:gd name="connsiteX1843" fmla="*/ 6925719 w 11683878"/>
                <a:gd name="connsiteY1843" fmla="*/ 3825802 h 6246035"/>
                <a:gd name="connsiteX1844" fmla="*/ 6924662 w 11683878"/>
                <a:gd name="connsiteY1844" fmla="*/ 3844323 h 6246035"/>
                <a:gd name="connsiteX1845" fmla="*/ 6924755 w 11683878"/>
                <a:gd name="connsiteY1845" fmla="*/ 3844247 h 6246035"/>
                <a:gd name="connsiteX1846" fmla="*/ 3059575 w 11683878"/>
                <a:gd name="connsiteY1846" fmla="*/ 3824378 h 6246035"/>
                <a:gd name="connsiteX1847" fmla="*/ 3073762 w 11683878"/>
                <a:gd name="connsiteY1847" fmla="*/ 3856250 h 6246035"/>
                <a:gd name="connsiteX1848" fmla="*/ 3073764 w 11683878"/>
                <a:gd name="connsiteY1848" fmla="*/ 3856249 h 6246035"/>
                <a:gd name="connsiteX1849" fmla="*/ 3059578 w 11683878"/>
                <a:gd name="connsiteY1849" fmla="*/ 3824378 h 6246035"/>
                <a:gd name="connsiteX1850" fmla="*/ 2507814 w 11683878"/>
                <a:gd name="connsiteY1850" fmla="*/ 3819033 h 6246035"/>
                <a:gd name="connsiteX1851" fmla="*/ 2502424 w 11683878"/>
                <a:gd name="connsiteY1851" fmla="*/ 3827338 h 6246035"/>
                <a:gd name="connsiteX1852" fmla="*/ 2485089 w 11683878"/>
                <a:gd name="connsiteY1852" fmla="*/ 3829965 h 6246035"/>
                <a:gd name="connsiteX1853" fmla="*/ 2485088 w 11683878"/>
                <a:gd name="connsiteY1853" fmla="*/ 3829967 h 6246035"/>
                <a:gd name="connsiteX1854" fmla="*/ 2503017 w 11683878"/>
                <a:gd name="connsiteY1854" fmla="*/ 3828253 h 6246035"/>
                <a:gd name="connsiteX1855" fmla="*/ 2483780 w 11683878"/>
                <a:gd name="connsiteY1855" fmla="*/ 3872623 h 6246035"/>
                <a:gd name="connsiteX1856" fmla="*/ 2485926 w 11683878"/>
                <a:gd name="connsiteY1856" fmla="*/ 3946304 h 6246035"/>
                <a:gd name="connsiteX1857" fmla="*/ 2485930 w 11683878"/>
                <a:gd name="connsiteY1857" fmla="*/ 3946309 h 6246035"/>
                <a:gd name="connsiteX1858" fmla="*/ 2483783 w 11683878"/>
                <a:gd name="connsiteY1858" fmla="*/ 3872628 h 6246035"/>
                <a:gd name="connsiteX1859" fmla="*/ 2351014 w 11683878"/>
                <a:gd name="connsiteY1859" fmla="*/ 3811237 h 6246035"/>
                <a:gd name="connsiteX1860" fmla="*/ 2346225 w 11683878"/>
                <a:gd name="connsiteY1860" fmla="*/ 3813725 h 6246035"/>
                <a:gd name="connsiteX1861" fmla="*/ 2345751 w 11683878"/>
                <a:gd name="connsiteY1861" fmla="*/ 3818900 h 6246035"/>
                <a:gd name="connsiteX1862" fmla="*/ 3866546 w 11683878"/>
                <a:gd name="connsiteY1862" fmla="*/ 3803613 h 6246035"/>
                <a:gd name="connsiteX1863" fmla="*/ 3996103 w 11683878"/>
                <a:gd name="connsiteY1863" fmla="*/ 3812163 h 6246035"/>
                <a:gd name="connsiteX1864" fmla="*/ 4000976 w 11683878"/>
                <a:gd name="connsiteY1864" fmla="*/ 3808091 h 6246035"/>
                <a:gd name="connsiteX1865" fmla="*/ 2471935 w 11683878"/>
                <a:gd name="connsiteY1865" fmla="*/ 3801494 h 6246035"/>
                <a:gd name="connsiteX1866" fmla="*/ 2471935 w 11683878"/>
                <a:gd name="connsiteY1866" fmla="*/ 3801495 h 6246035"/>
                <a:gd name="connsiteX1867" fmla="*/ 2488985 w 11683878"/>
                <a:gd name="connsiteY1867" fmla="*/ 3805478 h 6246035"/>
                <a:gd name="connsiteX1868" fmla="*/ 2488985 w 11683878"/>
                <a:gd name="connsiteY1868" fmla="*/ 3805477 h 6246035"/>
                <a:gd name="connsiteX1869" fmla="*/ 4187382 w 11683878"/>
                <a:gd name="connsiteY1869" fmla="*/ 3799626 h 6246035"/>
                <a:gd name="connsiteX1870" fmla="*/ 4187383 w 11683878"/>
                <a:gd name="connsiteY1870" fmla="*/ 3799629 h 6246035"/>
                <a:gd name="connsiteX1871" fmla="*/ 4247646 w 11683878"/>
                <a:gd name="connsiteY1871" fmla="*/ 3814789 h 6246035"/>
                <a:gd name="connsiteX1872" fmla="*/ 4245921 w 11683878"/>
                <a:gd name="connsiteY1872" fmla="*/ 3834157 h 6246035"/>
                <a:gd name="connsiteX1873" fmla="*/ 4290073 w 11683878"/>
                <a:gd name="connsiteY1873" fmla="*/ 3896765 h 6246035"/>
                <a:gd name="connsiteX1874" fmla="*/ 4299358 w 11683878"/>
                <a:gd name="connsiteY1874" fmla="*/ 3965235 h 6246035"/>
                <a:gd name="connsiteX1875" fmla="*/ 4331195 w 11683878"/>
                <a:gd name="connsiteY1875" fmla="*/ 3982007 h 6246035"/>
                <a:gd name="connsiteX1876" fmla="*/ 4331168 w 11683878"/>
                <a:gd name="connsiteY1876" fmla="*/ 3982098 h 6246035"/>
                <a:gd name="connsiteX1877" fmla="*/ 4331196 w 11683878"/>
                <a:gd name="connsiteY1877" fmla="*/ 3982007 h 6246035"/>
                <a:gd name="connsiteX1878" fmla="*/ 4299360 w 11683878"/>
                <a:gd name="connsiteY1878" fmla="*/ 3965235 h 6246035"/>
                <a:gd name="connsiteX1879" fmla="*/ 4290074 w 11683878"/>
                <a:gd name="connsiteY1879" fmla="*/ 3896766 h 6246035"/>
                <a:gd name="connsiteX1880" fmla="*/ 4245923 w 11683878"/>
                <a:gd name="connsiteY1880" fmla="*/ 3834158 h 6246035"/>
                <a:gd name="connsiteX1881" fmla="*/ 4247647 w 11683878"/>
                <a:gd name="connsiteY1881" fmla="*/ 3814789 h 6246035"/>
                <a:gd name="connsiteX1882" fmla="*/ 3767677 w 11683878"/>
                <a:gd name="connsiteY1882" fmla="*/ 3798405 h 6246035"/>
                <a:gd name="connsiteX1883" fmla="*/ 3785504 w 11683878"/>
                <a:gd name="connsiteY1883" fmla="*/ 3815604 h 6246035"/>
                <a:gd name="connsiteX1884" fmla="*/ 3785504 w 11683878"/>
                <a:gd name="connsiteY1884" fmla="*/ 3815605 h 6246035"/>
                <a:gd name="connsiteX1885" fmla="*/ 3790267 w 11683878"/>
                <a:gd name="connsiteY1885" fmla="*/ 3817530 h 6246035"/>
                <a:gd name="connsiteX1886" fmla="*/ 721692 w 11683878"/>
                <a:gd name="connsiteY1886" fmla="*/ 3797213 h 6246035"/>
                <a:gd name="connsiteX1887" fmla="*/ 719563 w 11683878"/>
                <a:gd name="connsiteY1887" fmla="*/ 3800460 h 6246035"/>
                <a:gd name="connsiteX1888" fmla="*/ 734128 w 11683878"/>
                <a:gd name="connsiteY1888" fmla="*/ 3821877 h 6246035"/>
                <a:gd name="connsiteX1889" fmla="*/ 2055941 w 11683878"/>
                <a:gd name="connsiteY1889" fmla="*/ 3793261 h 6246035"/>
                <a:gd name="connsiteX1890" fmla="*/ 2049334 w 11683878"/>
                <a:gd name="connsiteY1890" fmla="*/ 3833778 h 6246035"/>
                <a:gd name="connsiteX1891" fmla="*/ 2075610 w 11683878"/>
                <a:gd name="connsiteY1891" fmla="*/ 3865408 h 6246035"/>
                <a:gd name="connsiteX1892" fmla="*/ 2075611 w 11683878"/>
                <a:gd name="connsiteY1892" fmla="*/ 3865407 h 6246035"/>
                <a:gd name="connsiteX1893" fmla="*/ 2049335 w 11683878"/>
                <a:gd name="connsiteY1893" fmla="*/ 3833778 h 6246035"/>
                <a:gd name="connsiteX1894" fmla="*/ 2055942 w 11683878"/>
                <a:gd name="connsiteY1894" fmla="*/ 3793261 h 6246035"/>
                <a:gd name="connsiteX1895" fmla="*/ 6887994 w 11683878"/>
                <a:gd name="connsiteY1895" fmla="*/ 3790063 h 6246035"/>
                <a:gd name="connsiteX1896" fmla="*/ 6901240 w 11683878"/>
                <a:gd name="connsiteY1896" fmla="*/ 3815048 h 6246035"/>
                <a:gd name="connsiteX1897" fmla="*/ 6901411 w 11683878"/>
                <a:gd name="connsiteY1897" fmla="*/ 3815114 h 6246035"/>
                <a:gd name="connsiteX1898" fmla="*/ 2983216 w 11683878"/>
                <a:gd name="connsiteY1898" fmla="*/ 3788604 h 6246035"/>
                <a:gd name="connsiteX1899" fmla="*/ 2983180 w 11683878"/>
                <a:gd name="connsiteY1899" fmla="*/ 3788769 h 6246035"/>
                <a:gd name="connsiteX1900" fmla="*/ 2983559 w 11683878"/>
                <a:gd name="connsiteY1900" fmla="*/ 3788844 h 6246035"/>
                <a:gd name="connsiteX1901" fmla="*/ 2479396 w 11683878"/>
                <a:gd name="connsiteY1901" fmla="*/ 3775604 h 6246035"/>
                <a:gd name="connsiteX1902" fmla="*/ 2471975 w 11683878"/>
                <a:gd name="connsiteY1902" fmla="*/ 3801361 h 6246035"/>
                <a:gd name="connsiteX1903" fmla="*/ 2479447 w 11683878"/>
                <a:gd name="connsiteY1903" fmla="*/ 3775630 h 6246035"/>
                <a:gd name="connsiteX1904" fmla="*/ 2038793 w 11683878"/>
                <a:gd name="connsiteY1904" fmla="*/ 3770127 h 6246035"/>
                <a:gd name="connsiteX1905" fmla="*/ 2034405 w 11683878"/>
                <a:gd name="connsiteY1905" fmla="*/ 3776844 h 6246035"/>
                <a:gd name="connsiteX1906" fmla="*/ 2039601 w 11683878"/>
                <a:gd name="connsiteY1906" fmla="*/ 3794624 h 6246035"/>
                <a:gd name="connsiteX1907" fmla="*/ 2499193 w 11683878"/>
                <a:gd name="connsiteY1907" fmla="*/ 3766589 h 6246035"/>
                <a:gd name="connsiteX1908" fmla="*/ 2495001 w 11683878"/>
                <a:gd name="connsiteY1908" fmla="*/ 3783626 h 6246035"/>
                <a:gd name="connsiteX1909" fmla="*/ 2495065 w 11683878"/>
                <a:gd name="connsiteY1909" fmla="*/ 3783660 h 6246035"/>
                <a:gd name="connsiteX1910" fmla="*/ 2499322 w 11683878"/>
                <a:gd name="connsiteY1910" fmla="*/ 3766051 h 6246035"/>
                <a:gd name="connsiteX1911" fmla="*/ 2482351 w 11683878"/>
                <a:gd name="connsiteY1911" fmla="*/ 3767023 h 6246035"/>
                <a:gd name="connsiteX1912" fmla="*/ 2484611 w 11683878"/>
                <a:gd name="connsiteY1912" fmla="*/ 3771616 h 6246035"/>
                <a:gd name="connsiteX1913" fmla="*/ 2499322 w 11683878"/>
                <a:gd name="connsiteY1913" fmla="*/ 3766053 h 6246035"/>
                <a:gd name="connsiteX1914" fmla="*/ 1042344 w 11683878"/>
                <a:gd name="connsiteY1914" fmla="*/ 3753512 h 6246035"/>
                <a:gd name="connsiteX1915" fmla="*/ 1042044 w 11683878"/>
                <a:gd name="connsiteY1915" fmla="*/ 3753726 h 6246035"/>
                <a:gd name="connsiteX1916" fmla="*/ 1077454 w 11683878"/>
                <a:gd name="connsiteY1916" fmla="*/ 3793214 h 6246035"/>
                <a:gd name="connsiteX1917" fmla="*/ 1077454 w 11683878"/>
                <a:gd name="connsiteY1917" fmla="*/ 3793213 h 6246035"/>
                <a:gd name="connsiteX1918" fmla="*/ 2936729 w 11683878"/>
                <a:gd name="connsiteY1918" fmla="*/ 3749835 h 6246035"/>
                <a:gd name="connsiteX1919" fmla="*/ 2936774 w 11683878"/>
                <a:gd name="connsiteY1919" fmla="*/ 3752761 h 6246035"/>
                <a:gd name="connsiteX1920" fmla="*/ 2943253 w 11683878"/>
                <a:gd name="connsiteY1920" fmla="*/ 3752012 h 6246035"/>
                <a:gd name="connsiteX1921" fmla="*/ 6889949 w 11683878"/>
                <a:gd name="connsiteY1921" fmla="*/ 3749032 h 6246035"/>
                <a:gd name="connsiteX1922" fmla="*/ 6870279 w 11683878"/>
                <a:gd name="connsiteY1922" fmla="*/ 3756648 h 6246035"/>
                <a:gd name="connsiteX1923" fmla="*/ 6870534 w 11683878"/>
                <a:gd name="connsiteY1923" fmla="*/ 3757129 h 6246035"/>
                <a:gd name="connsiteX1924" fmla="*/ 6889959 w 11683878"/>
                <a:gd name="connsiteY1924" fmla="*/ 3749279 h 6246035"/>
                <a:gd name="connsiteX1925" fmla="*/ 8999476 w 11683878"/>
                <a:gd name="connsiteY1925" fmla="*/ 3739074 h 6246035"/>
                <a:gd name="connsiteX1926" fmla="*/ 8964386 w 11683878"/>
                <a:gd name="connsiteY1926" fmla="*/ 3790952 h 6246035"/>
                <a:gd name="connsiteX1927" fmla="*/ 8964404 w 11683878"/>
                <a:gd name="connsiteY1927" fmla="*/ 3791079 h 6246035"/>
                <a:gd name="connsiteX1928" fmla="*/ 8999476 w 11683878"/>
                <a:gd name="connsiteY1928" fmla="*/ 3739075 h 6246035"/>
                <a:gd name="connsiteX1929" fmla="*/ 9000993 w 11683878"/>
                <a:gd name="connsiteY1929" fmla="*/ 3739850 h 6246035"/>
                <a:gd name="connsiteX1930" fmla="*/ 2436210 w 11683878"/>
                <a:gd name="connsiteY1930" fmla="*/ 3738702 h 6246035"/>
                <a:gd name="connsiteX1931" fmla="*/ 2426166 w 11683878"/>
                <a:gd name="connsiteY1931" fmla="*/ 3746793 h 6246035"/>
                <a:gd name="connsiteX1932" fmla="*/ 2426482 w 11683878"/>
                <a:gd name="connsiteY1932" fmla="*/ 3748705 h 6246035"/>
                <a:gd name="connsiteX1933" fmla="*/ 1617940 w 11683878"/>
                <a:gd name="connsiteY1933" fmla="*/ 3736016 h 6246035"/>
                <a:gd name="connsiteX1934" fmla="*/ 1617935 w 11683878"/>
                <a:gd name="connsiteY1934" fmla="*/ 3736017 h 6246035"/>
                <a:gd name="connsiteX1935" fmla="*/ 1625651 w 11683878"/>
                <a:gd name="connsiteY1935" fmla="*/ 3763345 h 6246035"/>
                <a:gd name="connsiteX1936" fmla="*/ 1608448 w 11683878"/>
                <a:gd name="connsiteY1936" fmla="*/ 3776807 h 6246035"/>
                <a:gd name="connsiteX1937" fmla="*/ 1624057 w 11683878"/>
                <a:gd name="connsiteY1937" fmla="*/ 3791568 h 6246035"/>
                <a:gd name="connsiteX1938" fmla="*/ 1624378 w 11683878"/>
                <a:gd name="connsiteY1938" fmla="*/ 3791627 h 6246035"/>
                <a:gd name="connsiteX1939" fmla="*/ 1624061 w 11683878"/>
                <a:gd name="connsiteY1939" fmla="*/ 3791567 h 6246035"/>
                <a:gd name="connsiteX1940" fmla="*/ 1608452 w 11683878"/>
                <a:gd name="connsiteY1940" fmla="*/ 3776806 h 6246035"/>
                <a:gd name="connsiteX1941" fmla="*/ 1625655 w 11683878"/>
                <a:gd name="connsiteY1941" fmla="*/ 3763344 h 6246035"/>
                <a:gd name="connsiteX1942" fmla="*/ 2443363 w 11683878"/>
                <a:gd name="connsiteY1942" fmla="*/ 3732940 h 6246035"/>
                <a:gd name="connsiteX1943" fmla="*/ 2441907 w 11683878"/>
                <a:gd name="connsiteY1943" fmla="*/ 3734113 h 6246035"/>
                <a:gd name="connsiteX1944" fmla="*/ 2452006 w 11683878"/>
                <a:gd name="connsiteY1944" fmla="*/ 3735970 h 6246035"/>
                <a:gd name="connsiteX1945" fmla="*/ 2594563 w 11683878"/>
                <a:gd name="connsiteY1945" fmla="*/ 3731076 h 6246035"/>
                <a:gd name="connsiteX1946" fmla="*/ 2594570 w 11683878"/>
                <a:gd name="connsiteY1946" fmla="*/ 3731113 h 6246035"/>
                <a:gd name="connsiteX1947" fmla="*/ 2545726 w 11683878"/>
                <a:gd name="connsiteY1947" fmla="*/ 3760622 h 6246035"/>
                <a:gd name="connsiteX1948" fmla="*/ 2538757 w 11683878"/>
                <a:gd name="connsiteY1948" fmla="*/ 3771359 h 6246035"/>
                <a:gd name="connsiteX1949" fmla="*/ 2594573 w 11683878"/>
                <a:gd name="connsiteY1949" fmla="*/ 3731119 h 6246035"/>
                <a:gd name="connsiteX1950" fmla="*/ 9039460 w 11683878"/>
                <a:gd name="connsiteY1950" fmla="*/ 3727107 h 6246035"/>
                <a:gd name="connsiteX1951" fmla="*/ 9039269 w 11683878"/>
                <a:gd name="connsiteY1951" fmla="*/ 3727108 h 6246035"/>
                <a:gd name="connsiteX1952" fmla="*/ 9013553 w 11683878"/>
                <a:gd name="connsiteY1952" fmla="*/ 3746267 h 6246035"/>
                <a:gd name="connsiteX1953" fmla="*/ 9013586 w 11683878"/>
                <a:gd name="connsiteY1953" fmla="*/ 3746284 h 6246035"/>
                <a:gd name="connsiteX1954" fmla="*/ 2469393 w 11683878"/>
                <a:gd name="connsiteY1954" fmla="*/ 3724843 h 6246035"/>
                <a:gd name="connsiteX1955" fmla="*/ 2464270 w 11683878"/>
                <a:gd name="connsiteY1955" fmla="*/ 3738224 h 6246035"/>
                <a:gd name="connsiteX1956" fmla="*/ 2468579 w 11683878"/>
                <a:gd name="connsiteY1956" fmla="*/ 3739016 h 6246035"/>
                <a:gd name="connsiteX1957" fmla="*/ 2478240 w 11683878"/>
                <a:gd name="connsiteY1957" fmla="*/ 3758660 h 6246035"/>
                <a:gd name="connsiteX1958" fmla="*/ 5278156 w 11683878"/>
                <a:gd name="connsiteY1958" fmla="*/ 3722163 h 6246035"/>
                <a:gd name="connsiteX1959" fmla="*/ 5251321 w 11683878"/>
                <a:gd name="connsiteY1959" fmla="*/ 3728238 h 6246035"/>
                <a:gd name="connsiteX1960" fmla="*/ 5278156 w 11683878"/>
                <a:gd name="connsiteY1960" fmla="*/ 3722164 h 6246035"/>
                <a:gd name="connsiteX1961" fmla="*/ 2016612 w 11683878"/>
                <a:gd name="connsiteY1961" fmla="*/ 3718834 h 6246035"/>
                <a:gd name="connsiteX1962" fmla="*/ 2008311 w 11683878"/>
                <a:gd name="connsiteY1962" fmla="*/ 3748641 h 6246035"/>
                <a:gd name="connsiteX1963" fmla="*/ 2038455 w 11683878"/>
                <a:gd name="connsiteY1963" fmla="*/ 3759869 h 6246035"/>
                <a:gd name="connsiteX1964" fmla="*/ 2038331 w 11683878"/>
                <a:gd name="connsiteY1964" fmla="*/ 3756145 h 6246035"/>
                <a:gd name="connsiteX1965" fmla="*/ 2008311 w 11683878"/>
                <a:gd name="connsiteY1965" fmla="*/ 3748641 h 6246035"/>
                <a:gd name="connsiteX1966" fmla="*/ 2428943 w 11683878"/>
                <a:gd name="connsiteY1966" fmla="*/ 3714352 h 6246035"/>
                <a:gd name="connsiteX1967" fmla="*/ 2428943 w 11683878"/>
                <a:gd name="connsiteY1967" fmla="*/ 3714353 h 6246035"/>
                <a:gd name="connsiteX1968" fmla="*/ 2468511 w 11683878"/>
                <a:gd name="connsiteY1968" fmla="*/ 3721471 h 6246035"/>
                <a:gd name="connsiteX1969" fmla="*/ 2467087 w 11683878"/>
                <a:gd name="connsiteY1969" fmla="*/ 3716027 h 6246035"/>
                <a:gd name="connsiteX1970" fmla="*/ 6888391 w 11683878"/>
                <a:gd name="connsiteY1970" fmla="*/ 3712827 h 6246035"/>
                <a:gd name="connsiteX1971" fmla="*/ 6888391 w 11683878"/>
                <a:gd name="connsiteY1971" fmla="*/ 3712828 h 6246035"/>
                <a:gd name="connsiteX1972" fmla="*/ 6902984 w 11683878"/>
                <a:gd name="connsiteY1972" fmla="*/ 3718155 h 6246035"/>
                <a:gd name="connsiteX1973" fmla="*/ 6902985 w 11683878"/>
                <a:gd name="connsiteY1973" fmla="*/ 3718153 h 6246035"/>
                <a:gd name="connsiteX1974" fmla="*/ 9090943 w 11683878"/>
                <a:gd name="connsiteY1974" fmla="*/ 3707151 h 6246035"/>
                <a:gd name="connsiteX1975" fmla="*/ 9090859 w 11683878"/>
                <a:gd name="connsiteY1975" fmla="*/ 3707157 h 6246035"/>
                <a:gd name="connsiteX1976" fmla="*/ 9080360 w 11683878"/>
                <a:gd name="connsiteY1976" fmla="*/ 3726776 h 6246035"/>
                <a:gd name="connsiteX1977" fmla="*/ 9080525 w 11683878"/>
                <a:gd name="connsiteY1977" fmla="*/ 3726775 h 6246035"/>
                <a:gd name="connsiteX1978" fmla="*/ 3024507 w 11683878"/>
                <a:gd name="connsiteY1978" fmla="*/ 3705113 h 6246035"/>
                <a:gd name="connsiteX1979" fmla="*/ 3024506 w 11683878"/>
                <a:gd name="connsiteY1979" fmla="*/ 3705123 h 6246035"/>
                <a:gd name="connsiteX1980" fmla="*/ 3024501 w 11683878"/>
                <a:gd name="connsiteY1980" fmla="*/ 3705129 h 6246035"/>
                <a:gd name="connsiteX1981" fmla="*/ 3024507 w 11683878"/>
                <a:gd name="connsiteY1981" fmla="*/ 3705124 h 6246035"/>
                <a:gd name="connsiteX1982" fmla="*/ 9130882 w 11683878"/>
                <a:gd name="connsiteY1982" fmla="*/ 3704228 h 6246035"/>
                <a:gd name="connsiteX1983" fmla="*/ 9094983 w 11683878"/>
                <a:gd name="connsiteY1983" fmla="*/ 3706855 h 6246035"/>
                <a:gd name="connsiteX1984" fmla="*/ 9130866 w 11683878"/>
                <a:gd name="connsiteY1984" fmla="*/ 3704451 h 6246035"/>
                <a:gd name="connsiteX1985" fmla="*/ 2894661 w 11683878"/>
                <a:gd name="connsiteY1985" fmla="*/ 3686624 h 6246035"/>
                <a:gd name="connsiteX1986" fmla="*/ 2894652 w 11683878"/>
                <a:gd name="connsiteY1986" fmla="*/ 3686888 h 6246035"/>
                <a:gd name="connsiteX1987" fmla="*/ 2935908 w 11683878"/>
                <a:gd name="connsiteY1987" fmla="*/ 3696092 h 6246035"/>
                <a:gd name="connsiteX1988" fmla="*/ 7096552 w 11683878"/>
                <a:gd name="connsiteY1988" fmla="*/ 3686007 h 6246035"/>
                <a:gd name="connsiteX1989" fmla="*/ 7096958 w 11683878"/>
                <a:gd name="connsiteY1989" fmla="*/ 3686431 h 6246035"/>
                <a:gd name="connsiteX1990" fmla="*/ 7127482 w 11683878"/>
                <a:gd name="connsiteY1990" fmla="*/ 3765876 h 6246035"/>
                <a:gd name="connsiteX1991" fmla="*/ 7102591 w 11683878"/>
                <a:gd name="connsiteY1991" fmla="*/ 3811500 h 6246035"/>
                <a:gd name="connsiteX1992" fmla="*/ 7103637 w 11683878"/>
                <a:gd name="connsiteY1992" fmla="*/ 3812792 h 6246035"/>
                <a:gd name="connsiteX1993" fmla="*/ 7102743 w 11683878"/>
                <a:gd name="connsiteY1993" fmla="*/ 3811655 h 6246035"/>
                <a:gd name="connsiteX1994" fmla="*/ 7127649 w 11683878"/>
                <a:gd name="connsiteY1994" fmla="*/ 3766011 h 6246035"/>
                <a:gd name="connsiteX1995" fmla="*/ 7096959 w 11683878"/>
                <a:gd name="connsiteY1995" fmla="*/ 3686429 h 6246035"/>
                <a:gd name="connsiteX1996" fmla="*/ 6889433 w 11683878"/>
                <a:gd name="connsiteY1996" fmla="*/ 3683545 h 6246035"/>
                <a:gd name="connsiteX1997" fmla="*/ 6889243 w 11683878"/>
                <a:gd name="connsiteY1997" fmla="*/ 3684126 h 6246035"/>
                <a:gd name="connsiteX1998" fmla="*/ 6909796 w 11683878"/>
                <a:gd name="connsiteY1998" fmla="*/ 3704669 h 6246035"/>
                <a:gd name="connsiteX1999" fmla="*/ 5419328 w 11683878"/>
                <a:gd name="connsiteY1999" fmla="*/ 3673581 h 6246035"/>
                <a:gd name="connsiteX2000" fmla="*/ 5414580 w 11683878"/>
                <a:gd name="connsiteY2000" fmla="*/ 3685095 h 6246035"/>
                <a:gd name="connsiteX2001" fmla="*/ 5420228 w 11683878"/>
                <a:gd name="connsiteY2001" fmla="*/ 3679501 h 6246035"/>
                <a:gd name="connsiteX2002" fmla="*/ 2711210 w 11683878"/>
                <a:gd name="connsiteY2002" fmla="*/ 3666758 h 6246035"/>
                <a:gd name="connsiteX2003" fmla="*/ 2621762 w 11683878"/>
                <a:gd name="connsiteY2003" fmla="*/ 3691497 h 6246035"/>
                <a:gd name="connsiteX2004" fmla="*/ 2585132 w 11683878"/>
                <a:gd name="connsiteY2004" fmla="*/ 3672370 h 6246035"/>
                <a:gd name="connsiteX2005" fmla="*/ 2586021 w 11683878"/>
                <a:gd name="connsiteY2005" fmla="*/ 3677900 h 6246035"/>
                <a:gd name="connsiteX2006" fmla="*/ 2621763 w 11683878"/>
                <a:gd name="connsiteY2006" fmla="*/ 3691498 h 6246035"/>
                <a:gd name="connsiteX2007" fmla="*/ 2711420 w 11683878"/>
                <a:gd name="connsiteY2007" fmla="*/ 3667933 h 6246035"/>
                <a:gd name="connsiteX2008" fmla="*/ 705010 w 11683878"/>
                <a:gd name="connsiteY2008" fmla="*/ 3661769 h 6246035"/>
                <a:gd name="connsiteX2009" fmla="*/ 679046 w 11683878"/>
                <a:gd name="connsiteY2009" fmla="*/ 3675295 h 6246035"/>
                <a:gd name="connsiteX2010" fmla="*/ 679072 w 11683878"/>
                <a:gd name="connsiteY2010" fmla="*/ 3675336 h 6246035"/>
                <a:gd name="connsiteX2011" fmla="*/ 5171728 w 11683878"/>
                <a:gd name="connsiteY2011" fmla="*/ 3656749 h 6246035"/>
                <a:gd name="connsiteX2012" fmla="*/ 5138412 w 11683878"/>
                <a:gd name="connsiteY2012" fmla="*/ 3665374 h 6246035"/>
                <a:gd name="connsiteX2013" fmla="*/ 5138412 w 11683878"/>
                <a:gd name="connsiteY2013" fmla="*/ 3665375 h 6246035"/>
                <a:gd name="connsiteX2014" fmla="*/ 5171729 w 11683878"/>
                <a:gd name="connsiteY2014" fmla="*/ 3656750 h 6246035"/>
                <a:gd name="connsiteX2015" fmla="*/ 2895816 w 11683878"/>
                <a:gd name="connsiteY2015" fmla="*/ 3656691 h 6246035"/>
                <a:gd name="connsiteX2016" fmla="*/ 2894822 w 11683878"/>
                <a:gd name="connsiteY2016" fmla="*/ 3682474 h 6246035"/>
                <a:gd name="connsiteX2017" fmla="*/ 2897836 w 11683878"/>
                <a:gd name="connsiteY2017" fmla="*/ 3657255 h 6246035"/>
                <a:gd name="connsiteX2018" fmla="*/ 653818 w 11683878"/>
                <a:gd name="connsiteY2018" fmla="*/ 3654321 h 6246035"/>
                <a:gd name="connsiteX2019" fmla="*/ 652303 w 11683878"/>
                <a:gd name="connsiteY2019" fmla="*/ 3655598 h 6246035"/>
                <a:gd name="connsiteX2020" fmla="*/ 653940 w 11683878"/>
                <a:gd name="connsiteY2020" fmla="*/ 3654423 h 6246035"/>
                <a:gd name="connsiteX2021" fmla="*/ 1993187 w 11683878"/>
                <a:gd name="connsiteY2021" fmla="*/ 3653816 h 6246035"/>
                <a:gd name="connsiteX2022" fmla="*/ 2018873 w 11683878"/>
                <a:gd name="connsiteY2022" fmla="*/ 3671775 h 6246035"/>
                <a:gd name="connsiteX2023" fmla="*/ 1996969 w 11683878"/>
                <a:gd name="connsiteY2023" fmla="*/ 3680445 h 6246035"/>
                <a:gd name="connsiteX2024" fmla="*/ 2019117 w 11683878"/>
                <a:gd name="connsiteY2024" fmla="*/ 3709846 h 6246035"/>
                <a:gd name="connsiteX2025" fmla="*/ 2019117 w 11683878"/>
                <a:gd name="connsiteY2025" fmla="*/ 3709845 h 6246035"/>
                <a:gd name="connsiteX2026" fmla="*/ 1996970 w 11683878"/>
                <a:gd name="connsiteY2026" fmla="*/ 3680445 h 6246035"/>
                <a:gd name="connsiteX2027" fmla="*/ 2033643 w 11683878"/>
                <a:gd name="connsiteY2027" fmla="*/ 3674370 h 6246035"/>
                <a:gd name="connsiteX2028" fmla="*/ 1929380 w 11683878"/>
                <a:gd name="connsiteY2028" fmla="*/ 3644445 h 6246035"/>
                <a:gd name="connsiteX2029" fmla="*/ 1944518 w 11683878"/>
                <a:gd name="connsiteY2029" fmla="*/ 3656128 h 6246035"/>
                <a:gd name="connsiteX2030" fmla="*/ 1957122 w 11683878"/>
                <a:gd name="connsiteY2030" fmla="*/ 3648951 h 6246035"/>
                <a:gd name="connsiteX2031" fmla="*/ 1943230 w 11683878"/>
                <a:gd name="connsiteY2031" fmla="*/ 3655124 h 6246035"/>
                <a:gd name="connsiteX2032" fmla="*/ 2421718 w 11683878"/>
                <a:gd name="connsiteY2032" fmla="*/ 3643483 h 6246035"/>
                <a:gd name="connsiteX2033" fmla="*/ 2437845 w 11683878"/>
                <a:gd name="connsiteY2033" fmla="*/ 3679953 h 6246035"/>
                <a:gd name="connsiteX2034" fmla="*/ 2421959 w 11683878"/>
                <a:gd name="connsiteY2034" fmla="*/ 3643493 h 6246035"/>
                <a:gd name="connsiteX2035" fmla="*/ 1970043 w 11683878"/>
                <a:gd name="connsiteY2035" fmla="*/ 3643209 h 6246035"/>
                <a:gd name="connsiteX2036" fmla="*/ 1967897 w 11683878"/>
                <a:gd name="connsiteY2036" fmla="*/ 3644162 h 6246035"/>
                <a:gd name="connsiteX2037" fmla="*/ 1966911 w 11683878"/>
                <a:gd name="connsiteY2037" fmla="*/ 3660799 h 6246035"/>
                <a:gd name="connsiteX2038" fmla="*/ 1966912 w 11683878"/>
                <a:gd name="connsiteY2038" fmla="*/ 3660799 h 6246035"/>
                <a:gd name="connsiteX2039" fmla="*/ 1175489 w 11683878"/>
                <a:gd name="connsiteY2039" fmla="*/ 3642930 h 6246035"/>
                <a:gd name="connsiteX2040" fmla="*/ 1192350 w 11683878"/>
                <a:gd name="connsiteY2040" fmla="*/ 3660277 h 6246035"/>
                <a:gd name="connsiteX2041" fmla="*/ 1192350 w 11683878"/>
                <a:gd name="connsiteY2041" fmla="*/ 3660276 h 6246035"/>
                <a:gd name="connsiteX2042" fmla="*/ 2235969 w 11683878"/>
                <a:gd name="connsiteY2042" fmla="*/ 3638142 h 6246035"/>
                <a:gd name="connsiteX2043" fmla="*/ 2234567 w 11683878"/>
                <a:gd name="connsiteY2043" fmla="*/ 3653026 h 6246035"/>
                <a:gd name="connsiteX2044" fmla="*/ 2235971 w 11683878"/>
                <a:gd name="connsiteY2044" fmla="*/ 3638142 h 6246035"/>
                <a:gd name="connsiteX2045" fmla="*/ 2038635 w 11683878"/>
                <a:gd name="connsiteY2045" fmla="*/ 3637126 h 6246035"/>
                <a:gd name="connsiteX2046" fmla="*/ 2036686 w 11683878"/>
                <a:gd name="connsiteY2046" fmla="*/ 3673866 h 6246035"/>
                <a:gd name="connsiteX2047" fmla="*/ 2038596 w 11683878"/>
                <a:gd name="connsiteY2047" fmla="*/ 3673550 h 6246035"/>
                <a:gd name="connsiteX2048" fmla="*/ 2413755 w 11683878"/>
                <a:gd name="connsiteY2048" fmla="*/ 3632963 h 6246035"/>
                <a:gd name="connsiteX2049" fmla="*/ 2405173 w 11683878"/>
                <a:gd name="connsiteY2049" fmla="*/ 3642308 h 6246035"/>
                <a:gd name="connsiteX2050" fmla="*/ 2406198 w 11683878"/>
                <a:gd name="connsiteY2050" fmla="*/ 3642380 h 6246035"/>
                <a:gd name="connsiteX2051" fmla="*/ 9136236 w 11683878"/>
                <a:gd name="connsiteY2051" fmla="*/ 3631126 h 6246035"/>
                <a:gd name="connsiteX2052" fmla="*/ 9135810 w 11683878"/>
                <a:gd name="connsiteY2052" fmla="*/ 3631221 h 6246035"/>
                <a:gd name="connsiteX2053" fmla="*/ 9132873 w 11683878"/>
                <a:gd name="connsiteY2053" fmla="*/ 3677045 h 6246035"/>
                <a:gd name="connsiteX2054" fmla="*/ 688002 w 11683878"/>
                <a:gd name="connsiteY2054" fmla="*/ 3629962 h 6246035"/>
                <a:gd name="connsiteX2055" fmla="*/ 687995 w 11683878"/>
                <a:gd name="connsiteY2055" fmla="*/ 3629967 h 6246035"/>
                <a:gd name="connsiteX2056" fmla="*/ 688002 w 11683878"/>
                <a:gd name="connsiteY2056" fmla="*/ 3629963 h 6246035"/>
                <a:gd name="connsiteX2057" fmla="*/ 5420772 w 11683878"/>
                <a:gd name="connsiteY2057" fmla="*/ 3627258 h 6246035"/>
                <a:gd name="connsiteX2058" fmla="*/ 5435570 w 11683878"/>
                <a:gd name="connsiteY2058" fmla="*/ 3631616 h 6246035"/>
                <a:gd name="connsiteX2059" fmla="*/ 5436238 w 11683878"/>
                <a:gd name="connsiteY2059" fmla="*/ 3630757 h 6246035"/>
                <a:gd name="connsiteX2060" fmla="*/ 2022672 w 11683878"/>
                <a:gd name="connsiteY2060" fmla="*/ 3626288 h 6246035"/>
                <a:gd name="connsiteX2061" fmla="*/ 2030743 w 11683878"/>
                <a:gd name="connsiteY2061" fmla="*/ 3631748 h 6246035"/>
                <a:gd name="connsiteX2062" fmla="*/ 2022673 w 11683878"/>
                <a:gd name="connsiteY2062" fmla="*/ 3626288 h 6246035"/>
                <a:gd name="connsiteX2063" fmla="*/ 2375689 w 11683878"/>
                <a:gd name="connsiteY2063" fmla="*/ 3625381 h 6246035"/>
                <a:gd name="connsiteX2064" fmla="*/ 2414469 w 11683878"/>
                <a:gd name="connsiteY2064" fmla="*/ 3632072 h 6246035"/>
                <a:gd name="connsiteX2065" fmla="*/ 2414501 w 11683878"/>
                <a:gd name="connsiteY2065" fmla="*/ 3632033 h 6246035"/>
                <a:gd name="connsiteX2066" fmla="*/ 2375531 w 11683878"/>
                <a:gd name="connsiteY2066" fmla="*/ 3625354 h 6246035"/>
                <a:gd name="connsiteX2067" fmla="*/ 2350826 w 11683878"/>
                <a:gd name="connsiteY2067" fmla="*/ 3646685 h 6246035"/>
                <a:gd name="connsiteX2068" fmla="*/ 2350826 w 11683878"/>
                <a:gd name="connsiteY2068" fmla="*/ 3646686 h 6246035"/>
                <a:gd name="connsiteX2069" fmla="*/ 2375533 w 11683878"/>
                <a:gd name="connsiteY2069" fmla="*/ 3625354 h 6246035"/>
                <a:gd name="connsiteX2070" fmla="*/ 7011431 w 11683878"/>
                <a:gd name="connsiteY2070" fmla="*/ 3623430 h 6246035"/>
                <a:gd name="connsiteX2071" fmla="*/ 7004013 w 11683878"/>
                <a:gd name="connsiteY2071" fmla="*/ 3661868 h 6246035"/>
                <a:gd name="connsiteX2072" fmla="*/ 7070024 w 11683878"/>
                <a:gd name="connsiteY2072" fmla="*/ 3658518 h 6246035"/>
                <a:gd name="connsiteX2073" fmla="*/ 7069999 w 11683878"/>
                <a:gd name="connsiteY2073" fmla="*/ 3658492 h 6246035"/>
                <a:gd name="connsiteX2074" fmla="*/ 7004014 w 11683878"/>
                <a:gd name="connsiteY2074" fmla="*/ 3661866 h 6246035"/>
                <a:gd name="connsiteX2075" fmla="*/ 7011433 w 11683878"/>
                <a:gd name="connsiteY2075" fmla="*/ 3623430 h 6246035"/>
                <a:gd name="connsiteX2076" fmla="*/ 6949502 w 11683878"/>
                <a:gd name="connsiteY2076" fmla="*/ 3622783 h 6246035"/>
                <a:gd name="connsiteX2077" fmla="*/ 6949078 w 11683878"/>
                <a:gd name="connsiteY2077" fmla="*/ 3623000 h 6246035"/>
                <a:gd name="connsiteX2078" fmla="*/ 6949237 w 11683878"/>
                <a:gd name="connsiteY2078" fmla="*/ 3623053 h 6246035"/>
                <a:gd name="connsiteX2079" fmla="*/ 6902394 w 11683878"/>
                <a:gd name="connsiteY2079" fmla="*/ 3621536 h 6246035"/>
                <a:gd name="connsiteX2080" fmla="*/ 6906407 w 11683878"/>
                <a:gd name="connsiteY2080" fmla="*/ 3631280 h 6246035"/>
                <a:gd name="connsiteX2081" fmla="*/ 6906487 w 11683878"/>
                <a:gd name="connsiteY2081" fmla="*/ 3631039 h 6246035"/>
                <a:gd name="connsiteX2082" fmla="*/ 4926318 w 11683878"/>
                <a:gd name="connsiteY2082" fmla="*/ 3620571 h 6246035"/>
                <a:gd name="connsiteX2083" fmla="*/ 4875252 w 11683878"/>
                <a:gd name="connsiteY2083" fmla="*/ 3626905 h 6246035"/>
                <a:gd name="connsiteX2084" fmla="*/ 4926318 w 11683878"/>
                <a:gd name="connsiteY2084" fmla="*/ 3620571 h 6246035"/>
                <a:gd name="connsiteX2085" fmla="*/ 3703087 w 11683878"/>
                <a:gd name="connsiteY2085" fmla="*/ 3620061 h 6246035"/>
                <a:gd name="connsiteX2086" fmla="*/ 3774757 w 11683878"/>
                <a:gd name="connsiteY2086" fmla="*/ 3686791 h 6246035"/>
                <a:gd name="connsiteX2087" fmla="*/ 3774772 w 11683878"/>
                <a:gd name="connsiteY2087" fmla="*/ 3686549 h 6246035"/>
                <a:gd name="connsiteX2088" fmla="*/ 2290539 w 11683878"/>
                <a:gd name="connsiteY2088" fmla="*/ 3617036 h 6246035"/>
                <a:gd name="connsiteX2089" fmla="*/ 2265445 w 11683878"/>
                <a:gd name="connsiteY2089" fmla="*/ 3640026 h 6246035"/>
                <a:gd name="connsiteX2090" fmla="*/ 2265446 w 11683878"/>
                <a:gd name="connsiteY2090" fmla="*/ 3640026 h 6246035"/>
                <a:gd name="connsiteX2091" fmla="*/ 2289277 w 11683878"/>
                <a:gd name="connsiteY2091" fmla="*/ 3619874 h 6246035"/>
                <a:gd name="connsiteX2092" fmla="*/ 2728628 w 11683878"/>
                <a:gd name="connsiteY2092" fmla="*/ 3614215 h 6246035"/>
                <a:gd name="connsiteX2093" fmla="*/ 2727716 w 11683878"/>
                <a:gd name="connsiteY2093" fmla="*/ 3614417 h 6246035"/>
                <a:gd name="connsiteX2094" fmla="*/ 2727934 w 11683878"/>
                <a:gd name="connsiteY2094" fmla="*/ 3614500 h 6246035"/>
                <a:gd name="connsiteX2095" fmla="*/ 3148179 w 11683878"/>
                <a:gd name="connsiteY2095" fmla="*/ 3613539 h 6246035"/>
                <a:gd name="connsiteX2096" fmla="*/ 3101495 w 11683878"/>
                <a:gd name="connsiteY2096" fmla="*/ 3687727 h 6246035"/>
                <a:gd name="connsiteX2097" fmla="*/ 3029710 w 11683878"/>
                <a:gd name="connsiteY2097" fmla="*/ 3669320 h 6246035"/>
                <a:gd name="connsiteX2098" fmla="*/ 3029208 w 11683878"/>
                <a:gd name="connsiteY2098" fmla="*/ 3672773 h 6246035"/>
                <a:gd name="connsiteX2099" fmla="*/ 3101495 w 11683878"/>
                <a:gd name="connsiteY2099" fmla="*/ 3687728 h 6246035"/>
                <a:gd name="connsiteX2100" fmla="*/ 2700501 w 11683878"/>
                <a:gd name="connsiteY2100" fmla="*/ 3606623 h 6246035"/>
                <a:gd name="connsiteX2101" fmla="*/ 2694923 w 11683878"/>
                <a:gd name="connsiteY2101" fmla="*/ 3608321 h 6246035"/>
                <a:gd name="connsiteX2102" fmla="*/ 2696672 w 11683878"/>
                <a:gd name="connsiteY2102" fmla="*/ 3609193 h 6246035"/>
                <a:gd name="connsiteX2103" fmla="*/ 2707412 w 11683878"/>
                <a:gd name="connsiteY2103" fmla="*/ 3645429 h 6246035"/>
                <a:gd name="connsiteX2104" fmla="*/ 6895555 w 11683878"/>
                <a:gd name="connsiteY2104" fmla="*/ 3604932 h 6246035"/>
                <a:gd name="connsiteX2105" fmla="*/ 6895625 w 11683878"/>
                <a:gd name="connsiteY2105" fmla="*/ 3605101 h 6246035"/>
                <a:gd name="connsiteX2106" fmla="*/ 6924741 w 11683878"/>
                <a:gd name="connsiteY2106" fmla="*/ 3614851 h 6246035"/>
                <a:gd name="connsiteX2107" fmla="*/ 2151068 w 11683878"/>
                <a:gd name="connsiteY2107" fmla="*/ 3604639 h 6246035"/>
                <a:gd name="connsiteX2108" fmla="*/ 2151041 w 11683878"/>
                <a:gd name="connsiteY2108" fmla="*/ 3604656 h 6246035"/>
                <a:gd name="connsiteX2109" fmla="*/ 2151042 w 11683878"/>
                <a:gd name="connsiteY2109" fmla="*/ 3604656 h 6246035"/>
                <a:gd name="connsiteX2110" fmla="*/ 2717030 w 11683878"/>
                <a:gd name="connsiteY2110" fmla="*/ 3601592 h 6246035"/>
                <a:gd name="connsiteX2111" fmla="*/ 2704248 w 11683878"/>
                <a:gd name="connsiteY2111" fmla="*/ 3605483 h 6246035"/>
                <a:gd name="connsiteX2112" fmla="*/ 2724125 w 11683878"/>
                <a:gd name="connsiteY2112" fmla="*/ 3613050 h 6246035"/>
                <a:gd name="connsiteX2113" fmla="*/ 2326323 w 11683878"/>
                <a:gd name="connsiteY2113" fmla="*/ 3595027 h 6246035"/>
                <a:gd name="connsiteX2114" fmla="*/ 2318459 w 11683878"/>
                <a:gd name="connsiteY2114" fmla="*/ 3622175 h 6246035"/>
                <a:gd name="connsiteX2115" fmla="*/ 2319644 w 11683878"/>
                <a:gd name="connsiteY2115" fmla="*/ 3622403 h 6246035"/>
                <a:gd name="connsiteX2116" fmla="*/ 1888723 w 11683878"/>
                <a:gd name="connsiteY2116" fmla="*/ 3593699 h 6246035"/>
                <a:gd name="connsiteX2117" fmla="*/ 1893977 w 11683878"/>
                <a:gd name="connsiteY2117" fmla="*/ 3617019 h 6246035"/>
                <a:gd name="connsiteX2118" fmla="*/ 1900227 w 11683878"/>
                <a:gd name="connsiteY2118" fmla="*/ 3600535 h 6246035"/>
                <a:gd name="connsiteX2119" fmla="*/ 7008025 w 11683878"/>
                <a:gd name="connsiteY2119" fmla="*/ 3592799 h 6246035"/>
                <a:gd name="connsiteX2120" fmla="*/ 6996034 w 11683878"/>
                <a:gd name="connsiteY2120" fmla="*/ 3598942 h 6246035"/>
                <a:gd name="connsiteX2121" fmla="*/ 7008883 w 11683878"/>
                <a:gd name="connsiteY2121" fmla="*/ 3598008 h 6246035"/>
                <a:gd name="connsiteX2122" fmla="*/ 1243013 w 11683878"/>
                <a:gd name="connsiteY2122" fmla="*/ 3590100 h 6246035"/>
                <a:gd name="connsiteX2123" fmla="*/ 1169733 w 11683878"/>
                <a:gd name="connsiteY2123" fmla="*/ 3636890 h 6246035"/>
                <a:gd name="connsiteX2124" fmla="*/ 1243015 w 11683878"/>
                <a:gd name="connsiteY2124" fmla="*/ 3591927 h 6246035"/>
                <a:gd name="connsiteX2125" fmla="*/ 2660438 w 11683878"/>
                <a:gd name="connsiteY2125" fmla="*/ 3589781 h 6246035"/>
                <a:gd name="connsiteX2126" fmla="*/ 2659037 w 11683878"/>
                <a:gd name="connsiteY2126" fmla="*/ 3590430 h 6246035"/>
                <a:gd name="connsiteX2127" fmla="*/ 2660278 w 11683878"/>
                <a:gd name="connsiteY2127" fmla="*/ 3591049 h 6246035"/>
                <a:gd name="connsiteX2128" fmla="*/ 2176388 w 11683878"/>
                <a:gd name="connsiteY2128" fmla="*/ 3588845 h 6246035"/>
                <a:gd name="connsiteX2129" fmla="*/ 2176186 w 11683878"/>
                <a:gd name="connsiteY2129" fmla="*/ 3588970 h 6246035"/>
                <a:gd name="connsiteX2130" fmla="*/ 2234252 w 11683878"/>
                <a:gd name="connsiteY2130" fmla="*/ 3654371 h 6246035"/>
                <a:gd name="connsiteX2131" fmla="*/ 5396821 w 11683878"/>
                <a:gd name="connsiteY2131" fmla="*/ 3587489 h 6246035"/>
                <a:gd name="connsiteX2132" fmla="*/ 5396802 w 11683878"/>
                <a:gd name="connsiteY2132" fmla="*/ 3587495 h 6246035"/>
                <a:gd name="connsiteX2133" fmla="*/ 5416918 w 11683878"/>
                <a:gd name="connsiteY2133" fmla="*/ 3626123 h 6246035"/>
                <a:gd name="connsiteX2134" fmla="*/ 5417019 w 11683878"/>
                <a:gd name="connsiteY2134" fmla="*/ 3626153 h 6246035"/>
                <a:gd name="connsiteX2135" fmla="*/ 1898769 w 11683878"/>
                <a:gd name="connsiteY2135" fmla="*/ 3587044 h 6246035"/>
                <a:gd name="connsiteX2136" fmla="*/ 1887384 w 11683878"/>
                <a:gd name="connsiteY2136" fmla="*/ 3587758 h 6246035"/>
                <a:gd name="connsiteX2137" fmla="*/ 1888049 w 11683878"/>
                <a:gd name="connsiteY2137" fmla="*/ 3590707 h 6246035"/>
                <a:gd name="connsiteX2138" fmla="*/ 5082340 w 11683878"/>
                <a:gd name="connsiteY2138" fmla="*/ 3583538 h 6246035"/>
                <a:gd name="connsiteX2139" fmla="*/ 5016574 w 11683878"/>
                <a:gd name="connsiteY2139" fmla="*/ 3616753 h 6246035"/>
                <a:gd name="connsiteX2140" fmla="*/ 5002781 w 11683878"/>
                <a:gd name="connsiteY2140" fmla="*/ 3642829 h 6246035"/>
                <a:gd name="connsiteX2141" fmla="*/ 5002783 w 11683878"/>
                <a:gd name="connsiteY2141" fmla="*/ 3642830 h 6246035"/>
                <a:gd name="connsiteX2142" fmla="*/ 5016576 w 11683878"/>
                <a:gd name="connsiteY2142" fmla="*/ 3616752 h 6246035"/>
                <a:gd name="connsiteX2143" fmla="*/ 5082341 w 11683878"/>
                <a:gd name="connsiteY2143" fmla="*/ 3583538 h 6246035"/>
                <a:gd name="connsiteX2144" fmla="*/ 2813563 w 11683878"/>
                <a:gd name="connsiteY2144" fmla="*/ 3579387 h 6246035"/>
                <a:gd name="connsiteX2145" fmla="*/ 2813562 w 11683878"/>
                <a:gd name="connsiteY2145" fmla="*/ 3579388 h 6246035"/>
                <a:gd name="connsiteX2146" fmla="*/ 2833806 w 11683878"/>
                <a:gd name="connsiteY2146" fmla="*/ 3639396 h 6246035"/>
                <a:gd name="connsiteX2147" fmla="*/ 2833823 w 11683878"/>
                <a:gd name="connsiteY2147" fmla="*/ 3639400 h 6246035"/>
                <a:gd name="connsiteX2148" fmla="*/ 2833807 w 11683878"/>
                <a:gd name="connsiteY2148" fmla="*/ 3639396 h 6246035"/>
                <a:gd name="connsiteX2149" fmla="*/ 888090 w 11683878"/>
                <a:gd name="connsiteY2149" fmla="*/ 3576974 h 6246035"/>
                <a:gd name="connsiteX2150" fmla="*/ 874248 w 11683878"/>
                <a:gd name="connsiteY2150" fmla="*/ 3587584 h 6246035"/>
                <a:gd name="connsiteX2151" fmla="*/ 888090 w 11683878"/>
                <a:gd name="connsiteY2151" fmla="*/ 3576974 h 6246035"/>
                <a:gd name="connsiteX2152" fmla="*/ 1554788 w 11683878"/>
                <a:gd name="connsiteY2152" fmla="*/ 3575396 h 6246035"/>
                <a:gd name="connsiteX2153" fmla="*/ 1554785 w 11683878"/>
                <a:gd name="connsiteY2153" fmla="*/ 3575398 h 6246035"/>
                <a:gd name="connsiteX2154" fmla="*/ 1601541 w 11683878"/>
                <a:gd name="connsiteY2154" fmla="*/ 3634244 h 6246035"/>
                <a:gd name="connsiteX2155" fmla="*/ 1594707 w 11683878"/>
                <a:gd name="connsiteY2155" fmla="*/ 3686552 h 6246035"/>
                <a:gd name="connsiteX2156" fmla="*/ 1553603 w 11683878"/>
                <a:gd name="connsiteY2156" fmla="*/ 3709950 h 6246035"/>
                <a:gd name="connsiteX2157" fmla="*/ 1587113 w 11683878"/>
                <a:gd name="connsiteY2157" fmla="*/ 3745232 h 6246035"/>
                <a:gd name="connsiteX2158" fmla="*/ 1587117 w 11683878"/>
                <a:gd name="connsiteY2158" fmla="*/ 3745231 h 6246035"/>
                <a:gd name="connsiteX2159" fmla="*/ 1553607 w 11683878"/>
                <a:gd name="connsiteY2159" fmla="*/ 3709950 h 6246035"/>
                <a:gd name="connsiteX2160" fmla="*/ 1594711 w 11683878"/>
                <a:gd name="connsiteY2160" fmla="*/ 3686552 h 6246035"/>
                <a:gd name="connsiteX2161" fmla="*/ 1601547 w 11683878"/>
                <a:gd name="connsiteY2161" fmla="*/ 3634244 h 6246035"/>
                <a:gd name="connsiteX2162" fmla="*/ 2060864 w 11683878"/>
                <a:gd name="connsiteY2162" fmla="*/ 3572557 h 6246035"/>
                <a:gd name="connsiteX2163" fmla="*/ 2054434 w 11683878"/>
                <a:gd name="connsiteY2163" fmla="*/ 3574613 h 6246035"/>
                <a:gd name="connsiteX2164" fmla="*/ 2060864 w 11683878"/>
                <a:gd name="connsiteY2164" fmla="*/ 3572557 h 6246035"/>
                <a:gd name="connsiteX2165" fmla="*/ 9248130 w 11683878"/>
                <a:gd name="connsiteY2165" fmla="*/ 3568156 h 6246035"/>
                <a:gd name="connsiteX2166" fmla="*/ 9223687 w 11683878"/>
                <a:gd name="connsiteY2166" fmla="*/ 3611449 h 6246035"/>
                <a:gd name="connsiteX2167" fmla="*/ 9223866 w 11683878"/>
                <a:gd name="connsiteY2167" fmla="*/ 3611410 h 6246035"/>
                <a:gd name="connsiteX2168" fmla="*/ 7002168 w 11683878"/>
                <a:gd name="connsiteY2168" fmla="*/ 3566307 h 6246035"/>
                <a:gd name="connsiteX2169" fmla="*/ 7004489 w 11683878"/>
                <a:gd name="connsiteY2169" fmla="*/ 3571331 h 6246035"/>
                <a:gd name="connsiteX2170" fmla="*/ 7003718 w 11683878"/>
                <a:gd name="connsiteY2170" fmla="*/ 3566653 h 6246035"/>
                <a:gd name="connsiteX2171" fmla="*/ 1882179 w 11683878"/>
                <a:gd name="connsiteY2171" fmla="*/ 3564666 h 6246035"/>
                <a:gd name="connsiteX2172" fmla="*/ 1882613 w 11683878"/>
                <a:gd name="connsiteY2172" fmla="*/ 3566589 h 6246035"/>
                <a:gd name="connsiteX2173" fmla="*/ 1882724 w 11683878"/>
                <a:gd name="connsiteY2173" fmla="*/ 3564932 h 6246035"/>
                <a:gd name="connsiteX2174" fmla="*/ 6993633 w 11683878"/>
                <a:gd name="connsiteY2174" fmla="*/ 3564405 h 6246035"/>
                <a:gd name="connsiteX2175" fmla="*/ 6982565 w 11683878"/>
                <a:gd name="connsiteY2175" fmla="*/ 3574243 h 6246035"/>
                <a:gd name="connsiteX2176" fmla="*/ 6982567 w 11683878"/>
                <a:gd name="connsiteY2176" fmla="*/ 3574245 h 6246035"/>
                <a:gd name="connsiteX2177" fmla="*/ 6995458 w 11683878"/>
                <a:gd name="connsiteY2177" fmla="*/ 3564812 h 6246035"/>
                <a:gd name="connsiteX2178" fmla="*/ 6955844 w 11683878"/>
                <a:gd name="connsiteY2178" fmla="*/ 3557617 h 6246035"/>
                <a:gd name="connsiteX2179" fmla="*/ 6937844 w 11683878"/>
                <a:gd name="connsiteY2179" fmla="*/ 3565018 h 6246035"/>
                <a:gd name="connsiteX2180" fmla="*/ 6940109 w 11683878"/>
                <a:gd name="connsiteY2180" fmla="*/ 3566519 h 6246035"/>
                <a:gd name="connsiteX2181" fmla="*/ 6957730 w 11683878"/>
                <a:gd name="connsiteY2181" fmla="*/ 3556841 h 6246035"/>
                <a:gd name="connsiteX2182" fmla="*/ 6957536 w 11683878"/>
                <a:gd name="connsiteY2182" fmla="*/ 3556921 h 6246035"/>
                <a:gd name="connsiteX2183" fmla="*/ 6982437 w 11683878"/>
                <a:gd name="connsiteY2183" fmla="*/ 3574155 h 6246035"/>
                <a:gd name="connsiteX2184" fmla="*/ 924380 w 11683878"/>
                <a:gd name="connsiteY2184" fmla="*/ 3554578 h 6246035"/>
                <a:gd name="connsiteX2185" fmla="*/ 929980 w 11683878"/>
                <a:gd name="connsiteY2185" fmla="*/ 3574426 h 6246035"/>
                <a:gd name="connsiteX2186" fmla="*/ 920034 w 11683878"/>
                <a:gd name="connsiteY2186" fmla="*/ 3575031 h 6246035"/>
                <a:gd name="connsiteX2187" fmla="*/ 929984 w 11683878"/>
                <a:gd name="connsiteY2187" fmla="*/ 3574426 h 6246035"/>
                <a:gd name="connsiteX2188" fmla="*/ 924384 w 11683878"/>
                <a:gd name="connsiteY2188" fmla="*/ 3554578 h 6246035"/>
                <a:gd name="connsiteX2189" fmla="*/ 1856378 w 11683878"/>
                <a:gd name="connsiteY2189" fmla="*/ 3552096 h 6246035"/>
                <a:gd name="connsiteX2190" fmla="*/ 1849019 w 11683878"/>
                <a:gd name="connsiteY2190" fmla="*/ 3553347 h 6246035"/>
                <a:gd name="connsiteX2191" fmla="*/ 1880815 w 11683878"/>
                <a:gd name="connsiteY2191" fmla="*/ 3564002 h 6246035"/>
                <a:gd name="connsiteX2192" fmla="*/ 2700651 w 11683878"/>
                <a:gd name="connsiteY2192" fmla="*/ 3549571 h 6246035"/>
                <a:gd name="connsiteX2193" fmla="*/ 2716969 w 11683878"/>
                <a:gd name="connsiteY2193" fmla="*/ 3563611 h 6246035"/>
                <a:gd name="connsiteX2194" fmla="*/ 2675576 w 11683878"/>
                <a:gd name="connsiteY2194" fmla="*/ 3582773 h 6246035"/>
                <a:gd name="connsiteX2195" fmla="*/ 2688615 w 11683878"/>
                <a:gd name="connsiteY2195" fmla="*/ 3583809 h 6246035"/>
                <a:gd name="connsiteX2196" fmla="*/ 2716970 w 11683878"/>
                <a:gd name="connsiteY2196" fmla="*/ 3563612 h 6246035"/>
                <a:gd name="connsiteX2197" fmla="*/ 7010958 w 11683878"/>
                <a:gd name="connsiteY2197" fmla="*/ 3549006 h 6246035"/>
                <a:gd name="connsiteX2198" fmla="*/ 7010800 w 11683878"/>
                <a:gd name="connsiteY2198" fmla="*/ 3549147 h 6246035"/>
                <a:gd name="connsiteX2199" fmla="*/ 7045142 w 11683878"/>
                <a:gd name="connsiteY2199" fmla="*/ 3615580 h 6246035"/>
                <a:gd name="connsiteX2200" fmla="*/ 7045143 w 11683878"/>
                <a:gd name="connsiteY2200" fmla="*/ 3615580 h 6246035"/>
                <a:gd name="connsiteX2201" fmla="*/ 7022717 w 11683878"/>
                <a:gd name="connsiteY2201" fmla="*/ 3557988 h 6246035"/>
                <a:gd name="connsiteX2202" fmla="*/ 2672056 w 11683878"/>
                <a:gd name="connsiteY2202" fmla="*/ 3548925 h 6246035"/>
                <a:gd name="connsiteX2203" fmla="*/ 2671920 w 11683878"/>
                <a:gd name="connsiteY2203" fmla="*/ 3549425 h 6246035"/>
                <a:gd name="connsiteX2204" fmla="*/ 2683647 w 11683878"/>
                <a:gd name="connsiteY2204" fmla="*/ 3572128 h 6246035"/>
                <a:gd name="connsiteX2205" fmla="*/ 2683648 w 11683878"/>
                <a:gd name="connsiteY2205" fmla="*/ 3572125 h 6246035"/>
                <a:gd name="connsiteX2206" fmla="*/ 2671921 w 11683878"/>
                <a:gd name="connsiteY2206" fmla="*/ 3549426 h 6246035"/>
                <a:gd name="connsiteX2207" fmla="*/ 827687 w 11683878"/>
                <a:gd name="connsiteY2207" fmla="*/ 3547257 h 6246035"/>
                <a:gd name="connsiteX2208" fmla="*/ 827260 w 11683878"/>
                <a:gd name="connsiteY2208" fmla="*/ 3550204 h 6246035"/>
                <a:gd name="connsiteX2209" fmla="*/ 862485 w 11683878"/>
                <a:gd name="connsiteY2209" fmla="*/ 3596555 h 6246035"/>
                <a:gd name="connsiteX2210" fmla="*/ 827688 w 11683878"/>
                <a:gd name="connsiteY2210" fmla="*/ 3547258 h 6246035"/>
                <a:gd name="connsiteX2211" fmla="*/ 2789249 w 11683878"/>
                <a:gd name="connsiteY2211" fmla="*/ 3541946 h 6246035"/>
                <a:gd name="connsiteX2212" fmla="*/ 2777066 w 11683878"/>
                <a:gd name="connsiteY2212" fmla="*/ 3594353 h 6246035"/>
                <a:gd name="connsiteX2213" fmla="*/ 2786946 w 11683878"/>
                <a:gd name="connsiteY2213" fmla="*/ 3590301 h 6246035"/>
                <a:gd name="connsiteX2214" fmla="*/ 2280616 w 11683878"/>
                <a:gd name="connsiteY2214" fmla="*/ 3541934 h 6246035"/>
                <a:gd name="connsiteX2215" fmla="*/ 2308401 w 11683878"/>
                <a:gd name="connsiteY2215" fmla="*/ 3576885 h 6246035"/>
                <a:gd name="connsiteX2216" fmla="*/ 2308402 w 11683878"/>
                <a:gd name="connsiteY2216" fmla="*/ 3576884 h 6246035"/>
                <a:gd name="connsiteX2217" fmla="*/ 2326321 w 11683878"/>
                <a:gd name="connsiteY2217" fmla="*/ 3594999 h 6246035"/>
                <a:gd name="connsiteX2218" fmla="*/ 1797024 w 11683878"/>
                <a:gd name="connsiteY2218" fmla="*/ 3534395 h 6246035"/>
                <a:gd name="connsiteX2219" fmla="*/ 1804620 w 11683878"/>
                <a:gd name="connsiteY2219" fmla="*/ 3560893 h 6246035"/>
                <a:gd name="connsiteX2220" fmla="*/ 1804621 w 11683878"/>
                <a:gd name="connsiteY2220" fmla="*/ 3560893 h 6246035"/>
                <a:gd name="connsiteX2221" fmla="*/ 2769439 w 11683878"/>
                <a:gd name="connsiteY2221" fmla="*/ 3533374 h 6246035"/>
                <a:gd name="connsiteX2222" fmla="*/ 2789286 w 11683878"/>
                <a:gd name="connsiteY2222" fmla="*/ 3541143 h 6246035"/>
                <a:gd name="connsiteX2223" fmla="*/ 2789322 w 11683878"/>
                <a:gd name="connsiteY2223" fmla="*/ 3540425 h 6246035"/>
                <a:gd name="connsiteX2224" fmla="*/ 6844646 w 11683878"/>
                <a:gd name="connsiteY2224" fmla="*/ 3531857 h 6246035"/>
                <a:gd name="connsiteX2225" fmla="*/ 6835503 w 11683878"/>
                <a:gd name="connsiteY2225" fmla="*/ 3536495 h 6246035"/>
                <a:gd name="connsiteX2226" fmla="*/ 6854110 w 11683878"/>
                <a:gd name="connsiteY2226" fmla="*/ 3550586 h 6246035"/>
                <a:gd name="connsiteX2227" fmla="*/ 6856160 w 11683878"/>
                <a:gd name="connsiteY2227" fmla="*/ 3548978 h 6246035"/>
                <a:gd name="connsiteX2228" fmla="*/ 2648159 w 11683878"/>
                <a:gd name="connsiteY2228" fmla="*/ 3530419 h 6246035"/>
                <a:gd name="connsiteX2229" fmla="*/ 2648157 w 11683878"/>
                <a:gd name="connsiteY2229" fmla="*/ 3530422 h 6246035"/>
                <a:gd name="connsiteX2230" fmla="*/ 2652247 w 11683878"/>
                <a:gd name="connsiteY2230" fmla="*/ 3543678 h 6246035"/>
                <a:gd name="connsiteX2231" fmla="*/ 2652250 w 11683878"/>
                <a:gd name="connsiteY2231" fmla="*/ 3543676 h 6246035"/>
                <a:gd name="connsiteX2232" fmla="*/ 6882118 w 11683878"/>
                <a:gd name="connsiteY2232" fmla="*/ 3528203 h 6246035"/>
                <a:gd name="connsiteX2233" fmla="*/ 6878166 w 11683878"/>
                <a:gd name="connsiteY2233" fmla="*/ 3531705 h 6246035"/>
                <a:gd name="connsiteX2234" fmla="*/ 6882392 w 11683878"/>
                <a:gd name="connsiteY2234" fmla="*/ 3528389 h 6246035"/>
                <a:gd name="connsiteX2235" fmla="*/ 9249732 w 11683878"/>
                <a:gd name="connsiteY2235" fmla="*/ 3521640 h 6246035"/>
                <a:gd name="connsiteX2236" fmla="*/ 9249021 w 11683878"/>
                <a:gd name="connsiteY2236" fmla="*/ 3522518 h 6246035"/>
                <a:gd name="connsiteX2237" fmla="*/ 9256541 w 11683878"/>
                <a:gd name="connsiteY2237" fmla="*/ 3553163 h 6246035"/>
                <a:gd name="connsiteX2238" fmla="*/ 9256665 w 11683878"/>
                <a:gd name="connsiteY2238" fmla="*/ 3552941 h 6246035"/>
                <a:gd name="connsiteX2239" fmla="*/ 804180 w 11683878"/>
                <a:gd name="connsiteY2239" fmla="*/ 3519835 h 6246035"/>
                <a:gd name="connsiteX2240" fmla="*/ 777800 w 11683878"/>
                <a:gd name="connsiteY2240" fmla="*/ 3532483 h 6246035"/>
                <a:gd name="connsiteX2241" fmla="*/ 777800 w 11683878"/>
                <a:gd name="connsiteY2241" fmla="*/ 3532483 h 6246035"/>
                <a:gd name="connsiteX2242" fmla="*/ 1972931 w 11683878"/>
                <a:gd name="connsiteY2242" fmla="*/ 3513788 h 6246035"/>
                <a:gd name="connsiteX2243" fmla="*/ 1917067 w 11683878"/>
                <a:gd name="connsiteY2243" fmla="*/ 3580792 h 6246035"/>
                <a:gd name="connsiteX2244" fmla="*/ 1919860 w 11683878"/>
                <a:gd name="connsiteY2244" fmla="*/ 3579838 h 6246035"/>
                <a:gd name="connsiteX2245" fmla="*/ 2613369 w 11683878"/>
                <a:gd name="connsiteY2245" fmla="*/ 3508798 h 6246035"/>
                <a:gd name="connsiteX2246" fmla="*/ 2613368 w 11683878"/>
                <a:gd name="connsiteY2246" fmla="*/ 3508799 h 6246035"/>
                <a:gd name="connsiteX2247" fmla="*/ 2637452 w 11683878"/>
                <a:gd name="connsiteY2247" fmla="*/ 3549926 h 6246035"/>
                <a:gd name="connsiteX2248" fmla="*/ 2637452 w 11683878"/>
                <a:gd name="connsiteY2248" fmla="*/ 3549925 h 6246035"/>
                <a:gd name="connsiteX2249" fmla="*/ 2583180 w 11683878"/>
                <a:gd name="connsiteY2249" fmla="*/ 3505951 h 6246035"/>
                <a:gd name="connsiteX2250" fmla="*/ 2588480 w 11683878"/>
                <a:gd name="connsiteY2250" fmla="*/ 3527470 h 6246035"/>
                <a:gd name="connsiteX2251" fmla="*/ 2588483 w 11683878"/>
                <a:gd name="connsiteY2251" fmla="*/ 3527468 h 6246035"/>
                <a:gd name="connsiteX2252" fmla="*/ 2583182 w 11683878"/>
                <a:gd name="connsiteY2252" fmla="*/ 3505951 h 6246035"/>
                <a:gd name="connsiteX2253" fmla="*/ 2787934 w 11683878"/>
                <a:gd name="connsiteY2253" fmla="*/ 3504196 h 6246035"/>
                <a:gd name="connsiteX2254" fmla="*/ 2787934 w 11683878"/>
                <a:gd name="connsiteY2254" fmla="*/ 3504197 h 6246035"/>
                <a:gd name="connsiteX2255" fmla="*/ 2797699 w 11683878"/>
                <a:gd name="connsiteY2255" fmla="*/ 3523468 h 6246035"/>
                <a:gd name="connsiteX2256" fmla="*/ 2797699 w 11683878"/>
                <a:gd name="connsiteY2256" fmla="*/ 3523467 h 6246035"/>
                <a:gd name="connsiteX2257" fmla="*/ 1749832 w 11683878"/>
                <a:gd name="connsiteY2257" fmla="*/ 3503303 h 6246035"/>
                <a:gd name="connsiteX2258" fmla="*/ 1767452 w 11683878"/>
                <a:gd name="connsiteY2258" fmla="*/ 3526754 h 6246035"/>
                <a:gd name="connsiteX2259" fmla="*/ 1794705 w 11683878"/>
                <a:gd name="connsiteY2259" fmla="*/ 3527302 h 6246035"/>
                <a:gd name="connsiteX2260" fmla="*/ 1767431 w 11683878"/>
                <a:gd name="connsiteY2260" fmla="*/ 3526662 h 6246035"/>
                <a:gd name="connsiteX2261" fmla="*/ 1749833 w 11683878"/>
                <a:gd name="connsiteY2261" fmla="*/ 3503303 h 6246035"/>
                <a:gd name="connsiteX2262" fmla="*/ 2827024 w 11683878"/>
                <a:gd name="connsiteY2262" fmla="*/ 3502172 h 6246035"/>
                <a:gd name="connsiteX2263" fmla="*/ 2851137 w 11683878"/>
                <a:gd name="connsiteY2263" fmla="*/ 3509816 h 6246035"/>
                <a:gd name="connsiteX2264" fmla="*/ 2851137 w 11683878"/>
                <a:gd name="connsiteY2264" fmla="*/ 3509815 h 6246035"/>
                <a:gd name="connsiteX2265" fmla="*/ 984611 w 11683878"/>
                <a:gd name="connsiteY2265" fmla="*/ 3497189 h 6246035"/>
                <a:gd name="connsiteX2266" fmla="*/ 957725 w 11683878"/>
                <a:gd name="connsiteY2266" fmla="*/ 3505500 h 6246035"/>
                <a:gd name="connsiteX2267" fmla="*/ 942998 w 11683878"/>
                <a:gd name="connsiteY2267" fmla="*/ 3509949 h 6246035"/>
                <a:gd name="connsiteX2268" fmla="*/ 955550 w 11683878"/>
                <a:gd name="connsiteY2268" fmla="*/ 3528696 h 6246035"/>
                <a:gd name="connsiteX2269" fmla="*/ 937861 w 11683878"/>
                <a:gd name="connsiteY2269" fmla="*/ 3554333 h 6246035"/>
                <a:gd name="connsiteX2270" fmla="*/ 924386 w 11683878"/>
                <a:gd name="connsiteY2270" fmla="*/ 3554578 h 6246035"/>
                <a:gd name="connsiteX2271" fmla="*/ 936809 w 11683878"/>
                <a:gd name="connsiteY2271" fmla="*/ 3558360 h 6246035"/>
                <a:gd name="connsiteX2272" fmla="*/ 955554 w 11683878"/>
                <a:gd name="connsiteY2272" fmla="*/ 3528695 h 6246035"/>
                <a:gd name="connsiteX2273" fmla="*/ 947822 w 11683878"/>
                <a:gd name="connsiteY2273" fmla="*/ 3509854 h 6246035"/>
                <a:gd name="connsiteX2274" fmla="*/ 9270945 w 11683878"/>
                <a:gd name="connsiteY2274" fmla="*/ 3495411 h 6246035"/>
                <a:gd name="connsiteX2275" fmla="*/ 9269409 w 11683878"/>
                <a:gd name="connsiteY2275" fmla="*/ 3497310 h 6246035"/>
                <a:gd name="connsiteX2276" fmla="*/ 9270946 w 11683878"/>
                <a:gd name="connsiteY2276" fmla="*/ 3495413 h 6246035"/>
                <a:gd name="connsiteX2277" fmla="*/ 2567791 w 11683878"/>
                <a:gd name="connsiteY2277" fmla="*/ 3495240 h 6246035"/>
                <a:gd name="connsiteX2278" fmla="*/ 2561436 w 11683878"/>
                <a:gd name="connsiteY2278" fmla="*/ 3508931 h 6246035"/>
                <a:gd name="connsiteX2279" fmla="*/ 2561438 w 11683878"/>
                <a:gd name="connsiteY2279" fmla="*/ 3508931 h 6246035"/>
                <a:gd name="connsiteX2280" fmla="*/ 2568283 w 11683878"/>
                <a:gd name="connsiteY2280" fmla="*/ 3495389 h 6246035"/>
                <a:gd name="connsiteX2281" fmla="*/ 2702516 w 11683878"/>
                <a:gd name="connsiteY2281" fmla="*/ 3495178 h 6246035"/>
                <a:gd name="connsiteX2282" fmla="*/ 2689921 w 11683878"/>
                <a:gd name="connsiteY2282" fmla="*/ 3507658 h 6246035"/>
                <a:gd name="connsiteX2283" fmla="*/ 2694091 w 11683878"/>
                <a:gd name="connsiteY2283" fmla="*/ 3507601 h 6246035"/>
                <a:gd name="connsiteX2284" fmla="*/ 2704631 w 11683878"/>
                <a:gd name="connsiteY2284" fmla="*/ 3493080 h 6246035"/>
                <a:gd name="connsiteX2285" fmla="*/ 2704450 w 11683878"/>
                <a:gd name="connsiteY2285" fmla="*/ 3493261 h 6246035"/>
                <a:gd name="connsiteX2286" fmla="*/ 2715566 w 11683878"/>
                <a:gd name="connsiteY2286" fmla="*/ 3505479 h 6246035"/>
                <a:gd name="connsiteX2287" fmla="*/ 2678872 w 11683878"/>
                <a:gd name="connsiteY2287" fmla="*/ 3523982 h 6246035"/>
                <a:gd name="connsiteX2288" fmla="*/ 2678760 w 11683878"/>
                <a:gd name="connsiteY2288" fmla="*/ 3524396 h 6246035"/>
                <a:gd name="connsiteX2289" fmla="*/ 2715569 w 11683878"/>
                <a:gd name="connsiteY2289" fmla="*/ 3505481 h 6246035"/>
                <a:gd name="connsiteX2290" fmla="*/ 1199346 w 11683878"/>
                <a:gd name="connsiteY2290" fmla="*/ 3481789 h 6246035"/>
                <a:gd name="connsiteX2291" fmla="*/ 1199344 w 11683878"/>
                <a:gd name="connsiteY2291" fmla="*/ 3481790 h 6246035"/>
                <a:gd name="connsiteX2292" fmla="*/ 1235538 w 11683878"/>
                <a:gd name="connsiteY2292" fmla="*/ 3489968 h 6246035"/>
                <a:gd name="connsiteX2293" fmla="*/ 1235539 w 11683878"/>
                <a:gd name="connsiteY2293" fmla="*/ 3489967 h 6246035"/>
                <a:gd name="connsiteX2294" fmla="*/ 6832406 w 11683878"/>
                <a:gd name="connsiteY2294" fmla="*/ 3476931 h 6246035"/>
                <a:gd name="connsiteX2295" fmla="*/ 6823079 w 11683878"/>
                <a:gd name="connsiteY2295" fmla="*/ 3527088 h 6246035"/>
                <a:gd name="connsiteX2296" fmla="*/ 6827956 w 11683878"/>
                <a:gd name="connsiteY2296" fmla="*/ 3530781 h 6246035"/>
                <a:gd name="connsiteX2297" fmla="*/ 597577 w 11683878"/>
                <a:gd name="connsiteY2297" fmla="*/ 3473732 h 6246035"/>
                <a:gd name="connsiteX2298" fmla="*/ 597577 w 11683878"/>
                <a:gd name="connsiteY2298" fmla="*/ 3473732 h 6246035"/>
                <a:gd name="connsiteX2299" fmla="*/ 610660 w 11683878"/>
                <a:gd name="connsiteY2299" fmla="*/ 3474875 h 6246035"/>
                <a:gd name="connsiteX2300" fmla="*/ 610661 w 11683878"/>
                <a:gd name="connsiteY2300" fmla="*/ 3474875 h 6246035"/>
                <a:gd name="connsiteX2301" fmla="*/ 1256071 w 11683878"/>
                <a:gd name="connsiteY2301" fmla="*/ 3472712 h 6246035"/>
                <a:gd name="connsiteX2302" fmla="*/ 1238674 w 11683878"/>
                <a:gd name="connsiteY2302" fmla="*/ 3474318 h 6246035"/>
                <a:gd name="connsiteX2303" fmla="*/ 1235544 w 11683878"/>
                <a:gd name="connsiteY2303" fmla="*/ 3489960 h 6246035"/>
                <a:gd name="connsiteX2304" fmla="*/ 1248697 w 11683878"/>
                <a:gd name="connsiteY2304" fmla="*/ 3473522 h 6246035"/>
                <a:gd name="connsiteX2305" fmla="*/ 1248288 w 11683878"/>
                <a:gd name="connsiteY2305" fmla="*/ 3484578 h 6246035"/>
                <a:gd name="connsiteX2306" fmla="*/ 1252301 w 11683878"/>
                <a:gd name="connsiteY2306" fmla="*/ 3474554 h 6246035"/>
                <a:gd name="connsiteX2307" fmla="*/ 1459685 w 11683878"/>
                <a:gd name="connsiteY2307" fmla="*/ 3471944 h 6246035"/>
                <a:gd name="connsiteX2308" fmla="*/ 1473188 w 11683878"/>
                <a:gd name="connsiteY2308" fmla="*/ 3535842 h 6246035"/>
                <a:gd name="connsiteX2309" fmla="*/ 1529820 w 11683878"/>
                <a:gd name="connsiteY2309" fmla="*/ 3558092 h 6246035"/>
                <a:gd name="connsiteX2310" fmla="*/ 1540054 w 11683878"/>
                <a:gd name="connsiteY2310" fmla="*/ 3583896 h 6246035"/>
                <a:gd name="connsiteX2311" fmla="*/ 1540058 w 11683878"/>
                <a:gd name="connsiteY2311" fmla="*/ 3583893 h 6246035"/>
                <a:gd name="connsiteX2312" fmla="*/ 1529825 w 11683878"/>
                <a:gd name="connsiteY2312" fmla="*/ 3558091 h 6246035"/>
                <a:gd name="connsiteX2313" fmla="*/ 1473192 w 11683878"/>
                <a:gd name="connsiteY2313" fmla="*/ 3535842 h 6246035"/>
                <a:gd name="connsiteX2314" fmla="*/ 1467681 w 11683878"/>
                <a:gd name="connsiteY2314" fmla="*/ 3476966 h 6246035"/>
                <a:gd name="connsiteX2315" fmla="*/ 1469058 w 11683878"/>
                <a:gd name="connsiteY2315" fmla="*/ 3475436 h 6246035"/>
                <a:gd name="connsiteX2316" fmla="*/ 2546727 w 11683878"/>
                <a:gd name="connsiteY2316" fmla="*/ 3471279 h 6246035"/>
                <a:gd name="connsiteX2317" fmla="*/ 2543431 w 11683878"/>
                <a:gd name="connsiteY2317" fmla="*/ 3487943 h 6246035"/>
                <a:gd name="connsiteX2318" fmla="*/ 2548685 w 11683878"/>
                <a:gd name="connsiteY2318" fmla="*/ 3489476 h 6246035"/>
                <a:gd name="connsiteX2319" fmla="*/ 2543667 w 11683878"/>
                <a:gd name="connsiteY2319" fmla="*/ 3487962 h 6246035"/>
                <a:gd name="connsiteX2320" fmla="*/ 2256513 w 11683878"/>
                <a:gd name="connsiteY2320" fmla="*/ 3471192 h 6246035"/>
                <a:gd name="connsiteX2321" fmla="*/ 2238757 w 11683878"/>
                <a:gd name="connsiteY2321" fmla="*/ 3491031 h 6246035"/>
                <a:gd name="connsiteX2322" fmla="*/ 2238759 w 11683878"/>
                <a:gd name="connsiteY2322" fmla="*/ 3491032 h 6246035"/>
                <a:gd name="connsiteX2323" fmla="*/ 2256513 w 11683878"/>
                <a:gd name="connsiteY2323" fmla="*/ 3471193 h 6246035"/>
                <a:gd name="connsiteX2324" fmla="*/ 2293554 w 11683878"/>
                <a:gd name="connsiteY2324" fmla="*/ 3484237 h 6246035"/>
                <a:gd name="connsiteX2325" fmla="*/ 2293554 w 11683878"/>
                <a:gd name="connsiteY2325" fmla="*/ 3484236 h 6246035"/>
                <a:gd name="connsiteX2326" fmla="*/ 997572 w 11683878"/>
                <a:gd name="connsiteY2326" fmla="*/ 3469815 h 6246035"/>
                <a:gd name="connsiteX2327" fmla="*/ 991666 w 11683878"/>
                <a:gd name="connsiteY2327" fmla="*/ 3494623 h 6246035"/>
                <a:gd name="connsiteX2328" fmla="*/ 1006594 w 11683878"/>
                <a:gd name="connsiteY2328" fmla="*/ 3516047 h 6246035"/>
                <a:gd name="connsiteX2329" fmla="*/ 1006598 w 11683878"/>
                <a:gd name="connsiteY2329" fmla="*/ 3516047 h 6246035"/>
                <a:gd name="connsiteX2330" fmla="*/ 991671 w 11683878"/>
                <a:gd name="connsiteY2330" fmla="*/ 3494622 h 6246035"/>
                <a:gd name="connsiteX2331" fmla="*/ 998411 w 11683878"/>
                <a:gd name="connsiteY2331" fmla="*/ 3470453 h 6246035"/>
                <a:gd name="connsiteX2332" fmla="*/ 3360510 w 11683878"/>
                <a:gd name="connsiteY2332" fmla="*/ 3467767 h 6246035"/>
                <a:gd name="connsiteX2333" fmla="*/ 3322371 w 11683878"/>
                <a:gd name="connsiteY2333" fmla="*/ 3512318 h 6246035"/>
                <a:gd name="connsiteX2334" fmla="*/ 3336487 w 11683878"/>
                <a:gd name="connsiteY2334" fmla="*/ 3533863 h 6246035"/>
                <a:gd name="connsiteX2335" fmla="*/ 3320593 w 11683878"/>
                <a:gd name="connsiteY2335" fmla="*/ 3566305 h 6246035"/>
                <a:gd name="connsiteX2336" fmla="*/ 3223900 w 11683878"/>
                <a:gd name="connsiteY2336" fmla="*/ 3583857 h 6246035"/>
                <a:gd name="connsiteX2337" fmla="*/ 3214447 w 11683878"/>
                <a:gd name="connsiteY2337" fmla="*/ 3636728 h 6246035"/>
                <a:gd name="connsiteX2338" fmla="*/ 3178980 w 11683878"/>
                <a:gd name="connsiteY2338" fmla="*/ 3643328 h 6246035"/>
                <a:gd name="connsiteX2339" fmla="*/ 3178979 w 11683878"/>
                <a:gd name="connsiteY2339" fmla="*/ 3643329 h 6246035"/>
                <a:gd name="connsiteX2340" fmla="*/ 3214447 w 11683878"/>
                <a:gd name="connsiteY2340" fmla="*/ 3636729 h 6246035"/>
                <a:gd name="connsiteX2341" fmla="*/ 3223900 w 11683878"/>
                <a:gd name="connsiteY2341" fmla="*/ 3583858 h 6246035"/>
                <a:gd name="connsiteX2342" fmla="*/ 3320594 w 11683878"/>
                <a:gd name="connsiteY2342" fmla="*/ 3566305 h 6246035"/>
                <a:gd name="connsiteX2343" fmla="*/ 3336488 w 11683878"/>
                <a:gd name="connsiteY2343" fmla="*/ 3533864 h 6246035"/>
                <a:gd name="connsiteX2344" fmla="*/ 3322371 w 11683878"/>
                <a:gd name="connsiteY2344" fmla="*/ 3512318 h 6246035"/>
                <a:gd name="connsiteX2345" fmla="*/ 3360511 w 11683878"/>
                <a:gd name="connsiteY2345" fmla="*/ 3467768 h 6246035"/>
                <a:gd name="connsiteX2346" fmla="*/ 2548793 w 11683878"/>
                <a:gd name="connsiteY2346" fmla="*/ 3465676 h 6246035"/>
                <a:gd name="connsiteX2347" fmla="*/ 2576586 w 11683878"/>
                <a:gd name="connsiteY2347" fmla="*/ 3471250 h 6246035"/>
                <a:gd name="connsiteX2348" fmla="*/ 2576107 w 11683878"/>
                <a:gd name="connsiteY2348" fmla="*/ 3470906 h 6246035"/>
                <a:gd name="connsiteX2349" fmla="*/ 2563581 w 11683878"/>
                <a:gd name="connsiteY2349" fmla="*/ 3458567 h 6246035"/>
                <a:gd name="connsiteX2350" fmla="*/ 2560560 w 11683878"/>
                <a:gd name="connsiteY2350" fmla="*/ 3459577 h 6246035"/>
                <a:gd name="connsiteX2351" fmla="*/ 2562848 w 11683878"/>
                <a:gd name="connsiteY2351" fmla="*/ 3461226 h 6246035"/>
                <a:gd name="connsiteX2352" fmla="*/ 6833156 w 11683878"/>
                <a:gd name="connsiteY2352" fmla="*/ 3454879 h 6246035"/>
                <a:gd name="connsiteX2353" fmla="*/ 6833110 w 11683878"/>
                <a:gd name="connsiteY2353" fmla="*/ 3454940 h 6246035"/>
                <a:gd name="connsiteX2354" fmla="*/ 6851820 w 11683878"/>
                <a:gd name="connsiteY2354" fmla="*/ 3478386 h 6246035"/>
                <a:gd name="connsiteX2355" fmla="*/ 1072701 w 11683878"/>
                <a:gd name="connsiteY2355" fmla="*/ 3452536 h 6246035"/>
                <a:gd name="connsiteX2356" fmla="*/ 1060904 w 11683878"/>
                <a:gd name="connsiteY2356" fmla="*/ 3488045 h 6246035"/>
                <a:gd name="connsiteX2357" fmla="*/ 1060904 w 11683878"/>
                <a:gd name="connsiteY2357" fmla="*/ 3488045 h 6246035"/>
                <a:gd name="connsiteX2358" fmla="*/ 1072702 w 11683878"/>
                <a:gd name="connsiteY2358" fmla="*/ 3452536 h 6246035"/>
                <a:gd name="connsiteX2359" fmla="*/ 1723538 w 11683878"/>
                <a:gd name="connsiteY2359" fmla="*/ 3450566 h 6246035"/>
                <a:gd name="connsiteX2360" fmla="*/ 1734916 w 11683878"/>
                <a:gd name="connsiteY2360" fmla="*/ 3511848 h 6246035"/>
                <a:gd name="connsiteX2361" fmla="*/ 1744436 w 11683878"/>
                <a:gd name="connsiteY2361" fmla="*/ 3506394 h 6246035"/>
                <a:gd name="connsiteX2362" fmla="*/ 1734916 w 11683878"/>
                <a:gd name="connsiteY2362" fmla="*/ 3511847 h 6246035"/>
                <a:gd name="connsiteX2363" fmla="*/ 1302816 w 11683878"/>
                <a:gd name="connsiteY2363" fmla="*/ 3447066 h 6246035"/>
                <a:gd name="connsiteX2364" fmla="*/ 1296441 w 11683878"/>
                <a:gd name="connsiteY2364" fmla="*/ 3452985 h 6246035"/>
                <a:gd name="connsiteX2365" fmla="*/ 1302893 w 11683878"/>
                <a:gd name="connsiteY2365" fmla="*/ 3449832 h 6246035"/>
                <a:gd name="connsiteX2366" fmla="*/ 1486416 w 11683878"/>
                <a:gd name="connsiteY2366" fmla="*/ 3446295 h 6246035"/>
                <a:gd name="connsiteX2367" fmla="*/ 1481320 w 11683878"/>
                <a:gd name="connsiteY2367" fmla="*/ 3461817 h 6246035"/>
                <a:gd name="connsiteX2368" fmla="*/ 1484866 w 11683878"/>
                <a:gd name="connsiteY2368" fmla="*/ 3457878 h 6246035"/>
                <a:gd name="connsiteX2369" fmla="*/ 654138 w 11683878"/>
                <a:gd name="connsiteY2369" fmla="*/ 3437841 h 6246035"/>
                <a:gd name="connsiteX2370" fmla="*/ 652982 w 11683878"/>
                <a:gd name="connsiteY2370" fmla="*/ 3444600 h 6246035"/>
                <a:gd name="connsiteX2371" fmla="*/ 662062 w 11683878"/>
                <a:gd name="connsiteY2371" fmla="*/ 3441119 h 6246035"/>
                <a:gd name="connsiteX2372" fmla="*/ 652983 w 11683878"/>
                <a:gd name="connsiteY2372" fmla="*/ 3444599 h 6246035"/>
                <a:gd name="connsiteX2373" fmla="*/ 654427 w 11683878"/>
                <a:gd name="connsiteY2373" fmla="*/ 3436149 h 6246035"/>
                <a:gd name="connsiteX2374" fmla="*/ 651575 w 11683878"/>
                <a:gd name="connsiteY2374" fmla="*/ 3436714 h 6246035"/>
                <a:gd name="connsiteX2375" fmla="*/ 654427 w 11683878"/>
                <a:gd name="connsiteY2375" fmla="*/ 3436149 h 6246035"/>
                <a:gd name="connsiteX2376" fmla="*/ 5487657 w 11683878"/>
                <a:gd name="connsiteY2376" fmla="*/ 3433856 h 6246035"/>
                <a:gd name="connsiteX2377" fmla="*/ 5475887 w 11683878"/>
                <a:gd name="connsiteY2377" fmla="*/ 3529595 h 6246035"/>
                <a:gd name="connsiteX2378" fmla="*/ 5440688 w 11683878"/>
                <a:gd name="connsiteY2378" fmla="*/ 3541729 h 6246035"/>
                <a:gd name="connsiteX2379" fmla="*/ 5418172 w 11683878"/>
                <a:gd name="connsiteY2379" fmla="*/ 3580872 h 6246035"/>
                <a:gd name="connsiteX2380" fmla="*/ 5418317 w 11683878"/>
                <a:gd name="connsiteY2380" fmla="*/ 3580828 h 6246035"/>
                <a:gd name="connsiteX2381" fmla="*/ 5440683 w 11683878"/>
                <a:gd name="connsiteY2381" fmla="*/ 3541902 h 6246035"/>
                <a:gd name="connsiteX2382" fmla="*/ 5475889 w 11683878"/>
                <a:gd name="connsiteY2382" fmla="*/ 3529595 h 6246035"/>
                <a:gd name="connsiteX2383" fmla="*/ 5488896 w 11683878"/>
                <a:gd name="connsiteY2383" fmla="*/ 3444711 h 6246035"/>
                <a:gd name="connsiteX2384" fmla="*/ 839621 w 11683878"/>
                <a:gd name="connsiteY2384" fmla="*/ 3433533 h 6246035"/>
                <a:gd name="connsiteX2385" fmla="*/ 838323 w 11683878"/>
                <a:gd name="connsiteY2385" fmla="*/ 3436348 h 6246035"/>
                <a:gd name="connsiteX2386" fmla="*/ 840489 w 11683878"/>
                <a:gd name="connsiteY2386" fmla="*/ 3444357 h 6246035"/>
                <a:gd name="connsiteX2387" fmla="*/ 840485 w 11683878"/>
                <a:gd name="connsiteY2387" fmla="*/ 3444364 h 6246035"/>
                <a:gd name="connsiteX2388" fmla="*/ 840490 w 11683878"/>
                <a:gd name="connsiteY2388" fmla="*/ 3444358 h 6246035"/>
                <a:gd name="connsiteX2389" fmla="*/ 634214 w 11683878"/>
                <a:gd name="connsiteY2389" fmla="*/ 3428880 h 6246035"/>
                <a:gd name="connsiteX2390" fmla="*/ 634214 w 11683878"/>
                <a:gd name="connsiteY2390" fmla="*/ 3428881 h 6246035"/>
                <a:gd name="connsiteX2391" fmla="*/ 640163 w 11683878"/>
                <a:gd name="connsiteY2391" fmla="*/ 3438976 h 6246035"/>
                <a:gd name="connsiteX2392" fmla="*/ 640164 w 11683878"/>
                <a:gd name="connsiteY2392" fmla="*/ 3438976 h 6246035"/>
                <a:gd name="connsiteX2393" fmla="*/ 2534670 w 11683878"/>
                <a:gd name="connsiteY2393" fmla="*/ 3427601 h 6246035"/>
                <a:gd name="connsiteX2394" fmla="*/ 2535747 w 11683878"/>
                <a:gd name="connsiteY2394" fmla="*/ 3441709 h 6246035"/>
                <a:gd name="connsiteX2395" fmla="*/ 2543369 w 11683878"/>
                <a:gd name="connsiteY2395" fmla="*/ 3447199 h 6246035"/>
                <a:gd name="connsiteX2396" fmla="*/ 2169625 w 11683878"/>
                <a:gd name="connsiteY2396" fmla="*/ 3424747 h 6246035"/>
                <a:gd name="connsiteX2397" fmla="*/ 2169625 w 11683878"/>
                <a:gd name="connsiteY2397" fmla="*/ 3424748 h 6246035"/>
                <a:gd name="connsiteX2398" fmla="*/ 2201745 w 11683878"/>
                <a:gd name="connsiteY2398" fmla="*/ 3427840 h 6246035"/>
                <a:gd name="connsiteX2399" fmla="*/ 2203807 w 11683878"/>
                <a:gd name="connsiteY2399" fmla="*/ 3436403 h 6246035"/>
                <a:gd name="connsiteX2400" fmla="*/ 2201745 w 11683878"/>
                <a:gd name="connsiteY2400" fmla="*/ 3427839 h 6246035"/>
                <a:gd name="connsiteX2401" fmla="*/ 37399 w 11683878"/>
                <a:gd name="connsiteY2401" fmla="*/ 3416283 h 6246035"/>
                <a:gd name="connsiteX2402" fmla="*/ 39852 w 11683878"/>
                <a:gd name="connsiteY2402" fmla="*/ 3418288 h 6246035"/>
                <a:gd name="connsiteX2403" fmla="*/ 37399 w 11683878"/>
                <a:gd name="connsiteY2403" fmla="*/ 3416283 h 6246035"/>
                <a:gd name="connsiteX2404" fmla="*/ 1400036 w 11683878"/>
                <a:gd name="connsiteY2404" fmla="*/ 3413030 h 6246035"/>
                <a:gd name="connsiteX2405" fmla="*/ 1400031 w 11683878"/>
                <a:gd name="connsiteY2405" fmla="*/ 3413031 h 6246035"/>
                <a:gd name="connsiteX2406" fmla="*/ 1435767 w 11683878"/>
                <a:gd name="connsiteY2406" fmla="*/ 3463036 h 6246035"/>
                <a:gd name="connsiteX2407" fmla="*/ 1435772 w 11683878"/>
                <a:gd name="connsiteY2407" fmla="*/ 3463036 h 6246035"/>
                <a:gd name="connsiteX2408" fmla="*/ 1491190 w 11683878"/>
                <a:gd name="connsiteY2408" fmla="*/ 3410613 h 6246035"/>
                <a:gd name="connsiteX2409" fmla="*/ 1486939 w 11683878"/>
                <a:gd name="connsiteY2409" fmla="*/ 3412126 h 6246035"/>
                <a:gd name="connsiteX2410" fmla="*/ 1488114 w 11683878"/>
                <a:gd name="connsiteY2410" fmla="*/ 3433600 h 6246035"/>
                <a:gd name="connsiteX2411" fmla="*/ 9240882 w 11683878"/>
                <a:gd name="connsiteY2411" fmla="*/ 3409652 h 6246035"/>
                <a:gd name="connsiteX2412" fmla="*/ 9249864 w 11683878"/>
                <a:gd name="connsiteY2412" fmla="*/ 3438432 h 6246035"/>
                <a:gd name="connsiteX2413" fmla="*/ 9297372 w 11683878"/>
                <a:gd name="connsiteY2413" fmla="*/ 3512527 h 6246035"/>
                <a:gd name="connsiteX2414" fmla="*/ 9284371 w 11683878"/>
                <a:gd name="connsiteY2414" fmla="*/ 3517596 h 6246035"/>
                <a:gd name="connsiteX2415" fmla="*/ 9284528 w 11683878"/>
                <a:gd name="connsiteY2415" fmla="*/ 3517856 h 6246035"/>
                <a:gd name="connsiteX2416" fmla="*/ 9297374 w 11683878"/>
                <a:gd name="connsiteY2416" fmla="*/ 3512527 h 6246035"/>
                <a:gd name="connsiteX2417" fmla="*/ 2540078 w 11683878"/>
                <a:gd name="connsiteY2417" fmla="*/ 3408902 h 6246035"/>
                <a:gd name="connsiteX2418" fmla="*/ 2533623 w 11683878"/>
                <a:gd name="connsiteY2418" fmla="*/ 3413868 h 6246035"/>
                <a:gd name="connsiteX2419" fmla="*/ 2533989 w 11683878"/>
                <a:gd name="connsiteY2419" fmla="*/ 3418674 h 6246035"/>
                <a:gd name="connsiteX2420" fmla="*/ 5484715 w 11683878"/>
                <a:gd name="connsiteY2420" fmla="*/ 3408082 h 6246035"/>
                <a:gd name="connsiteX2421" fmla="*/ 5482088 w 11683878"/>
                <a:gd name="connsiteY2421" fmla="*/ 3408128 h 6246035"/>
                <a:gd name="connsiteX2422" fmla="*/ 5485032 w 11683878"/>
                <a:gd name="connsiteY2422" fmla="*/ 3410863 h 6246035"/>
                <a:gd name="connsiteX2423" fmla="*/ 2172988 w 11683878"/>
                <a:gd name="connsiteY2423" fmla="*/ 3408052 h 6246035"/>
                <a:gd name="connsiteX2424" fmla="*/ 2144228 w 11683878"/>
                <a:gd name="connsiteY2424" fmla="*/ 3422804 h 6246035"/>
                <a:gd name="connsiteX2425" fmla="*/ 2126536 w 11683878"/>
                <a:gd name="connsiteY2425" fmla="*/ 3415653 h 6246035"/>
                <a:gd name="connsiteX2426" fmla="*/ 2126536 w 11683878"/>
                <a:gd name="connsiteY2426" fmla="*/ 3415653 h 6246035"/>
                <a:gd name="connsiteX2427" fmla="*/ 2144228 w 11683878"/>
                <a:gd name="connsiteY2427" fmla="*/ 3422805 h 6246035"/>
                <a:gd name="connsiteX2428" fmla="*/ 2172988 w 11683878"/>
                <a:gd name="connsiteY2428" fmla="*/ 3408054 h 6246035"/>
                <a:gd name="connsiteX2429" fmla="*/ 852717 w 11683878"/>
                <a:gd name="connsiteY2429" fmla="*/ 3407839 h 6246035"/>
                <a:gd name="connsiteX2430" fmla="*/ 850501 w 11683878"/>
                <a:gd name="connsiteY2430" fmla="*/ 3408076 h 6246035"/>
                <a:gd name="connsiteX2431" fmla="*/ 851454 w 11683878"/>
                <a:gd name="connsiteY2431" fmla="*/ 3416769 h 6246035"/>
                <a:gd name="connsiteX2432" fmla="*/ 851449 w 11683878"/>
                <a:gd name="connsiteY2432" fmla="*/ 3416777 h 6246035"/>
                <a:gd name="connsiteX2433" fmla="*/ 851455 w 11683878"/>
                <a:gd name="connsiteY2433" fmla="*/ 3416769 h 6246035"/>
                <a:gd name="connsiteX2434" fmla="*/ 656899 w 11683878"/>
                <a:gd name="connsiteY2434" fmla="*/ 3403801 h 6246035"/>
                <a:gd name="connsiteX2435" fmla="*/ 666432 w 11683878"/>
                <a:gd name="connsiteY2435" fmla="*/ 3439357 h 6246035"/>
                <a:gd name="connsiteX2436" fmla="*/ 664527 w 11683878"/>
                <a:gd name="connsiteY2436" fmla="*/ 3431943 h 6246035"/>
                <a:gd name="connsiteX2437" fmla="*/ 1301824 w 11683878"/>
                <a:gd name="connsiteY2437" fmla="*/ 3401624 h 6246035"/>
                <a:gd name="connsiteX2438" fmla="*/ 1301842 w 11683878"/>
                <a:gd name="connsiteY2438" fmla="*/ 3401833 h 6246035"/>
                <a:gd name="connsiteX2439" fmla="*/ 1369419 w 11683878"/>
                <a:gd name="connsiteY2439" fmla="*/ 3420656 h 6246035"/>
                <a:gd name="connsiteX2440" fmla="*/ 1399546 w 11683878"/>
                <a:gd name="connsiteY2440" fmla="*/ 3413151 h 6246035"/>
                <a:gd name="connsiteX2441" fmla="*/ 1369256 w 11683878"/>
                <a:gd name="connsiteY2441" fmla="*/ 3420608 h 6246035"/>
                <a:gd name="connsiteX2442" fmla="*/ 2580296 w 11683878"/>
                <a:gd name="connsiteY2442" fmla="*/ 3397907 h 6246035"/>
                <a:gd name="connsiteX2443" fmla="*/ 2564122 w 11683878"/>
                <a:gd name="connsiteY2443" fmla="*/ 3447041 h 6246035"/>
                <a:gd name="connsiteX2444" fmla="*/ 2566289 w 11683878"/>
                <a:gd name="connsiteY2444" fmla="*/ 3448741 h 6246035"/>
                <a:gd name="connsiteX2445" fmla="*/ 2548897 w 11683878"/>
                <a:gd name="connsiteY2445" fmla="*/ 3394746 h 6246035"/>
                <a:gd name="connsiteX2446" fmla="*/ 2543662 w 11683878"/>
                <a:gd name="connsiteY2446" fmla="*/ 3396915 h 6246035"/>
                <a:gd name="connsiteX2447" fmla="*/ 2546436 w 11683878"/>
                <a:gd name="connsiteY2447" fmla="*/ 3398695 h 6246035"/>
                <a:gd name="connsiteX2448" fmla="*/ 72779 w 11683878"/>
                <a:gd name="connsiteY2448" fmla="*/ 3394695 h 6246035"/>
                <a:gd name="connsiteX2449" fmla="*/ 52117 w 11683878"/>
                <a:gd name="connsiteY2449" fmla="*/ 3428312 h 6246035"/>
                <a:gd name="connsiteX2450" fmla="*/ 52118 w 11683878"/>
                <a:gd name="connsiteY2450" fmla="*/ 3428312 h 6246035"/>
                <a:gd name="connsiteX2451" fmla="*/ 2062952 w 11683878"/>
                <a:gd name="connsiteY2451" fmla="*/ 3389678 h 6246035"/>
                <a:gd name="connsiteX2452" fmla="*/ 2060335 w 11683878"/>
                <a:gd name="connsiteY2452" fmla="*/ 3390912 h 6246035"/>
                <a:gd name="connsiteX2453" fmla="*/ 2062921 w 11683878"/>
                <a:gd name="connsiteY2453" fmla="*/ 3391956 h 6246035"/>
                <a:gd name="connsiteX2454" fmla="*/ 2192576 w 11683878"/>
                <a:gd name="connsiteY2454" fmla="*/ 3389254 h 6246035"/>
                <a:gd name="connsiteX2455" fmla="*/ 2192570 w 11683878"/>
                <a:gd name="connsiteY2455" fmla="*/ 3389264 h 6246035"/>
                <a:gd name="connsiteX2456" fmla="*/ 2192576 w 11683878"/>
                <a:gd name="connsiteY2456" fmla="*/ 3389256 h 6246035"/>
                <a:gd name="connsiteX2457" fmla="*/ 1981030 w 11683878"/>
                <a:gd name="connsiteY2457" fmla="*/ 3388752 h 6246035"/>
                <a:gd name="connsiteX2458" fmla="*/ 1978802 w 11683878"/>
                <a:gd name="connsiteY2458" fmla="*/ 3408023 h 6246035"/>
                <a:gd name="connsiteX2459" fmla="*/ 1984204 w 11683878"/>
                <a:gd name="connsiteY2459" fmla="*/ 3392268 h 6246035"/>
                <a:gd name="connsiteX2460" fmla="*/ 2138175 w 11683878"/>
                <a:gd name="connsiteY2460" fmla="*/ 3387228 h 6246035"/>
                <a:gd name="connsiteX2461" fmla="*/ 2135870 w 11683878"/>
                <a:gd name="connsiteY2461" fmla="*/ 3388457 h 6246035"/>
                <a:gd name="connsiteX2462" fmla="*/ 2140412 w 11683878"/>
                <a:gd name="connsiteY2462" fmla="*/ 3391754 h 6246035"/>
                <a:gd name="connsiteX2463" fmla="*/ 2126541 w 11683878"/>
                <a:gd name="connsiteY2463" fmla="*/ 3415645 h 6246035"/>
                <a:gd name="connsiteX2464" fmla="*/ 2146260 w 11683878"/>
                <a:gd name="connsiteY2464" fmla="*/ 3391102 h 6246035"/>
                <a:gd name="connsiteX2465" fmla="*/ 2199877 w 11683878"/>
                <a:gd name="connsiteY2465" fmla="*/ 3385419 h 6246035"/>
                <a:gd name="connsiteX2466" fmla="*/ 2188535 w 11683878"/>
                <a:gd name="connsiteY2466" fmla="*/ 3406628 h 6246035"/>
                <a:gd name="connsiteX2467" fmla="*/ 2188535 w 11683878"/>
                <a:gd name="connsiteY2467" fmla="*/ 3406631 h 6246035"/>
                <a:gd name="connsiteX2468" fmla="*/ 653036 w 11683878"/>
                <a:gd name="connsiteY2468" fmla="*/ 3384492 h 6246035"/>
                <a:gd name="connsiteX2469" fmla="*/ 652408 w 11683878"/>
                <a:gd name="connsiteY2469" fmla="*/ 3386675 h 6246035"/>
                <a:gd name="connsiteX2470" fmla="*/ 659111 w 11683878"/>
                <a:gd name="connsiteY2470" fmla="*/ 3390359 h 6246035"/>
                <a:gd name="connsiteX2471" fmla="*/ 656892 w 11683878"/>
                <a:gd name="connsiteY2471" fmla="*/ 3403774 h 6246035"/>
                <a:gd name="connsiteX2472" fmla="*/ 656892 w 11683878"/>
                <a:gd name="connsiteY2472" fmla="*/ 3403775 h 6246035"/>
                <a:gd name="connsiteX2473" fmla="*/ 659111 w 11683878"/>
                <a:gd name="connsiteY2473" fmla="*/ 3390359 h 6246035"/>
                <a:gd name="connsiteX2474" fmla="*/ 652408 w 11683878"/>
                <a:gd name="connsiteY2474" fmla="*/ 3386675 h 6246035"/>
                <a:gd name="connsiteX2475" fmla="*/ 661292 w 11683878"/>
                <a:gd name="connsiteY2475" fmla="*/ 3381413 h 6246035"/>
                <a:gd name="connsiteX2476" fmla="*/ 661736 w 11683878"/>
                <a:gd name="connsiteY2476" fmla="*/ 3382411 h 6246035"/>
                <a:gd name="connsiteX2477" fmla="*/ 661736 w 11683878"/>
                <a:gd name="connsiteY2477" fmla="*/ 3382411 h 6246035"/>
                <a:gd name="connsiteX2478" fmla="*/ 1480023 w 11683878"/>
                <a:gd name="connsiteY2478" fmla="*/ 3379099 h 6246035"/>
                <a:gd name="connsiteX2479" fmla="*/ 1461346 w 11683878"/>
                <a:gd name="connsiteY2479" fmla="*/ 3379742 h 6246035"/>
                <a:gd name="connsiteX2480" fmla="*/ 1461389 w 11683878"/>
                <a:gd name="connsiteY2480" fmla="*/ 3379873 h 6246035"/>
                <a:gd name="connsiteX2481" fmla="*/ 1480023 w 11683878"/>
                <a:gd name="connsiteY2481" fmla="*/ 3379099 h 6246035"/>
                <a:gd name="connsiteX2482" fmla="*/ 1469440 w 11683878"/>
                <a:gd name="connsiteY2482" fmla="*/ 3393894 h 6246035"/>
                <a:gd name="connsiteX2483" fmla="*/ 1473923 w 11683878"/>
                <a:gd name="connsiteY2483" fmla="*/ 3397143 h 6246035"/>
                <a:gd name="connsiteX2484" fmla="*/ 885635 w 11683878"/>
                <a:gd name="connsiteY2484" fmla="*/ 3378883 h 6246035"/>
                <a:gd name="connsiteX2485" fmla="*/ 877289 w 11683878"/>
                <a:gd name="connsiteY2485" fmla="*/ 3387249 h 6246035"/>
                <a:gd name="connsiteX2486" fmla="*/ 867899 w 11683878"/>
                <a:gd name="connsiteY2486" fmla="*/ 3396767 h 6246035"/>
                <a:gd name="connsiteX2487" fmla="*/ 869986 w 11683878"/>
                <a:gd name="connsiteY2487" fmla="*/ 3405987 h 6246035"/>
                <a:gd name="connsiteX2488" fmla="*/ 869981 w 11683878"/>
                <a:gd name="connsiteY2488" fmla="*/ 3405988 h 6246035"/>
                <a:gd name="connsiteX2489" fmla="*/ 869987 w 11683878"/>
                <a:gd name="connsiteY2489" fmla="*/ 3405988 h 6246035"/>
                <a:gd name="connsiteX2490" fmla="*/ 869373 w 11683878"/>
                <a:gd name="connsiteY2490" fmla="*/ 3396079 h 6246035"/>
                <a:gd name="connsiteX2491" fmla="*/ 877289 w 11683878"/>
                <a:gd name="connsiteY2491" fmla="*/ 3387250 h 6246035"/>
                <a:gd name="connsiteX2492" fmla="*/ 885636 w 11683878"/>
                <a:gd name="connsiteY2492" fmla="*/ 3378884 h 6246035"/>
                <a:gd name="connsiteX2493" fmla="*/ 2222760 w 11683878"/>
                <a:gd name="connsiteY2493" fmla="*/ 3378309 h 6246035"/>
                <a:gd name="connsiteX2494" fmla="*/ 2212937 w 11683878"/>
                <a:gd name="connsiteY2494" fmla="*/ 3398705 h 6246035"/>
                <a:gd name="connsiteX2495" fmla="*/ 2202959 w 11683878"/>
                <a:gd name="connsiteY2495" fmla="*/ 3388556 h 6246035"/>
                <a:gd name="connsiteX2496" fmla="*/ 2212981 w 11683878"/>
                <a:gd name="connsiteY2496" fmla="*/ 3398756 h 6246035"/>
                <a:gd name="connsiteX2497" fmla="*/ 2222619 w 11683878"/>
                <a:gd name="connsiteY2497" fmla="*/ 3378638 h 6246035"/>
                <a:gd name="connsiteX2498" fmla="*/ 2241923 w 11683878"/>
                <a:gd name="connsiteY2498" fmla="*/ 3384464 h 6246035"/>
                <a:gd name="connsiteX2499" fmla="*/ 5435103 w 11683878"/>
                <a:gd name="connsiteY2499" fmla="*/ 3376761 h 6246035"/>
                <a:gd name="connsiteX2500" fmla="*/ 5435520 w 11683878"/>
                <a:gd name="connsiteY2500" fmla="*/ 3376827 h 6246035"/>
                <a:gd name="connsiteX2501" fmla="*/ 5443137 w 11683878"/>
                <a:gd name="connsiteY2501" fmla="*/ 3408809 h 6246035"/>
                <a:gd name="connsiteX2502" fmla="*/ 5443141 w 11683878"/>
                <a:gd name="connsiteY2502" fmla="*/ 3408808 h 6246035"/>
                <a:gd name="connsiteX2503" fmla="*/ 5435523 w 11683878"/>
                <a:gd name="connsiteY2503" fmla="*/ 3376826 h 6246035"/>
                <a:gd name="connsiteX2504" fmla="*/ 880074 w 11683878"/>
                <a:gd name="connsiteY2504" fmla="*/ 3373710 h 6246035"/>
                <a:gd name="connsiteX2505" fmla="*/ 880078 w 11683878"/>
                <a:gd name="connsiteY2505" fmla="*/ 3373715 h 6246035"/>
                <a:gd name="connsiteX2506" fmla="*/ 883407 w 11683878"/>
                <a:gd name="connsiteY2506" fmla="*/ 3376810 h 6246035"/>
                <a:gd name="connsiteX2507" fmla="*/ 81881 w 11683878"/>
                <a:gd name="connsiteY2507" fmla="*/ 3371262 h 6246035"/>
                <a:gd name="connsiteX2508" fmla="*/ 68623 w 11683878"/>
                <a:gd name="connsiteY2508" fmla="*/ 3373637 h 6246035"/>
                <a:gd name="connsiteX2509" fmla="*/ 81960 w 11683878"/>
                <a:gd name="connsiteY2509" fmla="*/ 3372308 h 6246035"/>
                <a:gd name="connsiteX2510" fmla="*/ 2169083 w 11683878"/>
                <a:gd name="connsiteY2510" fmla="*/ 3370741 h 6246035"/>
                <a:gd name="connsiteX2511" fmla="*/ 2168870 w 11683878"/>
                <a:gd name="connsiteY2511" fmla="*/ 3370855 h 6246035"/>
                <a:gd name="connsiteX2512" fmla="*/ 2182854 w 11683878"/>
                <a:gd name="connsiteY2512" fmla="*/ 3400971 h 6246035"/>
                <a:gd name="connsiteX2513" fmla="*/ 2183501 w 11683878"/>
                <a:gd name="connsiteY2513" fmla="*/ 3400193 h 6246035"/>
                <a:gd name="connsiteX2514" fmla="*/ 1627819 w 11683878"/>
                <a:gd name="connsiteY2514" fmla="*/ 3368226 h 6246035"/>
                <a:gd name="connsiteX2515" fmla="*/ 1626621 w 11683878"/>
                <a:gd name="connsiteY2515" fmla="*/ 3390728 h 6246035"/>
                <a:gd name="connsiteX2516" fmla="*/ 1640481 w 11683878"/>
                <a:gd name="connsiteY2516" fmla="*/ 3397936 h 6246035"/>
                <a:gd name="connsiteX2517" fmla="*/ 1626622 w 11683878"/>
                <a:gd name="connsiteY2517" fmla="*/ 3390728 h 6246035"/>
                <a:gd name="connsiteX2518" fmla="*/ 1627820 w 11683878"/>
                <a:gd name="connsiteY2518" fmla="*/ 3368226 h 6246035"/>
                <a:gd name="connsiteX2519" fmla="*/ 4590175 w 11683878"/>
                <a:gd name="connsiteY2519" fmla="*/ 3367928 h 6246035"/>
                <a:gd name="connsiteX2520" fmla="*/ 4603678 w 11683878"/>
                <a:gd name="connsiteY2520" fmla="*/ 3409045 h 6246035"/>
                <a:gd name="connsiteX2521" fmla="*/ 4603713 w 11683878"/>
                <a:gd name="connsiteY2521" fmla="*/ 3409060 h 6246035"/>
                <a:gd name="connsiteX2522" fmla="*/ 1583357 w 11683878"/>
                <a:gd name="connsiteY2522" fmla="*/ 3365335 h 6246035"/>
                <a:gd name="connsiteX2523" fmla="*/ 1569111 w 11683878"/>
                <a:gd name="connsiteY2523" fmla="*/ 3368112 h 6246035"/>
                <a:gd name="connsiteX2524" fmla="*/ 1565212 w 11683878"/>
                <a:gd name="connsiteY2524" fmla="*/ 3373026 h 6246035"/>
                <a:gd name="connsiteX2525" fmla="*/ 1996097 w 11683878"/>
                <a:gd name="connsiteY2525" fmla="*/ 3364988 h 6246035"/>
                <a:gd name="connsiteX2526" fmla="*/ 1996054 w 11683878"/>
                <a:gd name="connsiteY2526" fmla="*/ 3365001 h 6246035"/>
                <a:gd name="connsiteX2527" fmla="*/ 1996097 w 11683878"/>
                <a:gd name="connsiteY2527" fmla="*/ 3364989 h 6246035"/>
                <a:gd name="connsiteX2528" fmla="*/ 1996111 w 11683878"/>
                <a:gd name="connsiteY2528" fmla="*/ 3364995 h 6246035"/>
                <a:gd name="connsiteX2529" fmla="*/ 4584274 w 11683878"/>
                <a:gd name="connsiteY2529" fmla="*/ 3364442 h 6246035"/>
                <a:gd name="connsiteX2530" fmla="*/ 4554510 w 11683878"/>
                <a:gd name="connsiteY2530" fmla="*/ 3373651 h 6246035"/>
                <a:gd name="connsiteX2531" fmla="*/ 4554510 w 11683878"/>
                <a:gd name="connsiteY2531" fmla="*/ 3373651 h 6246035"/>
                <a:gd name="connsiteX2532" fmla="*/ 871112 w 11683878"/>
                <a:gd name="connsiteY2532" fmla="*/ 3357921 h 6246035"/>
                <a:gd name="connsiteX2533" fmla="*/ 870509 w 11683878"/>
                <a:gd name="connsiteY2533" fmla="*/ 3358056 h 6246035"/>
                <a:gd name="connsiteX2534" fmla="*/ 872684 w 11683878"/>
                <a:gd name="connsiteY2534" fmla="*/ 3364581 h 6246035"/>
                <a:gd name="connsiteX2535" fmla="*/ 872967 w 11683878"/>
                <a:gd name="connsiteY2535" fmla="*/ 3364930 h 6246035"/>
                <a:gd name="connsiteX2536" fmla="*/ 293575 w 11683878"/>
                <a:gd name="connsiteY2536" fmla="*/ 3357443 h 6246035"/>
                <a:gd name="connsiteX2537" fmla="*/ 287935 w 11683878"/>
                <a:gd name="connsiteY2537" fmla="*/ 3397457 h 6246035"/>
                <a:gd name="connsiteX2538" fmla="*/ 310324 w 11683878"/>
                <a:gd name="connsiteY2538" fmla="*/ 3418147 h 6246035"/>
                <a:gd name="connsiteX2539" fmla="*/ 295437 w 11683878"/>
                <a:gd name="connsiteY2539" fmla="*/ 3476488 h 6246035"/>
                <a:gd name="connsiteX2540" fmla="*/ 329930 w 11683878"/>
                <a:gd name="connsiteY2540" fmla="*/ 3481639 h 6246035"/>
                <a:gd name="connsiteX2541" fmla="*/ 381050 w 11683878"/>
                <a:gd name="connsiteY2541" fmla="*/ 3557964 h 6246035"/>
                <a:gd name="connsiteX2542" fmla="*/ 324211 w 11683878"/>
                <a:gd name="connsiteY2542" fmla="*/ 3587763 h 6246035"/>
                <a:gd name="connsiteX2543" fmla="*/ 297943 w 11683878"/>
                <a:gd name="connsiteY2543" fmla="*/ 3619557 h 6246035"/>
                <a:gd name="connsiteX2544" fmla="*/ 333519 w 11683878"/>
                <a:gd name="connsiteY2544" fmla="*/ 3588274 h 6246035"/>
                <a:gd name="connsiteX2545" fmla="*/ 380927 w 11683878"/>
                <a:gd name="connsiteY2545" fmla="*/ 3559684 h 6246035"/>
                <a:gd name="connsiteX2546" fmla="*/ 597058 w 11683878"/>
                <a:gd name="connsiteY2546" fmla="*/ 3522443 h 6246035"/>
                <a:gd name="connsiteX2547" fmla="*/ 688530 w 11683878"/>
                <a:gd name="connsiteY2547" fmla="*/ 3591320 h 6246035"/>
                <a:gd name="connsiteX2548" fmla="*/ 663918 w 11683878"/>
                <a:gd name="connsiteY2548" fmla="*/ 3567094 h 6246035"/>
                <a:gd name="connsiteX2549" fmla="*/ 673796 w 11683878"/>
                <a:gd name="connsiteY2549" fmla="*/ 3543777 h 6246035"/>
                <a:gd name="connsiteX2550" fmla="*/ 675180 w 11683878"/>
                <a:gd name="connsiteY2550" fmla="*/ 3542569 h 6246035"/>
                <a:gd name="connsiteX2551" fmla="*/ 670402 w 11683878"/>
                <a:gd name="connsiteY2551" fmla="*/ 3544940 h 6246035"/>
                <a:gd name="connsiteX2552" fmla="*/ 657396 w 11683878"/>
                <a:gd name="connsiteY2552" fmla="*/ 3558223 h 6246035"/>
                <a:gd name="connsiteX2553" fmla="*/ 596914 w 11683878"/>
                <a:gd name="connsiteY2553" fmla="*/ 3496270 h 6246035"/>
                <a:gd name="connsiteX2554" fmla="*/ 593386 w 11683878"/>
                <a:gd name="connsiteY2554" fmla="*/ 3505638 h 6246035"/>
                <a:gd name="connsiteX2555" fmla="*/ 561749 w 11683878"/>
                <a:gd name="connsiteY2555" fmla="*/ 3490679 h 6246035"/>
                <a:gd name="connsiteX2556" fmla="*/ 545413 w 11683878"/>
                <a:gd name="connsiteY2556" fmla="*/ 3511265 h 6246035"/>
                <a:gd name="connsiteX2557" fmla="*/ 477735 w 11683878"/>
                <a:gd name="connsiteY2557" fmla="*/ 3535350 h 6246035"/>
                <a:gd name="connsiteX2558" fmla="*/ 465212 w 11683878"/>
                <a:gd name="connsiteY2558" fmla="*/ 3523703 h 6246035"/>
                <a:gd name="connsiteX2559" fmla="*/ 472661 w 11683878"/>
                <a:gd name="connsiteY2559" fmla="*/ 3501666 h 6246035"/>
                <a:gd name="connsiteX2560" fmla="*/ 453943 w 11683878"/>
                <a:gd name="connsiteY2560" fmla="*/ 3502310 h 6246035"/>
                <a:gd name="connsiteX2561" fmla="*/ 433966 w 11683878"/>
                <a:gd name="connsiteY2561" fmla="*/ 3439619 h 6246035"/>
                <a:gd name="connsiteX2562" fmla="*/ 387782 w 11683878"/>
                <a:gd name="connsiteY2562" fmla="*/ 3403437 h 6246035"/>
                <a:gd name="connsiteX2563" fmla="*/ 409372 w 11683878"/>
                <a:gd name="connsiteY2563" fmla="*/ 3392507 h 6246035"/>
                <a:gd name="connsiteX2564" fmla="*/ 379093 w 11683878"/>
                <a:gd name="connsiteY2564" fmla="*/ 3384892 h 6246035"/>
                <a:gd name="connsiteX2565" fmla="*/ 374666 w 11683878"/>
                <a:gd name="connsiteY2565" fmla="*/ 3420737 h 6246035"/>
                <a:gd name="connsiteX2566" fmla="*/ 292011 w 11683878"/>
                <a:gd name="connsiteY2566" fmla="*/ 3394239 h 6246035"/>
                <a:gd name="connsiteX2567" fmla="*/ 293578 w 11683878"/>
                <a:gd name="connsiteY2567" fmla="*/ 3357464 h 6246035"/>
                <a:gd name="connsiteX2568" fmla="*/ 1626344 w 11683878"/>
                <a:gd name="connsiteY2568" fmla="*/ 3356957 h 6246035"/>
                <a:gd name="connsiteX2569" fmla="*/ 1604756 w 11683878"/>
                <a:gd name="connsiteY2569" fmla="*/ 3361165 h 6246035"/>
                <a:gd name="connsiteX2570" fmla="*/ 1612778 w 11683878"/>
                <a:gd name="connsiteY2570" fmla="*/ 3363621 h 6246035"/>
                <a:gd name="connsiteX2571" fmla="*/ 1924485 w 11683878"/>
                <a:gd name="connsiteY2571" fmla="*/ 3355919 h 6246035"/>
                <a:gd name="connsiteX2572" fmla="*/ 1925187 w 11683878"/>
                <a:gd name="connsiteY2572" fmla="*/ 3357227 h 6246035"/>
                <a:gd name="connsiteX2573" fmla="*/ 1951916 w 11683878"/>
                <a:gd name="connsiteY2573" fmla="*/ 3377782 h 6246035"/>
                <a:gd name="connsiteX2574" fmla="*/ 1971471 w 11683878"/>
                <a:gd name="connsiteY2574" fmla="*/ 3378163 h 6246035"/>
                <a:gd name="connsiteX2575" fmla="*/ 1967147 w 11683878"/>
                <a:gd name="connsiteY2575" fmla="*/ 3373371 h 6246035"/>
                <a:gd name="connsiteX2576" fmla="*/ 1951916 w 11683878"/>
                <a:gd name="connsiteY2576" fmla="*/ 3377782 h 6246035"/>
                <a:gd name="connsiteX2577" fmla="*/ 667181 w 11683878"/>
                <a:gd name="connsiteY2577" fmla="*/ 3354303 h 6246035"/>
                <a:gd name="connsiteX2578" fmla="*/ 660082 w 11683878"/>
                <a:gd name="connsiteY2578" fmla="*/ 3357984 h 6246035"/>
                <a:gd name="connsiteX2579" fmla="*/ 661225 w 11683878"/>
                <a:gd name="connsiteY2579" fmla="*/ 3358729 h 6246035"/>
                <a:gd name="connsiteX2580" fmla="*/ 660082 w 11683878"/>
                <a:gd name="connsiteY2580" fmla="*/ 3357984 h 6246035"/>
                <a:gd name="connsiteX2581" fmla="*/ 667181 w 11683878"/>
                <a:gd name="connsiteY2581" fmla="*/ 3354304 h 6246035"/>
                <a:gd name="connsiteX2582" fmla="*/ 886745 w 11683878"/>
                <a:gd name="connsiteY2582" fmla="*/ 3352733 h 6246035"/>
                <a:gd name="connsiteX2583" fmla="*/ 885483 w 11683878"/>
                <a:gd name="connsiteY2583" fmla="*/ 3355492 h 6246035"/>
                <a:gd name="connsiteX2584" fmla="*/ 880426 w 11683878"/>
                <a:gd name="connsiteY2584" fmla="*/ 3355866 h 6246035"/>
                <a:gd name="connsiteX2585" fmla="*/ 880175 w 11683878"/>
                <a:gd name="connsiteY2585" fmla="*/ 3355884 h 6246035"/>
                <a:gd name="connsiteX2586" fmla="*/ 880175 w 11683878"/>
                <a:gd name="connsiteY2586" fmla="*/ 3355884 h 6246035"/>
                <a:gd name="connsiteX2587" fmla="*/ 880426 w 11683878"/>
                <a:gd name="connsiteY2587" fmla="*/ 3355866 h 6246035"/>
                <a:gd name="connsiteX2588" fmla="*/ 885484 w 11683878"/>
                <a:gd name="connsiteY2588" fmla="*/ 3355493 h 6246035"/>
                <a:gd name="connsiteX2589" fmla="*/ 3751991 w 11683878"/>
                <a:gd name="connsiteY2589" fmla="*/ 3351018 h 6246035"/>
                <a:gd name="connsiteX2590" fmla="*/ 3744019 w 11683878"/>
                <a:gd name="connsiteY2590" fmla="*/ 3381091 h 6246035"/>
                <a:gd name="connsiteX2591" fmla="*/ 3752682 w 11683878"/>
                <a:gd name="connsiteY2591" fmla="*/ 3371710 h 6246035"/>
                <a:gd name="connsiteX2592" fmla="*/ 383482 w 11683878"/>
                <a:gd name="connsiteY2592" fmla="*/ 3349357 h 6246035"/>
                <a:gd name="connsiteX2593" fmla="*/ 382345 w 11683878"/>
                <a:gd name="connsiteY2593" fmla="*/ 3358560 h 6246035"/>
                <a:gd name="connsiteX2594" fmla="*/ 389783 w 11683878"/>
                <a:gd name="connsiteY2594" fmla="*/ 3357053 h 6246035"/>
                <a:gd name="connsiteX2595" fmla="*/ 901092 w 11683878"/>
                <a:gd name="connsiteY2595" fmla="*/ 3341953 h 6246035"/>
                <a:gd name="connsiteX2596" fmla="*/ 895420 w 11683878"/>
                <a:gd name="connsiteY2596" fmla="*/ 3347644 h 6246035"/>
                <a:gd name="connsiteX2597" fmla="*/ 894260 w 11683878"/>
                <a:gd name="connsiteY2597" fmla="*/ 3347869 h 6246035"/>
                <a:gd name="connsiteX2598" fmla="*/ 895421 w 11683878"/>
                <a:gd name="connsiteY2598" fmla="*/ 3347644 h 6246035"/>
                <a:gd name="connsiteX2599" fmla="*/ 901093 w 11683878"/>
                <a:gd name="connsiteY2599" fmla="*/ 3341954 h 6246035"/>
                <a:gd name="connsiteX2600" fmla="*/ 2523847 w 11683878"/>
                <a:gd name="connsiteY2600" fmla="*/ 3338688 h 6246035"/>
                <a:gd name="connsiteX2601" fmla="*/ 2496644 w 11683878"/>
                <a:gd name="connsiteY2601" fmla="*/ 3343033 h 6246035"/>
                <a:gd name="connsiteX2602" fmla="*/ 2524416 w 11683878"/>
                <a:gd name="connsiteY2602" fmla="*/ 3341149 h 6246035"/>
                <a:gd name="connsiteX2603" fmla="*/ 2232462 w 11683878"/>
                <a:gd name="connsiteY2603" fmla="*/ 3335065 h 6246035"/>
                <a:gd name="connsiteX2604" fmla="*/ 2281750 w 11683878"/>
                <a:gd name="connsiteY2604" fmla="*/ 3340992 h 6246035"/>
                <a:gd name="connsiteX2605" fmla="*/ 2281848 w 11683878"/>
                <a:gd name="connsiteY2605" fmla="*/ 3340637 h 6246035"/>
                <a:gd name="connsiteX2606" fmla="*/ 2281591 w 11683878"/>
                <a:gd name="connsiteY2606" fmla="*/ 3340963 h 6246035"/>
                <a:gd name="connsiteX2607" fmla="*/ 2231840 w 11683878"/>
                <a:gd name="connsiteY2607" fmla="*/ 3334990 h 6246035"/>
                <a:gd name="connsiteX2608" fmla="*/ 2220600 w 11683878"/>
                <a:gd name="connsiteY2608" fmla="*/ 3350352 h 6246035"/>
                <a:gd name="connsiteX2609" fmla="*/ 2248459 w 11683878"/>
                <a:gd name="connsiteY2609" fmla="*/ 3353167 h 6246035"/>
                <a:gd name="connsiteX2610" fmla="*/ 2241938 w 11683878"/>
                <a:gd name="connsiteY2610" fmla="*/ 3384469 h 6246035"/>
                <a:gd name="connsiteX2611" fmla="*/ 2241940 w 11683878"/>
                <a:gd name="connsiteY2611" fmla="*/ 3384469 h 6246035"/>
                <a:gd name="connsiteX2612" fmla="*/ 2248461 w 11683878"/>
                <a:gd name="connsiteY2612" fmla="*/ 3353166 h 6246035"/>
                <a:gd name="connsiteX2613" fmla="*/ 2220600 w 11683878"/>
                <a:gd name="connsiteY2613" fmla="*/ 3350352 h 6246035"/>
                <a:gd name="connsiteX2614" fmla="*/ 2231843 w 11683878"/>
                <a:gd name="connsiteY2614" fmla="*/ 3334990 h 6246035"/>
                <a:gd name="connsiteX2615" fmla="*/ 2544670 w 11683878"/>
                <a:gd name="connsiteY2615" fmla="*/ 3334978 h 6246035"/>
                <a:gd name="connsiteX2616" fmla="*/ 2528015 w 11683878"/>
                <a:gd name="connsiteY2616" fmla="*/ 3386870 h 6246035"/>
                <a:gd name="connsiteX2617" fmla="*/ 2528018 w 11683878"/>
                <a:gd name="connsiteY2617" fmla="*/ 3386872 h 6246035"/>
                <a:gd name="connsiteX2618" fmla="*/ 2528017 w 11683878"/>
                <a:gd name="connsiteY2618" fmla="*/ 3386870 h 6246035"/>
                <a:gd name="connsiteX2619" fmla="*/ 2545713 w 11683878"/>
                <a:gd name="connsiteY2619" fmla="*/ 3335298 h 6246035"/>
                <a:gd name="connsiteX2620" fmla="*/ 897767 w 11683878"/>
                <a:gd name="connsiteY2620" fmla="*/ 3333492 h 6246035"/>
                <a:gd name="connsiteX2621" fmla="*/ 897767 w 11683878"/>
                <a:gd name="connsiteY2621" fmla="*/ 3333493 h 6246035"/>
                <a:gd name="connsiteX2622" fmla="*/ 899422 w 11683878"/>
                <a:gd name="connsiteY2622" fmla="*/ 3337704 h 6246035"/>
                <a:gd name="connsiteX2623" fmla="*/ 2093296 w 11683878"/>
                <a:gd name="connsiteY2623" fmla="*/ 3327001 h 6246035"/>
                <a:gd name="connsiteX2624" fmla="*/ 2092984 w 11683878"/>
                <a:gd name="connsiteY2624" fmla="*/ 3327733 h 6246035"/>
                <a:gd name="connsiteX2625" fmla="*/ 2103617 w 11683878"/>
                <a:gd name="connsiteY2625" fmla="*/ 3365044 h 6246035"/>
                <a:gd name="connsiteX2626" fmla="*/ 894675 w 11683878"/>
                <a:gd name="connsiteY2626" fmla="*/ 3325625 h 6246035"/>
                <a:gd name="connsiteX2627" fmla="*/ 894676 w 11683878"/>
                <a:gd name="connsiteY2627" fmla="*/ 3325626 h 6246035"/>
                <a:gd name="connsiteX2628" fmla="*/ 894676 w 11683878"/>
                <a:gd name="connsiteY2628" fmla="*/ 3325625 h 6246035"/>
                <a:gd name="connsiteX2629" fmla="*/ 1906642 w 11683878"/>
                <a:gd name="connsiteY2629" fmla="*/ 3322660 h 6246035"/>
                <a:gd name="connsiteX2630" fmla="*/ 1921994 w 11683878"/>
                <a:gd name="connsiteY2630" fmla="*/ 3351276 h 6246035"/>
                <a:gd name="connsiteX2631" fmla="*/ 1924710 w 11683878"/>
                <a:gd name="connsiteY2631" fmla="*/ 3334760 h 6246035"/>
                <a:gd name="connsiteX2632" fmla="*/ 2298153 w 11683878"/>
                <a:gd name="connsiteY2632" fmla="*/ 3319951 h 6246035"/>
                <a:gd name="connsiteX2633" fmla="*/ 2294670 w 11683878"/>
                <a:gd name="connsiteY2633" fmla="*/ 3324370 h 6246035"/>
                <a:gd name="connsiteX2634" fmla="*/ 2328724 w 11683878"/>
                <a:gd name="connsiteY2634" fmla="*/ 3329042 h 6246035"/>
                <a:gd name="connsiteX2635" fmla="*/ 2329508 w 11683878"/>
                <a:gd name="connsiteY2635" fmla="*/ 3328202 h 6246035"/>
                <a:gd name="connsiteX2636" fmla="*/ 2493597 w 11683878"/>
                <a:gd name="connsiteY2636" fmla="*/ 3318536 h 6246035"/>
                <a:gd name="connsiteX2637" fmla="*/ 2496625 w 11683878"/>
                <a:gd name="connsiteY2637" fmla="*/ 3343034 h 6246035"/>
                <a:gd name="connsiteX2638" fmla="*/ 2496631 w 11683878"/>
                <a:gd name="connsiteY2638" fmla="*/ 3343034 h 6246035"/>
                <a:gd name="connsiteX2639" fmla="*/ 2493602 w 11683878"/>
                <a:gd name="connsiteY2639" fmla="*/ 3318536 h 6246035"/>
                <a:gd name="connsiteX2640" fmla="*/ 1657978 w 11683878"/>
                <a:gd name="connsiteY2640" fmla="*/ 3315701 h 6246035"/>
                <a:gd name="connsiteX2641" fmla="*/ 1652333 w 11683878"/>
                <a:gd name="connsiteY2641" fmla="*/ 3344190 h 6246035"/>
                <a:gd name="connsiteX2642" fmla="*/ 1655439 w 11683878"/>
                <a:gd name="connsiteY2642" fmla="*/ 3342664 h 6246035"/>
                <a:gd name="connsiteX2643" fmla="*/ 2385522 w 11683878"/>
                <a:gd name="connsiteY2643" fmla="*/ 3314984 h 6246035"/>
                <a:gd name="connsiteX2644" fmla="*/ 2412360 w 11683878"/>
                <a:gd name="connsiteY2644" fmla="*/ 3319018 h 6246035"/>
                <a:gd name="connsiteX2645" fmla="*/ 2412360 w 11683878"/>
                <a:gd name="connsiteY2645" fmla="*/ 3319017 h 6246035"/>
                <a:gd name="connsiteX2646" fmla="*/ 2342628 w 11683878"/>
                <a:gd name="connsiteY2646" fmla="*/ 3314140 h 6246035"/>
                <a:gd name="connsiteX2647" fmla="*/ 2342628 w 11683878"/>
                <a:gd name="connsiteY2647" fmla="*/ 3314142 h 6246035"/>
                <a:gd name="connsiteX2648" fmla="*/ 2361284 w 11683878"/>
                <a:gd name="connsiteY2648" fmla="*/ 3325980 h 6246035"/>
                <a:gd name="connsiteX2649" fmla="*/ 2361287 w 11683878"/>
                <a:gd name="connsiteY2649" fmla="*/ 3325979 h 6246035"/>
                <a:gd name="connsiteX2650" fmla="*/ 9187527 w 11683878"/>
                <a:gd name="connsiteY2650" fmla="*/ 3312490 h 6246035"/>
                <a:gd name="connsiteX2651" fmla="*/ 9187472 w 11683878"/>
                <a:gd name="connsiteY2651" fmla="*/ 3312591 h 6246035"/>
                <a:gd name="connsiteX2652" fmla="*/ 9199284 w 11683878"/>
                <a:gd name="connsiteY2652" fmla="*/ 3350796 h 6246035"/>
                <a:gd name="connsiteX2653" fmla="*/ 9211438 w 11683878"/>
                <a:gd name="connsiteY2653" fmla="*/ 3356034 h 6246035"/>
                <a:gd name="connsiteX2654" fmla="*/ 2330436 w 11683878"/>
                <a:gd name="connsiteY2654" fmla="*/ 3310513 h 6246035"/>
                <a:gd name="connsiteX2655" fmla="*/ 2330180 w 11683878"/>
                <a:gd name="connsiteY2655" fmla="*/ 3327481 h 6246035"/>
                <a:gd name="connsiteX2656" fmla="*/ 2334629 w 11683878"/>
                <a:gd name="connsiteY2656" fmla="*/ 3322710 h 6246035"/>
                <a:gd name="connsiteX2657" fmla="*/ 2653322 w 11683878"/>
                <a:gd name="connsiteY2657" fmla="*/ 3310362 h 6246035"/>
                <a:gd name="connsiteX2658" fmla="*/ 2644323 w 11683878"/>
                <a:gd name="connsiteY2658" fmla="*/ 3375513 h 6246035"/>
                <a:gd name="connsiteX2659" fmla="*/ 2653324 w 11683878"/>
                <a:gd name="connsiteY2659" fmla="*/ 3310362 h 6246035"/>
                <a:gd name="connsiteX2660" fmla="*/ 1884679 w 11683878"/>
                <a:gd name="connsiteY2660" fmla="*/ 3307952 h 6246035"/>
                <a:gd name="connsiteX2661" fmla="*/ 1882216 w 11683878"/>
                <a:gd name="connsiteY2661" fmla="*/ 3311577 h 6246035"/>
                <a:gd name="connsiteX2662" fmla="*/ 1891434 w 11683878"/>
                <a:gd name="connsiteY2662" fmla="*/ 3312476 h 6246035"/>
                <a:gd name="connsiteX2663" fmla="*/ 2466112 w 11683878"/>
                <a:gd name="connsiteY2663" fmla="*/ 3306692 h 6246035"/>
                <a:gd name="connsiteX2664" fmla="*/ 2466108 w 11683878"/>
                <a:gd name="connsiteY2664" fmla="*/ 3306695 h 6246035"/>
                <a:gd name="connsiteX2665" fmla="*/ 2466266 w 11683878"/>
                <a:gd name="connsiteY2665" fmla="*/ 3318360 h 6246035"/>
                <a:gd name="connsiteX2666" fmla="*/ 2466271 w 11683878"/>
                <a:gd name="connsiteY2666" fmla="*/ 3318360 h 6246035"/>
                <a:gd name="connsiteX2667" fmla="*/ 387999 w 11683878"/>
                <a:gd name="connsiteY2667" fmla="*/ 3303032 h 6246035"/>
                <a:gd name="connsiteX2668" fmla="*/ 379343 w 11683878"/>
                <a:gd name="connsiteY2668" fmla="*/ 3310335 h 6246035"/>
                <a:gd name="connsiteX2669" fmla="*/ 385356 w 11683878"/>
                <a:gd name="connsiteY2669" fmla="*/ 3308856 h 6246035"/>
                <a:gd name="connsiteX2670" fmla="*/ 2539157 w 11683878"/>
                <a:gd name="connsiteY2670" fmla="*/ 3301345 h 6246035"/>
                <a:gd name="connsiteX2671" fmla="*/ 2519185 w 11683878"/>
                <a:gd name="connsiteY2671" fmla="*/ 3327869 h 6246035"/>
                <a:gd name="connsiteX2672" fmla="*/ 2522262 w 11683878"/>
                <a:gd name="connsiteY2672" fmla="*/ 3331826 h 6246035"/>
                <a:gd name="connsiteX2673" fmla="*/ 2521088 w 11683878"/>
                <a:gd name="connsiteY2673" fmla="*/ 3326744 h 6246035"/>
                <a:gd name="connsiteX2674" fmla="*/ 2522924 w 11683878"/>
                <a:gd name="connsiteY2674" fmla="*/ 3327296 h 6246035"/>
                <a:gd name="connsiteX2675" fmla="*/ 2542092 w 11683878"/>
                <a:gd name="connsiteY2675" fmla="*/ 3307997 h 6246035"/>
                <a:gd name="connsiteX2676" fmla="*/ 2428380 w 11683878"/>
                <a:gd name="connsiteY2676" fmla="*/ 3301029 h 6246035"/>
                <a:gd name="connsiteX2677" fmla="*/ 2428376 w 11683878"/>
                <a:gd name="connsiteY2677" fmla="*/ 3301030 h 6246035"/>
                <a:gd name="connsiteX2678" fmla="*/ 2445040 w 11683878"/>
                <a:gd name="connsiteY2678" fmla="*/ 3318898 h 6246035"/>
                <a:gd name="connsiteX2679" fmla="*/ 2445044 w 11683878"/>
                <a:gd name="connsiteY2679" fmla="*/ 3318897 h 6246035"/>
                <a:gd name="connsiteX2680" fmla="*/ 1831321 w 11683878"/>
                <a:gd name="connsiteY2680" fmla="*/ 3300467 h 6246035"/>
                <a:gd name="connsiteX2681" fmla="*/ 1844528 w 11683878"/>
                <a:gd name="connsiteY2681" fmla="*/ 3326672 h 6246035"/>
                <a:gd name="connsiteX2682" fmla="*/ 1862336 w 11683878"/>
                <a:gd name="connsiteY2682" fmla="*/ 3337220 h 6246035"/>
                <a:gd name="connsiteX2683" fmla="*/ 1863367 w 11683878"/>
                <a:gd name="connsiteY2683" fmla="*/ 3334691 h 6246035"/>
                <a:gd name="connsiteX2684" fmla="*/ 1844528 w 11683878"/>
                <a:gd name="connsiteY2684" fmla="*/ 3326671 h 6246035"/>
                <a:gd name="connsiteX2685" fmla="*/ 1846598 w 11683878"/>
                <a:gd name="connsiteY2685" fmla="*/ 3311320 h 6246035"/>
                <a:gd name="connsiteX2686" fmla="*/ 2744254 w 11683878"/>
                <a:gd name="connsiteY2686" fmla="*/ 3296663 h 6246035"/>
                <a:gd name="connsiteX2687" fmla="*/ 2719596 w 11683878"/>
                <a:gd name="connsiteY2687" fmla="*/ 3304615 h 6246035"/>
                <a:gd name="connsiteX2688" fmla="*/ 2731638 w 11683878"/>
                <a:gd name="connsiteY2688" fmla="*/ 3308906 h 6246035"/>
                <a:gd name="connsiteX2689" fmla="*/ 386395 w 11683878"/>
                <a:gd name="connsiteY2689" fmla="*/ 3289730 h 6246035"/>
                <a:gd name="connsiteX2690" fmla="*/ 386395 w 11683878"/>
                <a:gd name="connsiteY2690" fmla="*/ 3289732 h 6246035"/>
                <a:gd name="connsiteX2691" fmla="*/ 391562 w 11683878"/>
                <a:gd name="connsiteY2691" fmla="*/ 3291871 h 6246035"/>
                <a:gd name="connsiteX2692" fmla="*/ 399110 w 11683878"/>
                <a:gd name="connsiteY2692" fmla="*/ 3292649 h 6246035"/>
                <a:gd name="connsiteX2693" fmla="*/ 399112 w 11683878"/>
                <a:gd name="connsiteY2693" fmla="*/ 3292648 h 6246035"/>
                <a:gd name="connsiteX2694" fmla="*/ 3499331 w 11683878"/>
                <a:gd name="connsiteY2694" fmla="*/ 3287273 h 6246035"/>
                <a:gd name="connsiteX2695" fmla="*/ 3499329 w 11683878"/>
                <a:gd name="connsiteY2695" fmla="*/ 3287276 h 6246035"/>
                <a:gd name="connsiteX2696" fmla="*/ 3412170 w 11683878"/>
                <a:gd name="connsiteY2696" fmla="*/ 3359830 h 6246035"/>
                <a:gd name="connsiteX2697" fmla="*/ 3404558 w 11683878"/>
                <a:gd name="connsiteY2697" fmla="*/ 3350210 h 6246035"/>
                <a:gd name="connsiteX2698" fmla="*/ 3361992 w 11683878"/>
                <a:gd name="connsiteY2698" fmla="*/ 3363024 h 6246035"/>
                <a:gd name="connsiteX2699" fmla="*/ 3332865 w 11683878"/>
                <a:gd name="connsiteY2699" fmla="*/ 3389816 h 6246035"/>
                <a:gd name="connsiteX2700" fmla="*/ 3332865 w 11683878"/>
                <a:gd name="connsiteY2700" fmla="*/ 3389817 h 6246035"/>
                <a:gd name="connsiteX2701" fmla="*/ 3361992 w 11683878"/>
                <a:gd name="connsiteY2701" fmla="*/ 3363025 h 6246035"/>
                <a:gd name="connsiteX2702" fmla="*/ 3404558 w 11683878"/>
                <a:gd name="connsiteY2702" fmla="*/ 3350211 h 6246035"/>
                <a:gd name="connsiteX2703" fmla="*/ 3412170 w 11683878"/>
                <a:gd name="connsiteY2703" fmla="*/ 3359830 h 6246035"/>
                <a:gd name="connsiteX2704" fmla="*/ 3499329 w 11683878"/>
                <a:gd name="connsiteY2704" fmla="*/ 3287277 h 6246035"/>
                <a:gd name="connsiteX2705" fmla="*/ 2097409 w 11683878"/>
                <a:gd name="connsiteY2705" fmla="*/ 3282876 h 6246035"/>
                <a:gd name="connsiteX2706" fmla="*/ 2097091 w 11683878"/>
                <a:gd name="connsiteY2706" fmla="*/ 3284981 h 6246035"/>
                <a:gd name="connsiteX2707" fmla="*/ 2097249 w 11683878"/>
                <a:gd name="connsiteY2707" fmla="*/ 3284949 h 6246035"/>
                <a:gd name="connsiteX2708" fmla="*/ 2113521 w 11683878"/>
                <a:gd name="connsiteY2708" fmla="*/ 3277232 h 6246035"/>
                <a:gd name="connsiteX2709" fmla="*/ 2097780 w 11683878"/>
                <a:gd name="connsiteY2709" fmla="*/ 3284841 h 6246035"/>
                <a:gd name="connsiteX2710" fmla="*/ 2111211 w 11683878"/>
                <a:gd name="connsiteY2710" fmla="*/ 3282121 h 6246035"/>
                <a:gd name="connsiteX2711" fmla="*/ 2982970 w 11683878"/>
                <a:gd name="connsiteY2711" fmla="*/ 3269555 h 6246035"/>
                <a:gd name="connsiteX2712" fmla="*/ 2962816 w 11683878"/>
                <a:gd name="connsiteY2712" fmla="*/ 3270232 h 6246035"/>
                <a:gd name="connsiteX2713" fmla="*/ 2958369 w 11683878"/>
                <a:gd name="connsiteY2713" fmla="*/ 3277357 h 6246035"/>
                <a:gd name="connsiteX2714" fmla="*/ 2779965 w 11683878"/>
                <a:gd name="connsiteY2714" fmla="*/ 3262007 h 6246035"/>
                <a:gd name="connsiteX2715" fmla="*/ 2757765 w 11683878"/>
                <a:gd name="connsiteY2715" fmla="*/ 3275422 h 6246035"/>
                <a:gd name="connsiteX2716" fmla="*/ 2758141 w 11683878"/>
                <a:gd name="connsiteY2716" fmla="*/ 3283186 h 6246035"/>
                <a:gd name="connsiteX2717" fmla="*/ 2779965 w 11683878"/>
                <a:gd name="connsiteY2717" fmla="*/ 3262008 h 6246035"/>
                <a:gd name="connsiteX2718" fmla="*/ 2877042 w 11683878"/>
                <a:gd name="connsiteY2718" fmla="*/ 3261660 h 6246035"/>
                <a:gd name="connsiteX2719" fmla="*/ 2876903 w 11683878"/>
                <a:gd name="connsiteY2719" fmla="*/ 3261779 h 6246035"/>
                <a:gd name="connsiteX2720" fmla="*/ 2876905 w 11683878"/>
                <a:gd name="connsiteY2720" fmla="*/ 3261780 h 6246035"/>
                <a:gd name="connsiteX2721" fmla="*/ 1412133 w 11683878"/>
                <a:gd name="connsiteY2721" fmla="*/ 3261614 h 6246035"/>
                <a:gd name="connsiteX2722" fmla="*/ 1395144 w 11683878"/>
                <a:gd name="connsiteY2722" fmla="*/ 3280870 h 6246035"/>
                <a:gd name="connsiteX2723" fmla="*/ 1401142 w 11683878"/>
                <a:gd name="connsiteY2723" fmla="*/ 3292781 h 6246035"/>
                <a:gd name="connsiteX2724" fmla="*/ 1441327 w 11683878"/>
                <a:gd name="connsiteY2724" fmla="*/ 3317052 h 6246035"/>
                <a:gd name="connsiteX2725" fmla="*/ 1395144 w 11683878"/>
                <a:gd name="connsiteY2725" fmla="*/ 3280870 h 6246035"/>
                <a:gd name="connsiteX2726" fmla="*/ 1416733 w 11683878"/>
                <a:gd name="connsiteY2726" fmla="*/ 3269939 h 6246035"/>
                <a:gd name="connsiteX2727" fmla="*/ 2122369 w 11683878"/>
                <a:gd name="connsiteY2727" fmla="*/ 3260408 h 6246035"/>
                <a:gd name="connsiteX2728" fmla="*/ 2094996 w 11683878"/>
                <a:gd name="connsiteY2728" fmla="*/ 3268809 h 6246035"/>
                <a:gd name="connsiteX2729" fmla="*/ 2098358 w 11683878"/>
                <a:gd name="connsiteY2729" fmla="*/ 3270603 h 6246035"/>
                <a:gd name="connsiteX2730" fmla="*/ 2098478 w 11683878"/>
                <a:gd name="connsiteY2730" fmla="*/ 3269042 h 6246035"/>
                <a:gd name="connsiteX2731" fmla="*/ 2072553 w 11683878"/>
                <a:gd name="connsiteY2731" fmla="*/ 3254985 h 6246035"/>
                <a:gd name="connsiteX2732" fmla="*/ 2071454 w 11683878"/>
                <a:gd name="connsiteY2732" fmla="*/ 3256244 h 6246035"/>
                <a:gd name="connsiteX2733" fmla="*/ 2076604 w 11683878"/>
                <a:gd name="connsiteY2733" fmla="*/ 3258992 h 6246035"/>
                <a:gd name="connsiteX2734" fmla="*/ 2543018 w 11683878"/>
                <a:gd name="connsiteY2734" fmla="*/ 3254077 h 6246035"/>
                <a:gd name="connsiteX2735" fmla="*/ 2528240 w 11683878"/>
                <a:gd name="connsiteY2735" fmla="*/ 3275546 h 6246035"/>
                <a:gd name="connsiteX2736" fmla="*/ 2528602 w 11683878"/>
                <a:gd name="connsiteY2736" fmla="*/ 3275960 h 6246035"/>
                <a:gd name="connsiteX2737" fmla="*/ 1834080 w 11683878"/>
                <a:gd name="connsiteY2737" fmla="*/ 3253371 h 6246035"/>
                <a:gd name="connsiteX2738" fmla="*/ 1822138 w 11683878"/>
                <a:gd name="connsiteY2738" fmla="*/ 3282249 h 6246035"/>
                <a:gd name="connsiteX2739" fmla="*/ 1826355 w 11683878"/>
                <a:gd name="connsiteY2739" fmla="*/ 3290616 h 6246035"/>
                <a:gd name="connsiteX2740" fmla="*/ 1834080 w 11683878"/>
                <a:gd name="connsiteY2740" fmla="*/ 3253367 h 6246035"/>
                <a:gd name="connsiteX2741" fmla="*/ 1834080 w 11683878"/>
                <a:gd name="connsiteY2741" fmla="*/ 3253370 h 6246035"/>
                <a:gd name="connsiteX2742" fmla="*/ 1834080 w 11683878"/>
                <a:gd name="connsiteY2742" fmla="*/ 3253369 h 6246035"/>
                <a:gd name="connsiteX2743" fmla="*/ 1942240 w 11683878"/>
                <a:gd name="connsiteY2743" fmla="*/ 3241753 h 6246035"/>
                <a:gd name="connsiteX2744" fmla="*/ 1942154 w 11683878"/>
                <a:gd name="connsiteY2744" fmla="*/ 3241827 h 6246035"/>
                <a:gd name="connsiteX2745" fmla="*/ 1974990 w 11683878"/>
                <a:gd name="connsiteY2745" fmla="*/ 3274562 h 6246035"/>
                <a:gd name="connsiteX2746" fmla="*/ 1976487 w 11683878"/>
                <a:gd name="connsiteY2746" fmla="*/ 3272445 h 6246035"/>
                <a:gd name="connsiteX2747" fmla="*/ 1999175 w 11683878"/>
                <a:gd name="connsiteY2747" fmla="*/ 3240741 h 6246035"/>
                <a:gd name="connsiteX2748" fmla="*/ 1999032 w 11683878"/>
                <a:gd name="connsiteY2748" fmla="*/ 3240988 h 6246035"/>
                <a:gd name="connsiteX2749" fmla="*/ 2041025 w 11683878"/>
                <a:gd name="connsiteY2749" fmla="*/ 3249455 h 6246035"/>
                <a:gd name="connsiteX2750" fmla="*/ 2041025 w 11683878"/>
                <a:gd name="connsiteY2750" fmla="*/ 3249455 h 6246035"/>
                <a:gd name="connsiteX2751" fmla="*/ 262700 w 11683878"/>
                <a:gd name="connsiteY2751" fmla="*/ 3238234 h 6246035"/>
                <a:gd name="connsiteX2752" fmla="*/ 262694 w 11683878"/>
                <a:gd name="connsiteY2752" fmla="*/ 3238236 h 6246035"/>
                <a:gd name="connsiteX2753" fmla="*/ 279782 w 11683878"/>
                <a:gd name="connsiteY2753" fmla="*/ 3337270 h 6246035"/>
                <a:gd name="connsiteX2754" fmla="*/ 291345 w 11683878"/>
                <a:gd name="connsiteY2754" fmla="*/ 3344646 h 6246035"/>
                <a:gd name="connsiteX2755" fmla="*/ 281236 w 11683878"/>
                <a:gd name="connsiteY2755" fmla="*/ 3286632 h 6246035"/>
                <a:gd name="connsiteX2756" fmla="*/ 424550 w 11683878"/>
                <a:gd name="connsiteY2756" fmla="*/ 3236430 h 6246035"/>
                <a:gd name="connsiteX2757" fmla="*/ 420920 w 11683878"/>
                <a:gd name="connsiteY2757" fmla="*/ 3244407 h 6246035"/>
                <a:gd name="connsiteX2758" fmla="*/ 425176 w 11683878"/>
                <a:gd name="connsiteY2758" fmla="*/ 3240766 h 6246035"/>
                <a:gd name="connsiteX2759" fmla="*/ 1405255 w 11683878"/>
                <a:gd name="connsiteY2759" fmla="*/ 3231591 h 6246035"/>
                <a:gd name="connsiteX2760" fmla="*/ 1398144 w 11683878"/>
                <a:gd name="connsiteY2760" fmla="*/ 3232956 h 6246035"/>
                <a:gd name="connsiteX2761" fmla="*/ 1398730 w 11683878"/>
                <a:gd name="connsiteY2761" fmla="*/ 3233920 h 6246035"/>
                <a:gd name="connsiteX2762" fmla="*/ 2779299 w 11683878"/>
                <a:gd name="connsiteY2762" fmla="*/ 3231379 h 6246035"/>
                <a:gd name="connsiteX2763" fmla="*/ 2779230 w 11683878"/>
                <a:gd name="connsiteY2763" fmla="*/ 3231427 h 6246035"/>
                <a:gd name="connsiteX2764" fmla="*/ 2779965 w 11683878"/>
                <a:gd name="connsiteY2764" fmla="*/ 3261998 h 6246035"/>
                <a:gd name="connsiteX2765" fmla="*/ 2513472 w 11683878"/>
                <a:gd name="connsiteY2765" fmla="*/ 3231092 h 6246035"/>
                <a:gd name="connsiteX2766" fmla="*/ 2513223 w 11683878"/>
                <a:gd name="connsiteY2766" fmla="*/ 3231474 h 6246035"/>
                <a:gd name="connsiteX2767" fmla="*/ 2543056 w 11683878"/>
                <a:gd name="connsiteY2767" fmla="*/ 3254021 h 6246035"/>
                <a:gd name="connsiteX2768" fmla="*/ 3705165 w 11683878"/>
                <a:gd name="connsiteY2768" fmla="*/ 3228931 h 6246035"/>
                <a:gd name="connsiteX2769" fmla="*/ 3751463 w 11683878"/>
                <a:gd name="connsiteY2769" fmla="*/ 3335219 h 6246035"/>
                <a:gd name="connsiteX2770" fmla="*/ 3751077 w 11683878"/>
                <a:gd name="connsiteY2770" fmla="*/ 3323626 h 6246035"/>
                <a:gd name="connsiteX2771" fmla="*/ 2069625 w 11683878"/>
                <a:gd name="connsiteY2771" fmla="*/ 3228028 h 6246035"/>
                <a:gd name="connsiteX2772" fmla="*/ 2069011 w 11683878"/>
                <a:gd name="connsiteY2772" fmla="*/ 3228487 h 6246035"/>
                <a:gd name="connsiteX2773" fmla="*/ 2091858 w 11683878"/>
                <a:gd name="connsiteY2773" fmla="*/ 3232837 h 6246035"/>
                <a:gd name="connsiteX2774" fmla="*/ 2091851 w 11683878"/>
                <a:gd name="connsiteY2774" fmla="*/ 3232846 h 6246035"/>
                <a:gd name="connsiteX2775" fmla="*/ 2091860 w 11683878"/>
                <a:gd name="connsiteY2775" fmla="*/ 3232837 h 6246035"/>
                <a:gd name="connsiteX2776" fmla="*/ 2832150 w 11683878"/>
                <a:gd name="connsiteY2776" fmla="*/ 3214762 h 6246035"/>
                <a:gd name="connsiteX2777" fmla="*/ 2876892 w 11683878"/>
                <a:gd name="connsiteY2777" fmla="*/ 3261767 h 6246035"/>
                <a:gd name="connsiteX2778" fmla="*/ 2844297 w 11683878"/>
                <a:gd name="connsiteY2778" fmla="*/ 3216269 h 6246035"/>
                <a:gd name="connsiteX2779" fmla="*/ 2807393 w 11683878"/>
                <a:gd name="connsiteY2779" fmla="*/ 3211691 h 6246035"/>
                <a:gd name="connsiteX2780" fmla="*/ 2779330 w 11683878"/>
                <a:gd name="connsiteY2780" fmla="*/ 3231357 h 6246035"/>
                <a:gd name="connsiteX2781" fmla="*/ 2819201 w 11683878"/>
                <a:gd name="connsiteY2781" fmla="*/ 3213156 h 6246035"/>
                <a:gd name="connsiteX2782" fmla="*/ 2498285 w 11683878"/>
                <a:gd name="connsiteY2782" fmla="*/ 3209318 h 6246035"/>
                <a:gd name="connsiteX2783" fmla="*/ 2498208 w 11683878"/>
                <a:gd name="connsiteY2783" fmla="*/ 3209351 h 6246035"/>
                <a:gd name="connsiteX2784" fmla="*/ 2498208 w 11683878"/>
                <a:gd name="connsiteY2784" fmla="*/ 3209352 h 6246035"/>
                <a:gd name="connsiteX2785" fmla="*/ 1159254 w 11683878"/>
                <a:gd name="connsiteY2785" fmla="*/ 3207399 h 6246035"/>
                <a:gd name="connsiteX2786" fmla="*/ 1146077 w 11683878"/>
                <a:gd name="connsiteY2786" fmla="*/ 3215896 h 6246035"/>
                <a:gd name="connsiteX2787" fmla="*/ 1151291 w 11683878"/>
                <a:gd name="connsiteY2787" fmla="*/ 3264662 h 6246035"/>
                <a:gd name="connsiteX2788" fmla="*/ 1120335 w 11683878"/>
                <a:gd name="connsiteY2788" fmla="*/ 3272915 h 6246035"/>
                <a:gd name="connsiteX2789" fmla="*/ 1085303 w 11683878"/>
                <a:gd name="connsiteY2789" fmla="*/ 3339039 h 6246035"/>
                <a:gd name="connsiteX2790" fmla="*/ 1041588 w 11683878"/>
                <a:gd name="connsiteY2790" fmla="*/ 3334925 h 6246035"/>
                <a:gd name="connsiteX2791" fmla="*/ 1036463 w 11683878"/>
                <a:gd name="connsiteY2791" fmla="*/ 3294377 h 6246035"/>
                <a:gd name="connsiteX2792" fmla="*/ 1036457 w 11683878"/>
                <a:gd name="connsiteY2792" fmla="*/ 3294360 h 6246035"/>
                <a:gd name="connsiteX2793" fmla="*/ 1036454 w 11683878"/>
                <a:gd name="connsiteY2793" fmla="*/ 3294377 h 6246035"/>
                <a:gd name="connsiteX2794" fmla="*/ 1041579 w 11683878"/>
                <a:gd name="connsiteY2794" fmla="*/ 3334926 h 6246035"/>
                <a:gd name="connsiteX2795" fmla="*/ 1061703 w 11683878"/>
                <a:gd name="connsiteY2795" fmla="*/ 3336819 h 6246035"/>
                <a:gd name="connsiteX2796" fmla="*/ 1085298 w 11683878"/>
                <a:gd name="connsiteY2796" fmla="*/ 3339039 h 6246035"/>
                <a:gd name="connsiteX2797" fmla="*/ 1058871 w 11683878"/>
                <a:gd name="connsiteY2797" fmla="*/ 3360086 h 6246035"/>
                <a:gd name="connsiteX2798" fmla="*/ 1077227 w 11683878"/>
                <a:gd name="connsiteY2798" fmla="*/ 3386338 h 6246035"/>
                <a:gd name="connsiteX2799" fmla="*/ 1067230 w 11683878"/>
                <a:gd name="connsiteY2799" fmla="*/ 3426063 h 6246035"/>
                <a:gd name="connsiteX2800" fmla="*/ 1098157 w 11683878"/>
                <a:gd name="connsiteY2800" fmla="*/ 3443943 h 6246035"/>
                <a:gd name="connsiteX2801" fmla="*/ 1072728 w 11683878"/>
                <a:gd name="connsiteY2801" fmla="*/ 3452527 h 6246035"/>
                <a:gd name="connsiteX2802" fmla="*/ 1102893 w 11683878"/>
                <a:gd name="connsiteY2802" fmla="*/ 3443206 h 6246035"/>
                <a:gd name="connsiteX2803" fmla="*/ 1120205 w 11683878"/>
                <a:gd name="connsiteY2803" fmla="*/ 3478432 h 6246035"/>
                <a:gd name="connsiteX2804" fmla="*/ 1160302 w 11683878"/>
                <a:gd name="connsiteY2804" fmla="*/ 3494894 h 6246035"/>
                <a:gd name="connsiteX2805" fmla="*/ 1160304 w 11683878"/>
                <a:gd name="connsiteY2805" fmla="*/ 3494893 h 6246035"/>
                <a:gd name="connsiteX2806" fmla="*/ 1120211 w 11683878"/>
                <a:gd name="connsiteY2806" fmla="*/ 3478432 h 6246035"/>
                <a:gd name="connsiteX2807" fmla="*/ 1102899 w 11683878"/>
                <a:gd name="connsiteY2807" fmla="*/ 3443207 h 6246035"/>
                <a:gd name="connsiteX2808" fmla="*/ 1069397 w 11683878"/>
                <a:gd name="connsiteY2808" fmla="*/ 3424806 h 6246035"/>
                <a:gd name="connsiteX2809" fmla="*/ 1077233 w 11683878"/>
                <a:gd name="connsiteY2809" fmla="*/ 3386338 h 6246035"/>
                <a:gd name="connsiteX2810" fmla="*/ 1058877 w 11683878"/>
                <a:gd name="connsiteY2810" fmla="*/ 3360086 h 6246035"/>
                <a:gd name="connsiteX2811" fmla="*/ 1091580 w 11683878"/>
                <a:gd name="connsiteY2811" fmla="*/ 3336293 h 6246035"/>
                <a:gd name="connsiteX2812" fmla="*/ 1120335 w 11683878"/>
                <a:gd name="connsiteY2812" fmla="*/ 3272916 h 6246035"/>
                <a:gd name="connsiteX2813" fmla="*/ 1151291 w 11683878"/>
                <a:gd name="connsiteY2813" fmla="*/ 3264662 h 6246035"/>
                <a:gd name="connsiteX2814" fmla="*/ 1146078 w 11683878"/>
                <a:gd name="connsiteY2814" fmla="*/ 3215896 h 6246035"/>
                <a:gd name="connsiteX2815" fmla="*/ 1159254 w 11683878"/>
                <a:gd name="connsiteY2815" fmla="*/ 3207400 h 6246035"/>
                <a:gd name="connsiteX2816" fmla="*/ 1168249 w 11683878"/>
                <a:gd name="connsiteY2816" fmla="*/ 3220619 h 6246035"/>
                <a:gd name="connsiteX2817" fmla="*/ 1168446 w 11683878"/>
                <a:gd name="connsiteY2817" fmla="*/ 3220323 h 6246035"/>
                <a:gd name="connsiteX2818" fmla="*/ 2320548 w 11683878"/>
                <a:gd name="connsiteY2818" fmla="*/ 3207305 h 6246035"/>
                <a:gd name="connsiteX2819" fmla="*/ 2320550 w 11683878"/>
                <a:gd name="connsiteY2819" fmla="*/ 3207308 h 6246035"/>
                <a:gd name="connsiteX2820" fmla="*/ 2304984 w 11683878"/>
                <a:gd name="connsiteY2820" fmla="*/ 3228206 h 6246035"/>
                <a:gd name="connsiteX2821" fmla="*/ 2331201 w 11683878"/>
                <a:gd name="connsiteY2821" fmla="*/ 3260039 h 6246035"/>
                <a:gd name="connsiteX2822" fmla="*/ 2331201 w 11683878"/>
                <a:gd name="connsiteY2822" fmla="*/ 3260052 h 6246035"/>
                <a:gd name="connsiteX2823" fmla="*/ 2331206 w 11683878"/>
                <a:gd name="connsiteY2823" fmla="*/ 3260039 h 6246035"/>
                <a:gd name="connsiteX2824" fmla="*/ 2304988 w 11683878"/>
                <a:gd name="connsiteY2824" fmla="*/ 3228206 h 6246035"/>
                <a:gd name="connsiteX2825" fmla="*/ 2320555 w 11683878"/>
                <a:gd name="connsiteY2825" fmla="*/ 3207308 h 6246035"/>
                <a:gd name="connsiteX2826" fmla="*/ 1441572 w 11683878"/>
                <a:gd name="connsiteY2826" fmla="*/ 3201294 h 6246035"/>
                <a:gd name="connsiteX2827" fmla="*/ 1441617 w 11683878"/>
                <a:gd name="connsiteY2827" fmla="*/ 3218610 h 6246035"/>
                <a:gd name="connsiteX2828" fmla="*/ 1445447 w 11683878"/>
                <a:gd name="connsiteY2828" fmla="*/ 3217243 h 6246035"/>
                <a:gd name="connsiteX2829" fmla="*/ 1794525 w 11683878"/>
                <a:gd name="connsiteY2829" fmla="*/ 3200129 h 6246035"/>
                <a:gd name="connsiteX2830" fmla="*/ 1779092 w 11683878"/>
                <a:gd name="connsiteY2830" fmla="*/ 3218441 h 6246035"/>
                <a:gd name="connsiteX2831" fmla="*/ 1779704 w 11683878"/>
                <a:gd name="connsiteY2831" fmla="*/ 3219096 h 6246035"/>
                <a:gd name="connsiteX2832" fmla="*/ 1794539 w 11683878"/>
                <a:gd name="connsiteY2832" fmla="*/ 3200112 h 6246035"/>
                <a:gd name="connsiteX2833" fmla="*/ 1816203 w 11683878"/>
                <a:gd name="connsiteY2833" fmla="*/ 3216754 h 6246035"/>
                <a:gd name="connsiteX2834" fmla="*/ 1811625 w 11683878"/>
                <a:gd name="connsiteY2834" fmla="*/ 3207380 h 6246035"/>
                <a:gd name="connsiteX2835" fmla="*/ 1794539 w 11683878"/>
                <a:gd name="connsiteY2835" fmla="*/ 3200112 h 6246035"/>
                <a:gd name="connsiteX2836" fmla="*/ 2984607 w 11683878"/>
                <a:gd name="connsiteY2836" fmla="*/ 3195998 h 6246035"/>
                <a:gd name="connsiteX2837" fmla="*/ 2984607 w 11683878"/>
                <a:gd name="connsiteY2837" fmla="*/ 3195999 h 6246035"/>
                <a:gd name="connsiteX2838" fmla="*/ 3008802 w 11683878"/>
                <a:gd name="connsiteY2838" fmla="*/ 3209231 h 6246035"/>
                <a:gd name="connsiteX2839" fmla="*/ 1177515 w 11683878"/>
                <a:gd name="connsiteY2839" fmla="*/ 3193626 h 6246035"/>
                <a:gd name="connsiteX2840" fmla="*/ 1181741 w 11683878"/>
                <a:gd name="connsiteY2840" fmla="*/ 3200432 h 6246035"/>
                <a:gd name="connsiteX2841" fmla="*/ 1185054 w 11683878"/>
                <a:gd name="connsiteY2841" fmla="*/ 3195474 h 6246035"/>
                <a:gd name="connsiteX2842" fmla="*/ 1754275 w 11683878"/>
                <a:gd name="connsiteY2842" fmla="*/ 3191904 h 6246035"/>
                <a:gd name="connsiteX2843" fmla="*/ 1742464 w 11683878"/>
                <a:gd name="connsiteY2843" fmla="*/ 3198891 h 6246035"/>
                <a:gd name="connsiteX2844" fmla="*/ 1742459 w 11683878"/>
                <a:gd name="connsiteY2844" fmla="*/ 3198894 h 6246035"/>
                <a:gd name="connsiteX2845" fmla="*/ 1754275 w 11683878"/>
                <a:gd name="connsiteY2845" fmla="*/ 3191905 h 6246035"/>
                <a:gd name="connsiteX2846" fmla="*/ 1754300 w 11683878"/>
                <a:gd name="connsiteY2846" fmla="*/ 3191932 h 6246035"/>
                <a:gd name="connsiteX2847" fmla="*/ 2539614 w 11683878"/>
                <a:gd name="connsiteY2847" fmla="*/ 3191862 h 6246035"/>
                <a:gd name="connsiteX2848" fmla="*/ 2538558 w 11683878"/>
                <a:gd name="connsiteY2848" fmla="*/ 3192308 h 6246035"/>
                <a:gd name="connsiteX2849" fmla="*/ 2525581 w 11683878"/>
                <a:gd name="connsiteY2849" fmla="*/ 3212371 h 6246035"/>
                <a:gd name="connsiteX2850" fmla="*/ 2159399 w 11683878"/>
                <a:gd name="connsiteY2850" fmla="*/ 3191780 h 6246035"/>
                <a:gd name="connsiteX2851" fmla="*/ 2157431 w 11683878"/>
                <a:gd name="connsiteY2851" fmla="*/ 3192630 h 6246035"/>
                <a:gd name="connsiteX2852" fmla="*/ 2160998 w 11683878"/>
                <a:gd name="connsiteY2852" fmla="*/ 3246446 h 6246035"/>
                <a:gd name="connsiteX2853" fmla="*/ 2165307 w 11683878"/>
                <a:gd name="connsiteY2853" fmla="*/ 3244889 h 6246035"/>
                <a:gd name="connsiteX2854" fmla="*/ 1751004 w 11683878"/>
                <a:gd name="connsiteY2854" fmla="*/ 3190214 h 6246035"/>
                <a:gd name="connsiteX2855" fmla="*/ 1752380 w 11683878"/>
                <a:gd name="connsiteY2855" fmla="*/ 3190576 h 6246035"/>
                <a:gd name="connsiteX2856" fmla="*/ 1742482 w 11683878"/>
                <a:gd name="connsiteY2856" fmla="*/ 3198875 h 6246035"/>
                <a:gd name="connsiteX2857" fmla="*/ 1752823 w 11683878"/>
                <a:gd name="connsiteY2857" fmla="*/ 3190642 h 6246035"/>
                <a:gd name="connsiteX2858" fmla="*/ 5368244 w 11683878"/>
                <a:gd name="connsiteY2858" fmla="*/ 3186193 h 6246035"/>
                <a:gd name="connsiteX2859" fmla="*/ 5368158 w 11683878"/>
                <a:gd name="connsiteY2859" fmla="*/ 3186258 h 6246035"/>
                <a:gd name="connsiteX2860" fmla="*/ 5372466 w 11683878"/>
                <a:gd name="connsiteY2860" fmla="*/ 3224773 h 6246035"/>
                <a:gd name="connsiteX2861" fmla="*/ 5404775 w 11683878"/>
                <a:gd name="connsiteY2861" fmla="*/ 3236799 h 6246035"/>
                <a:gd name="connsiteX2862" fmla="*/ 5426979 w 11683878"/>
                <a:gd name="connsiteY2862" fmla="*/ 3294251 h 6246035"/>
                <a:gd name="connsiteX2863" fmla="*/ 5392443 w 11683878"/>
                <a:gd name="connsiteY2863" fmla="*/ 3370061 h 6246035"/>
                <a:gd name="connsiteX2864" fmla="*/ 5392562 w 11683878"/>
                <a:gd name="connsiteY2864" fmla="*/ 3370080 h 6246035"/>
                <a:gd name="connsiteX2865" fmla="*/ 5426983 w 11683878"/>
                <a:gd name="connsiteY2865" fmla="*/ 3294250 h 6246035"/>
                <a:gd name="connsiteX2866" fmla="*/ 5404781 w 11683878"/>
                <a:gd name="connsiteY2866" fmla="*/ 3236794 h 6246035"/>
                <a:gd name="connsiteX2867" fmla="*/ 5372469 w 11683878"/>
                <a:gd name="connsiteY2867" fmla="*/ 3224772 h 6246035"/>
                <a:gd name="connsiteX2868" fmla="*/ 1348318 w 11683878"/>
                <a:gd name="connsiteY2868" fmla="*/ 3181827 h 6246035"/>
                <a:gd name="connsiteX2869" fmla="*/ 1348942 w 11683878"/>
                <a:gd name="connsiteY2869" fmla="*/ 3185172 h 6246035"/>
                <a:gd name="connsiteX2870" fmla="*/ 1378108 w 11683878"/>
                <a:gd name="connsiteY2870" fmla="*/ 3199985 h 6246035"/>
                <a:gd name="connsiteX2871" fmla="*/ 1378110 w 11683878"/>
                <a:gd name="connsiteY2871" fmla="*/ 3199989 h 6246035"/>
                <a:gd name="connsiteX2872" fmla="*/ 1378108 w 11683878"/>
                <a:gd name="connsiteY2872" fmla="*/ 3199984 h 6246035"/>
                <a:gd name="connsiteX2873" fmla="*/ 6826538 w 11683878"/>
                <a:gd name="connsiteY2873" fmla="*/ 3181433 h 6246035"/>
                <a:gd name="connsiteX2874" fmla="*/ 6838061 w 11683878"/>
                <a:gd name="connsiteY2874" fmla="*/ 3229802 h 6246035"/>
                <a:gd name="connsiteX2875" fmla="*/ 6827740 w 11683878"/>
                <a:gd name="connsiteY2875" fmla="*/ 3273478 h 6246035"/>
                <a:gd name="connsiteX2876" fmla="*/ 6827959 w 11683878"/>
                <a:gd name="connsiteY2876" fmla="*/ 3273695 h 6246035"/>
                <a:gd name="connsiteX2877" fmla="*/ 6838223 w 11683878"/>
                <a:gd name="connsiteY2877" fmla="*/ 3230012 h 6246035"/>
                <a:gd name="connsiteX2878" fmla="*/ 1742842 w 11683878"/>
                <a:gd name="connsiteY2878" fmla="*/ 3177904 h 6246035"/>
                <a:gd name="connsiteX2879" fmla="*/ 1727591 w 11683878"/>
                <a:gd name="connsiteY2879" fmla="*/ 3184057 h 6246035"/>
                <a:gd name="connsiteX2880" fmla="*/ 1732844 w 11683878"/>
                <a:gd name="connsiteY2880" fmla="*/ 3185438 h 6246035"/>
                <a:gd name="connsiteX2881" fmla="*/ 2228249 w 11683878"/>
                <a:gd name="connsiteY2881" fmla="*/ 3174199 h 6246035"/>
                <a:gd name="connsiteX2882" fmla="*/ 2250308 w 11683878"/>
                <a:gd name="connsiteY2882" fmla="*/ 3189015 h 6246035"/>
                <a:gd name="connsiteX2883" fmla="*/ 2283582 w 11683878"/>
                <a:gd name="connsiteY2883" fmla="*/ 3194047 h 6246035"/>
                <a:gd name="connsiteX2884" fmla="*/ 3640029 w 11683878"/>
                <a:gd name="connsiteY2884" fmla="*/ 3172591 h 6246035"/>
                <a:gd name="connsiteX2885" fmla="*/ 3700586 w 11683878"/>
                <a:gd name="connsiteY2885" fmla="*/ 3219487 h 6246035"/>
                <a:gd name="connsiteX2886" fmla="*/ 3699963 w 11683878"/>
                <a:gd name="connsiteY2886" fmla="*/ 3218201 h 6246035"/>
                <a:gd name="connsiteX2887" fmla="*/ 3569479 w 11683878"/>
                <a:gd name="connsiteY2887" fmla="*/ 3170449 h 6246035"/>
                <a:gd name="connsiteX2888" fmla="*/ 3545209 w 11683878"/>
                <a:gd name="connsiteY2888" fmla="*/ 3194979 h 6246035"/>
                <a:gd name="connsiteX2889" fmla="*/ 3537635 w 11683878"/>
                <a:gd name="connsiteY2889" fmla="*/ 3223484 h 6246035"/>
                <a:gd name="connsiteX2890" fmla="*/ 1692659 w 11683878"/>
                <a:gd name="connsiteY2890" fmla="*/ 3170149 h 6246035"/>
                <a:gd name="connsiteX2891" fmla="*/ 1678147 w 11683878"/>
                <a:gd name="connsiteY2891" fmla="*/ 3180997 h 6246035"/>
                <a:gd name="connsiteX2892" fmla="*/ 1679452 w 11683878"/>
                <a:gd name="connsiteY2892" fmla="*/ 3189883 h 6246035"/>
                <a:gd name="connsiteX2893" fmla="*/ 2212865 w 11683878"/>
                <a:gd name="connsiteY2893" fmla="*/ 3168681 h 6246035"/>
                <a:gd name="connsiteX2894" fmla="*/ 2193357 w 11683878"/>
                <a:gd name="connsiteY2894" fmla="*/ 3177109 h 6246035"/>
                <a:gd name="connsiteX2895" fmla="*/ 2214198 w 11683878"/>
                <a:gd name="connsiteY2895" fmla="*/ 3169159 h 6246035"/>
                <a:gd name="connsiteX2896" fmla="*/ 2468245 w 11683878"/>
                <a:gd name="connsiteY2896" fmla="*/ 3164712 h 6246035"/>
                <a:gd name="connsiteX2897" fmla="*/ 2444564 w 11683878"/>
                <a:gd name="connsiteY2897" fmla="*/ 3175313 h 6246035"/>
                <a:gd name="connsiteX2898" fmla="*/ 2434769 w 11683878"/>
                <a:gd name="connsiteY2898" fmla="*/ 3171687 h 6246035"/>
                <a:gd name="connsiteX2899" fmla="*/ 2444564 w 11683878"/>
                <a:gd name="connsiteY2899" fmla="*/ 3175314 h 6246035"/>
                <a:gd name="connsiteX2900" fmla="*/ 2468246 w 11683878"/>
                <a:gd name="connsiteY2900" fmla="*/ 3164714 h 6246035"/>
                <a:gd name="connsiteX2901" fmla="*/ 1939514 w 11683878"/>
                <a:gd name="connsiteY2901" fmla="*/ 3164167 h 6246035"/>
                <a:gd name="connsiteX2902" fmla="*/ 1939767 w 11683878"/>
                <a:gd name="connsiteY2902" fmla="*/ 3164903 h 6246035"/>
                <a:gd name="connsiteX2903" fmla="*/ 1931566 w 11683878"/>
                <a:gd name="connsiteY2903" fmla="*/ 3203307 h 6246035"/>
                <a:gd name="connsiteX2904" fmla="*/ 1939768 w 11683878"/>
                <a:gd name="connsiteY2904" fmla="*/ 3164903 h 6246035"/>
                <a:gd name="connsiteX2905" fmla="*/ 125434 w 11683878"/>
                <a:gd name="connsiteY2905" fmla="*/ 3162869 h 6246035"/>
                <a:gd name="connsiteX2906" fmla="*/ 156573 w 11683878"/>
                <a:gd name="connsiteY2906" fmla="*/ 3191078 h 6246035"/>
                <a:gd name="connsiteX2907" fmla="*/ 156317 w 11683878"/>
                <a:gd name="connsiteY2907" fmla="*/ 3196969 h 6246035"/>
                <a:gd name="connsiteX2908" fmla="*/ 1183560 w 11683878"/>
                <a:gd name="connsiteY2908" fmla="*/ 3160840 h 6246035"/>
                <a:gd name="connsiteX2909" fmla="*/ 1159277 w 11683878"/>
                <a:gd name="connsiteY2909" fmla="*/ 3164262 h 6246035"/>
                <a:gd name="connsiteX2910" fmla="*/ 1159277 w 11683878"/>
                <a:gd name="connsiteY2910" fmla="*/ 3164263 h 6246035"/>
                <a:gd name="connsiteX2911" fmla="*/ 1183560 w 11683878"/>
                <a:gd name="connsiteY2911" fmla="*/ 3160841 h 6246035"/>
                <a:gd name="connsiteX2912" fmla="*/ 3003648 w 11683878"/>
                <a:gd name="connsiteY2912" fmla="*/ 3158792 h 6246035"/>
                <a:gd name="connsiteX2913" fmla="*/ 2994357 w 11683878"/>
                <a:gd name="connsiteY2913" fmla="*/ 3162857 h 6246035"/>
                <a:gd name="connsiteX2914" fmla="*/ 2993637 w 11683878"/>
                <a:gd name="connsiteY2914" fmla="*/ 3165301 h 6246035"/>
                <a:gd name="connsiteX2915" fmla="*/ 6780079 w 11683878"/>
                <a:gd name="connsiteY2915" fmla="*/ 3150571 h 6246035"/>
                <a:gd name="connsiteX2916" fmla="*/ 6779701 w 11683878"/>
                <a:gd name="connsiteY2916" fmla="*/ 3150663 h 6246035"/>
                <a:gd name="connsiteX2917" fmla="*/ 6826280 w 11683878"/>
                <a:gd name="connsiteY2917" fmla="*/ 3180363 h 6246035"/>
                <a:gd name="connsiteX2918" fmla="*/ 3639428 w 11683878"/>
                <a:gd name="connsiteY2918" fmla="*/ 3149387 h 6246035"/>
                <a:gd name="connsiteX2919" fmla="*/ 3630292 w 11683878"/>
                <a:gd name="connsiteY2919" fmla="*/ 3165051 h 6246035"/>
                <a:gd name="connsiteX2920" fmla="*/ 3630532 w 11683878"/>
                <a:gd name="connsiteY2920" fmla="*/ 3165237 h 6246035"/>
                <a:gd name="connsiteX2921" fmla="*/ 4441687 w 11683878"/>
                <a:gd name="connsiteY2921" fmla="*/ 3147379 h 6246035"/>
                <a:gd name="connsiteX2922" fmla="*/ 4469032 w 11683878"/>
                <a:gd name="connsiteY2922" fmla="*/ 3156647 h 6246035"/>
                <a:gd name="connsiteX2923" fmla="*/ 4488216 w 11683878"/>
                <a:gd name="connsiteY2923" fmla="*/ 3190013 h 6246035"/>
                <a:gd name="connsiteX2924" fmla="*/ 4468992 w 11683878"/>
                <a:gd name="connsiteY2924" fmla="*/ 3156464 h 6246035"/>
                <a:gd name="connsiteX2925" fmla="*/ 3583815 w 11683878"/>
                <a:gd name="connsiteY2925" fmla="*/ 3146576 h 6246035"/>
                <a:gd name="connsiteX2926" fmla="*/ 3539912 w 11683878"/>
                <a:gd name="connsiteY2926" fmla="*/ 3147651 h 6246035"/>
                <a:gd name="connsiteX2927" fmla="*/ 3579685 w 11683878"/>
                <a:gd name="connsiteY2927" fmla="*/ 3153453 h 6246035"/>
                <a:gd name="connsiteX2928" fmla="*/ 3642688 w 11683878"/>
                <a:gd name="connsiteY2928" fmla="*/ 3142531 h 6246035"/>
                <a:gd name="connsiteX2929" fmla="*/ 3643016 w 11683878"/>
                <a:gd name="connsiteY2929" fmla="*/ 3142993 h 6246035"/>
                <a:gd name="connsiteX2930" fmla="*/ 3643049 w 11683878"/>
                <a:gd name="connsiteY2930" fmla="*/ 3142936 h 6246035"/>
                <a:gd name="connsiteX2931" fmla="*/ 1753177 w 11683878"/>
                <a:gd name="connsiteY2931" fmla="*/ 3130809 h 6246035"/>
                <a:gd name="connsiteX2932" fmla="*/ 1753935 w 11683878"/>
                <a:gd name="connsiteY2932" fmla="*/ 3149923 h 6246035"/>
                <a:gd name="connsiteX2933" fmla="*/ 1753182 w 11683878"/>
                <a:gd name="connsiteY2933" fmla="*/ 3130814 h 6246035"/>
                <a:gd name="connsiteX2934" fmla="*/ 1606795 w 11683878"/>
                <a:gd name="connsiteY2934" fmla="*/ 3125299 h 6246035"/>
                <a:gd name="connsiteX2935" fmla="*/ 1606795 w 11683878"/>
                <a:gd name="connsiteY2935" fmla="*/ 3125302 h 6246035"/>
                <a:gd name="connsiteX2936" fmla="*/ 1607224 w 11683878"/>
                <a:gd name="connsiteY2936" fmla="*/ 3125350 h 6246035"/>
                <a:gd name="connsiteX2937" fmla="*/ 9224492 w 11683878"/>
                <a:gd name="connsiteY2937" fmla="*/ 3124969 h 6246035"/>
                <a:gd name="connsiteX2938" fmla="*/ 9219750 w 11683878"/>
                <a:gd name="connsiteY2938" fmla="*/ 3132221 h 6246035"/>
                <a:gd name="connsiteX2939" fmla="*/ 9234815 w 11683878"/>
                <a:gd name="connsiteY2939" fmla="*/ 3215604 h 6246035"/>
                <a:gd name="connsiteX2940" fmla="*/ 9194184 w 11683878"/>
                <a:gd name="connsiteY2940" fmla="*/ 3266151 h 6246035"/>
                <a:gd name="connsiteX2941" fmla="*/ 9202638 w 11683878"/>
                <a:gd name="connsiteY2941" fmla="*/ 3284444 h 6246035"/>
                <a:gd name="connsiteX2942" fmla="*/ 9196615 w 11683878"/>
                <a:gd name="connsiteY2942" fmla="*/ 3295622 h 6246035"/>
                <a:gd name="connsiteX2943" fmla="*/ 9202785 w 11683878"/>
                <a:gd name="connsiteY2943" fmla="*/ 3284618 h 6246035"/>
                <a:gd name="connsiteX2944" fmla="*/ 9194186 w 11683878"/>
                <a:gd name="connsiteY2944" fmla="*/ 3266151 h 6246035"/>
                <a:gd name="connsiteX2945" fmla="*/ 9234816 w 11683878"/>
                <a:gd name="connsiteY2945" fmla="*/ 3215604 h 6246035"/>
                <a:gd name="connsiteX2946" fmla="*/ 9219807 w 11683878"/>
                <a:gd name="connsiteY2946" fmla="*/ 3132484 h 6246035"/>
                <a:gd name="connsiteX2947" fmla="*/ 1783215 w 11683878"/>
                <a:gd name="connsiteY2947" fmla="*/ 3124338 h 6246035"/>
                <a:gd name="connsiteX2948" fmla="*/ 1784258 w 11683878"/>
                <a:gd name="connsiteY2948" fmla="*/ 3150705 h 6246035"/>
                <a:gd name="connsiteX2949" fmla="*/ 1785882 w 11683878"/>
                <a:gd name="connsiteY2949" fmla="*/ 3151746 h 6246035"/>
                <a:gd name="connsiteX2950" fmla="*/ 1783202 w 11683878"/>
                <a:gd name="connsiteY2950" fmla="*/ 3124320 h 6246035"/>
                <a:gd name="connsiteX2951" fmla="*/ 1783214 w 11683878"/>
                <a:gd name="connsiteY2951" fmla="*/ 3124322 h 6246035"/>
                <a:gd name="connsiteX2952" fmla="*/ 1783214 w 11683878"/>
                <a:gd name="connsiteY2952" fmla="*/ 3124321 h 6246035"/>
                <a:gd name="connsiteX2953" fmla="*/ 4390575 w 11683878"/>
                <a:gd name="connsiteY2953" fmla="*/ 3122596 h 6246035"/>
                <a:gd name="connsiteX2954" fmla="*/ 4375608 w 11683878"/>
                <a:gd name="connsiteY2954" fmla="*/ 3133393 h 6246035"/>
                <a:gd name="connsiteX2955" fmla="*/ 4375709 w 11683878"/>
                <a:gd name="connsiteY2955" fmla="*/ 3133487 h 6246035"/>
                <a:gd name="connsiteX2956" fmla="*/ 4390596 w 11683878"/>
                <a:gd name="connsiteY2956" fmla="*/ 3122700 h 6246035"/>
                <a:gd name="connsiteX2957" fmla="*/ 1309627 w 11683878"/>
                <a:gd name="connsiteY2957" fmla="*/ 3122099 h 6246035"/>
                <a:gd name="connsiteX2958" fmla="*/ 1310216 w 11683878"/>
                <a:gd name="connsiteY2958" fmla="*/ 3124665 h 6246035"/>
                <a:gd name="connsiteX2959" fmla="*/ 1338472 w 11683878"/>
                <a:gd name="connsiteY2959" fmla="*/ 3129090 h 6246035"/>
                <a:gd name="connsiteX2960" fmla="*/ 5371969 w 11683878"/>
                <a:gd name="connsiteY2960" fmla="*/ 3121148 h 6246035"/>
                <a:gd name="connsiteX2961" fmla="*/ 5371301 w 11683878"/>
                <a:gd name="connsiteY2961" fmla="*/ 3121939 h 6246035"/>
                <a:gd name="connsiteX2962" fmla="*/ 5390223 w 11683878"/>
                <a:gd name="connsiteY2962" fmla="*/ 3169865 h 6246035"/>
                <a:gd name="connsiteX2963" fmla="*/ 5389758 w 11683878"/>
                <a:gd name="connsiteY2963" fmla="*/ 3170211 h 6246035"/>
                <a:gd name="connsiteX2964" fmla="*/ 5390227 w 11683878"/>
                <a:gd name="connsiteY2964" fmla="*/ 3169864 h 6246035"/>
                <a:gd name="connsiteX2965" fmla="*/ 1179296 w 11683878"/>
                <a:gd name="connsiteY2965" fmla="*/ 3120216 h 6246035"/>
                <a:gd name="connsiteX2966" fmla="*/ 1180830 w 11683878"/>
                <a:gd name="connsiteY2966" fmla="*/ 3134835 h 6246035"/>
                <a:gd name="connsiteX2967" fmla="*/ 1182377 w 11683878"/>
                <a:gd name="connsiteY2967" fmla="*/ 3134597 h 6246035"/>
                <a:gd name="connsiteX2968" fmla="*/ 1446492 w 11683878"/>
                <a:gd name="connsiteY2968" fmla="*/ 3119159 h 6246035"/>
                <a:gd name="connsiteX2969" fmla="*/ 1441364 w 11683878"/>
                <a:gd name="connsiteY2969" fmla="*/ 3122109 h 6246035"/>
                <a:gd name="connsiteX2970" fmla="*/ 1441413 w 11683878"/>
                <a:gd name="connsiteY2970" fmla="*/ 3140901 h 6246035"/>
                <a:gd name="connsiteX2971" fmla="*/ 9232157 w 11683878"/>
                <a:gd name="connsiteY2971" fmla="*/ 3112363 h 6246035"/>
                <a:gd name="connsiteX2972" fmla="*/ 9232236 w 11683878"/>
                <a:gd name="connsiteY2972" fmla="*/ 3112546 h 6246035"/>
                <a:gd name="connsiteX2973" fmla="*/ 9232245 w 11683878"/>
                <a:gd name="connsiteY2973" fmla="*/ 3112531 h 6246035"/>
                <a:gd name="connsiteX2974" fmla="*/ 1921174 w 11683878"/>
                <a:gd name="connsiteY2974" fmla="*/ 3111185 h 6246035"/>
                <a:gd name="connsiteX2975" fmla="*/ 1881837 w 11683878"/>
                <a:gd name="connsiteY2975" fmla="*/ 3111248 h 6246035"/>
                <a:gd name="connsiteX2976" fmla="*/ 1882295 w 11683878"/>
                <a:gd name="connsiteY2976" fmla="*/ 3111967 h 6246035"/>
                <a:gd name="connsiteX2977" fmla="*/ 1921215 w 11683878"/>
                <a:gd name="connsiteY2977" fmla="*/ 3111307 h 6246035"/>
                <a:gd name="connsiteX2978" fmla="*/ 4351354 w 11683878"/>
                <a:gd name="connsiteY2978" fmla="*/ 3111026 h 6246035"/>
                <a:gd name="connsiteX2979" fmla="*/ 4350995 w 11683878"/>
                <a:gd name="connsiteY2979" fmla="*/ 3111132 h 6246035"/>
                <a:gd name="connsiteX2980" fmla="*/ 4351355 w 11683878"/>
                <a:gd name="connsiteY2980" fmla="*/ 3111026 h 6246035"/>
                <a:gd name="connsiteX2981" fmla="*/ 2241989 w 11683878"/>
                <a:gd name="connsiteY2981" fmla="*/ 3109966 h 6246035"/>
                <a:gd name="connsiteX2982" fmla="*/ 2242957 w 11683878"/>
                <a:gd name="connsiteY2982" fmla="*/ 3110632 h 6246035"/>
                <a:gd name="connsiteX2983" fmla="*/ 2218059 w 11683878"/>
                <a:gd name="connsiteY2983" fmla="*/ 3124171 h 6246035"/>
                <a:gd name="connsiteX2984" fmla="*/ 2218055 w 11683878"/>
                <a:gd name="connsiteY2984" fmla="*/ 3124212 h 6246035"/>
                <a:gd name="connsiteX2985" fmla="*/ 2218062 w 11683878"/>
                <a:gd name="connsiteY2985" fmla="*/ 3124172 h 6246035"/>
                <a:gd name="connsiteX2986" fmla="*/ 2242963 w 11683878"/>
                <a:gd name="connsiteY2986" fmla="*/ 3110633 h 6246035"/>
                <a:gd name="connsiteX2987" fmla="*/ 1766328 w 11683878"/>
                <a:gd name="connsiteY2987" fmla="*/ 3107327 h 6246035"/>
                <a:gd name="connsiteX2988" fmla="*/ 1760555 w 11683878"/>
                <a:gd name="connsiteY2988" fmla="*/ 3121500 h 6246035"/>
                <a:gd name="connsiteX2989" fmla="*/ 1761692 w 11683878"/>
                <a:gd name="connsiteY2989" fmla="*/ 3121642 h 6246035"/>
                <a:gd name="connsiteX2990" fmla="*/ 1835895 w 11683878"/>
                <a:gd name="connsiteY2990" fmla="*/ 3106902 h 6246035"/>
                <a:gd name="connsiteX2991" fmla="*/ 1816357 w 11683878"/>
                <a:gd name="connsiteY2991" fmla="*/ 3107733 h 6246035"/>
                <a:gd name="connsiteX2992" fmla="*/ 1809012 w 11683878"/>
                <a:gd name="connsiteY2992" fmla="*/ 3124087 h 6246035"/>
                <a:gd name="connsiteX2993" fmla="*/ 1809128 w 11683878"/>
                <a:gd name="connsiteY2993" fmla="*/ 3124136 h 6246035"/>
                <a:gd name="connsiteX2994" fmla="*/ 1766824 w 11683878"/>
                <a:gd name="connsiteY2994" fmla="*/ 3106110 h 6246035"/>
                <a:gd name="connsiteX2995" fmla="*/ 1766768 w 11683878"/>
                <a:gd name="connsiteY2995" fmla="*/ 3106247 h 6246035"/>
                <a:gd name="connsiteX2996" fmla="*/ 1775631 w 11683878"/>
                <a:gd name="connsiteY2996" fmla="*/ 3109990 h 6246035"/>
                <a:gd name="connsiteX2997" fmla="*/ 3622308 w 11683878"/>
                <a:gd name="connsiteY2997" fmla="*/ 3105588 h 6246035"/>
                <a:gd name="connsiteX2998" fmla="*/ 3611658 w 11683878"/>
                <a:gd name="connsiteY2998" fmla="*/ 3117502 h 6246035"/>
                <a:gd name="connsiteX2999" fmla="*/ 3615730 w 11683878"/>
                <a:gd name="connsiteY2999" fmla="*/ 3115093 h 6246035"/>
                <a:gd name="connsiteX3000" fmla="*/ 3623062 w 11683878"/>
                <a:gd name="connsiteY3000" fmla="*/ 3120464 h 6246035"/>
                <a:gd name="connsiteX3001" fmla="*/ 3618378 w 11683878"/>
                <a:gd name="connsiteY3001" fmla="*/ 3115196 h 6246035"/>
                <a:gd name="connsiteX3002" fmla="*/ 1663834 w 11683878"/>
                <a:gd name="connsiteY3002" fmla="*/ 3105406 h 6246035"/>
                <a:gd name="connsiteX3003" fmla="*/ 1632519 w 11683878"/>
                <a:gd name="connsiteY3003" fmla="*/ 3128201 h 6246035"/>
                <a:gd name="connsiteX3004" fmla="*/ 1632564 w 11683878"/>
                <a:gd name="connsiteY3004" fmla="*/ 3128206 h 6246035"/>
                <a:gd name="connsiteX3005" fmla="*/ 2351480 w 11683878"/>
                <a:gd name="connsiteY3005" fmla="*/ 3105202 h 6246035"/>
                <a:gd name="connsiteX3006" fmla="*/ 2364154 w 11683878"/>
                <a:gd name="connsiteY3006" fmla="*/ 3144761 h 6246035"/>
                <a:gd name="connsiteX3007" fmla="*/ 2364264 w 11683878"/>
                <a:gd name="connsiteY3007" fmla="*/ 3144766 h 6246035"/>
                <a:gd name="connsiteX3008" fmla="*/ 2366366 w 11683878"/>
                <a:gd name="connsiteY3008" fmla="*/ 3121293 h 6246035"/>
                <a:gd name="connsiteX3009" fmla="*/ 1665047 w 11683878"/>
                <a:gd name="connsiteY3009" fmla="*/ 3104523 h 6246035"/>
                <a:gd name="connsiteX3010" fmla="*/ 1665046 w 11683878"/>
                <a:gd name="connsiteY3010" fmla="*/ 3104524 h 6246035"/>
                <a:gd name="connsiteX3011" fmla="*/ 1708088 w 11683878"/>
                <a:gd name="connsiteY3011" fmla="*/ 3142811 h 6246035"/>
                <a:gd name="connsiteX3012" fmla="*/ 1710091 w 11683878"/>
                <a:gd name="connsiteY3012" fmla="*/ 3156241 h 6246035"/>
                <a:gd name="connsiteX3013" fmla="*/ 1731066 w 11683878"/>
                <a:gd name="connsiteY3013" fmla="*/ 3161302 h 6246035"/>
                <a:gd name="connsiteX3014" fmla="*/ 1731511 w 11683878"/>
                <a:gd name="connsiteY3014" fmla="*/ 3161136 h 6246035"/>
                <a:gd name="connsiteX3015" fmla="*/ 4386481 w 11683878"/>
                <a:gd name="connsiteY3015" fmla="*/ 3101912 h 6246035"/>
                <a:gd name="connsiteX3016" fmla="*/ 4386515 w 11683878"/>
                <a:gd name="connsiteY3016" fmla="*/ 3102079 h 6246035"/>
                <a:gd name="connsiteX3017" fmla="*/ 4414279 w 11683878"/>
                <a:gd name="connsiteY3017" fmla="*/ 3108051 h 6246035"/>
                <a:gd name="connsiteX3018" fmla="*/ 2228231 w 11683878"/>
                <a:gd name="connsiteY3018" fmla="*/ 3099605 h 6246035"/>
                <a:gd name="connsiteX3019" fmla="*/ 2227959 w 11683878"/>
                <a:gd name="connsiteY3019" fmla="*/ 3100328 h 6246035"/>
                <a:gd name="connsiteX3020" fmla="*/ 2228093 w 11683878"/>
                <a:gd name="connsiteY3020" fmla="*/ 3100420 h 6246035"/>
                <a:gd name="connsiteX3021" fmla="*/ 1208496 w 11683878"/>
                <a:gd name="connsiteY3021" fmla="*/ 3096544 h 6246035"/>
                <a:gd name="connsiteX3022" fmla="*/ 1186465 w 11683878"/>
                <a:gd name="connsiteY3022" fmla="*/ 3133967 h 6246035"/>
                <a:gd name="connsiteX3023" fmla="*/ 1195906 w 11683878"/>
                <a:gd name="connsiteY3023" fmla="*/ 3132513 h 6246035"/>
                <a:gd name="connsiteX3024" fmla="*/ 3086946 w 11683878"/>
                <a:gd name="connsiteY3024" fmla="*/ 3096175 h 6246035"/>
                <a:gd name="connsiteX3025" fmla="*/ 3073935 w 11683878"/>
                <a:gd name="connsiteY3025" fmla="*/ 3113083 h 6246035"/>
                <a:gd name="connsiteX3026" fmla="*/ 3085687 w 11683878"/>
                <a:gd name="connsiteY3026" fmla="*/ 3105441 h 6246035"/>
                <a:gd name="connsiteX3027" fmla="*/ 1212720 w 11683878"/>
                <a:gd name="connsiteY3027" fmla="*/ 3089369 h 6246035"/>
                <a:gd name="connsiteX3028" fmla="*/ 1211757 w 11683878"/>
                <a:gd name="connsiteY3028" fmla="*/ 3091004 h 6246035"/>
                <a:gd name="connsiteX3029" fmla="*/ 1247478 w 11683878"/>
                <a:gd name="connsiteY3029" fmla="*/ 3107357 h 6246035"/>
                <a:gd name="connsiteX3030" fmla="*/ 1247512 w 11683878"/>
                <a:gd name="connsiteY3030" fmla="*/ 3107267 h 6246035"/>
                <a:gd name="connsiteX3031" fmla="*/ 9700368 w 11683878"/>
                <a:gd name="connsiteY3031" fmla="*/ 3089086 h 6246035"/>
                <a:gd name="connsiteX3032" fmla="*/ 9700221 w 11683878"/>
                <a:gd name="connsiteY3032" fmla="*/ 3091488 h 6246035"/>
                <a:gd name="connsiteX3033" fmla="*/ 9744142 w 11683878"/>
                <a:gd name="connsiteY3033" fmla="*/ 3107324 h 6246035"/>
                <a:gd name="connsiteX3034" fmla="*/ 1503901 w 11683878"/>
                <a:gd name="connsiteY3034" fmla="*/ 3086129 h 6246035"/>
                <a:gd name="connsiteX3035" fmla="*/ 1456522 w 11683878"/>
                <a:gd name="connsiteY3035" fmla="*/ 3113388 h 6246035"/>
                <a:gd name="connsiteX3036" fmla="*/ 1470170 w 11683878"/>
                <a:gd name="connsiteY3036" fmla="*/ 3115621 h 6246035"/>
                <a:gd name="connsiteX3037" fmla="*/ 9848763 w 11683878"/>
                <a:gd name="connsiteY3037" fmla="*/ 3081714 h 6246035"/>
                <a:gd name="connsiteX3038" fmla="*/ 9826348 w 11683878"/>
                <a:gd name="connsiteY3038" fmla="*/ 3094724 h 6246035"/>
                <a:gd name="connsiteX3039" fmla="*/ 9826350 w 11683878"/>
                <a:gd name="connsiteY3039" fmla="*/ 3094725 h 6246035"/>
                <a:gd name="connsiteX3040" fmla="*/ 9848764 w 11683878"/>
                <a:gd name="connsiteY3040" fmla="*/ 3081715 h 6246035"/>
                <a:gd name="connsiteX3041" fmla="*/ 1591280 w 11683878"/>
                <a:gd name="connsiteY3041" fmla="*/ 3079534 h 6246035"/>
                <a:gd name="connsiteX3042" fmla="*/ 1596394 w 11683878"/>
                <a:gd name="connsiteY3042" fmla="*/ 3082809 h 6246035"/>
                <a:gd name="connsiteX3043" fmla="*/ 1595754 w 11683878"/>
                <a:gd name="connsiteY3043" fmla="*/ 3080195 h 6246035"/>
                <a:gd name="connsiteX3044" fmla="*/ 4248038 w 11683878"/>
                <a:gd name="connsiteY3044" fmla="*/ 3073579 h 6246035"/>
                <a:gd name="connsiteX3045" fmla="*/ 4291658 w 11683878"/>
                <a:gd name="connsiteY3045" fmla="*/ 3128498 h 6246035"/>
                <a:gd name="connsiteX3046" fmla="*/ 4291733 w 11683878"/>
                <a:gd name="connsiteY3046" fmla="*/ 3128476 h 6246035"/>
                <a:gd name="connsiteX3047" fmla="*/ 9768047 w 11683878"/>
                <a:gd name="connsiteY3047" fmla="*/ 3073018 h 6246035"/>
                <a:gd name="connsiteX3048" fmla="*/ 9744155 w 11683878"/>
                <a:gd name="connsiteY3048" fmla="*/ 3107329 h 6246035"/>
                <a:gd name="connsiteX3049" fmla="*/ 9744157 w 11683878"/>
                <a:gd name="connsiteY3049" fmla="*/ 3107329 h 6246035"/>
                <a:gd name="connsiteX3050" fmla="*/ 9768670 w 11683878"/>
                <a:gd name="connsiteY3050" fmla="*/ 3073250 h 6246035"/>
                <a:gd name="connsiteX3051" fmla="*/ 1844370 w 11683878"/>
                <a:gd name="connsiteY3051" fmla="*/ 3067228 h 6246035"/>
                <a:gd name="connsiteX3052" fmla="*/ 1840777 w 11683878"/>
                <a:gd name="connsiteY3052" fmla="*/ 3073313 h 6246035"/>
                <a:gd name="connsiteX3053" fmla="*/ 1846984 w 11683878"/>
                <a:gd name="connsiteY3053" fmla="*/ 3070300 h 6246035"/>
                <a:gd name="connsiteX3054" fmla="*/ 1537588 w 11683878"/>
                <a:gd name="connsiteY3054" fmla="*/ 3066747 h 6246035"/>
                <a:gd name="connsiteX3055" fmla="*/ 1531881 w 11683878"/>
                <a:gd name="connsiteY3055" fmla="*/ 3070031 h 6246035"/>
                <a:gd name="connsiteX3056" fmla="*/ 1550279 w 11683878"/>
                <a:gd name="connsiteY3056" fmla="*/ 3079508 h 6246035"/>
                <a:gd name="connsiteX3057" fmla="*/ 1558558 w 11683878"/>
                <a:gd name="connsiteY3057" fmla="*/ 3074699 h 6246035"/>
                <a:gd name="connsiteX3058" fmla="*/ 1537192 w 11683878"/>
                <a:gd name="connsiteY3058" fmla="*/ 3071542 h 6246035"/>
                <a:gd name="connsiteX3059" fmla="*/ 2288407 w 11683878"/>
                <a:gd name="connsiteY3059" fmla="*/ 3061200 h 6246035"/>
                <a:gd name="connsiteX3060" fmla="*/ 2266521 w 11683878"/>
                <a:gd name="connsiteY3060" fmla="*/ 3085304 h 6246035"/>
                <a:gd name="connsiteX3061" fmla="*/ 2237513 w 11683878"/>
                <a:gd name="connsiteY3061" fmla="*/ 3074910 h 6246035"/>
                <a:gd name="connsiteX3062" fmla="*/ 2235149 w 11683878"/>
                <a:gd name="connsiteY3062" fmla="*/ 3081202 h 6246035"/>
                <a:gd name="connsiteX3063" fmla="*/ 2266521 w 11683878"/>
                <a:gd name="connsiteY3063" fmla="*/ 3085305 h 6246035"/>
                <a:gd name="connsiteX3064" fmla="*/ 2291169 w 11683878"/>
                <a:gd name="connsiteY3064" fmla="*/ 3062811 h 6246035"/>
                <a:gd name="connsiteX3065" fmla="*/ 2384593 w 11683878"/>
                <a:gd name="connsiteY3065" fmla="*/ 3060652 h 6246035"/>
                <a:gd name="connsiteX3066" fmla="*/ 2359180 w 11683878"/>
                <a:gd name="connsiteY3066" fmla="*/ 3087995 h 6246035"/>
                <a:gd name="connsiteX3067" fmla="*/ 2383295 w 11683878"/>
                <a:gd name="connsiteY3067" fmla="*/ 3074059 h 6246035"/>
                <a:gd name="connsiteX3068" fmla="*/ 9211432 w 11683878"/>
                <a:gd name="connsiteY3068" fmla="*/ 3056709 h 6246035"/>
                <a:gd name="connsiteX3069" fmla="*/ 9208813 w 11683878"/>
                <a:gd name="connsiteY3069" fmla="*/ 3058216 h 6246035"/>
                <a:gd name="connsiteX3070" fmla="*/ 9209913 w 11683878"/>
                <a:gd name="connsiteY3070" fmla="*/ 3060767 h 6246035"/>
                <a:gd name="connsiteX3071" fmla="*/ 9329811 w 11683878"/>
                <a:gd name="connsiteY3071" fmla="*/ 3052148 h 6246035"/>
                <a:gd name="connsiteX3072" fmla="*/ 9330559 w 11683878"/>
                <a:gd name="connsiteY3072" fmla="*/ 3052490 h 6246035"/>
                <a:gd name="connsiteX3073" fmla="*/ 9330608 w 11683878"/>
                <a:gd name="connsiteY3073" fmla="*/ 3052416 h 6246035"/>
                <a:gd name="connsiteX3074" fmla="*/ 1126063 w 11683878"/>
                <a:gd name="connsiteY3074" fmla="*/ 3051760 h 6246035"/>
                <a:gd name="connsiteX3075" fmla="*/ 1174698 w 11683878"/>
                <a:gd name="connsiteY3075" fmla="*/ 3098750 h 6246035"/>
                <a:gd name="connsiteX3076" fmla="*/ 1174241 w 11683878"/>
                <a:gd name="connsiteY3076" fmla="*/ 3096622 h 6246035"/>
                <a:gd name="connsiteX3077" fmla="*/ 3331680 w 11683878"/>
                <a:gd name="connsiteY3077" fmla="*/ 3049508 h 6246035"/>
                <a:gd name="connsiteX3078" fmla="*/ 3323201 w 11683878"/>
                <a:gd name="connsiteY3078" fmla="*/ 3056423 h 6246035"/>
                <a:gd name="connsiteX3079" fmla="*/ 3331680 w 11683878"/>
                <a:gd name="connsiteY3079" fmla="*/ 3049509 h 6246035"/>
                <a:gd name="connsiteX3080" fmla="*/ 2509238 w 11683878"/>
                <a:gd name="connsiteY3080" fmla="*/ 3045424 h 6246035"/>
                <a:gd name="connsiteX3081" fmla="*/ 2501922 w 11683878"/>
                <a:gd name="connsiteY3081" fmla="*/ 3049459 h 6246035"/>
                <a:gd name="connsiteX3082" fmla="*/ 2510410 w 11683878"/>
                <a:gd name="connsiteY3082" fmla="*/ 3049563 h 6246035"/>
                <a:gd name="connsiteX3083" fmla="*/ 1869282 w 11683878"/>
                <a:gd name="connsiteY3083" fmla="*/ 3045411 h 6246035"/>
                <a:gd name="connsiteX3084" fmla="*/ 1845656 w 11683878"/>
                <a:gd name="connsiteY3084" fmla="*/ 3065051 h 6246035"/>
                <a:gd name="connsiteX3085" fmla="*/ 1844590 w 11683878"/>
                <a:gd name="connsiteY3085" fmla="*/ 3066855 h 6246035"/>
                <a:gd name="connsiteX3086" fmla="*/ 1872185 w 11683878"/>
                <a:gd name="connsiteY3086" fmla="*/ 3047829 h 6246035"/>
                <a:gd name="connsiteX3087" fmla="*/ 9380112 w 11683878"/>
                <a:gd name="connsiteY3087" fmla="*/ 3043688 h 6246035"/>
                <a:gd name="connsiteX3088" fmla="*/ 9379699 w 11683878"/>
                <a:gd name="connsiteY3088" fmla="*/ 3045139 h 6246035"/>
                <a:gd name="connsiteX3089" fmla="*/ 9379700 w 11683878"/>
                <a:gd name="connsiteY3089" fmla="*/ 3045139 h 6246035"/>
                <a:gd name="connsiteX3090" fmla="*/ 1116570 w 11683878"/>
                <a:gd name="connsiteY3090" fmla="*/ 3042921 h 6246035"/>
                <a:gd name="connsiteX3091" fmla="*/ 1101510 w 11683878"/>
                <a:gd name="connsiteY3091" fmla="*/ 3055391 h 6246035"/>
                <a:gd name="connsiteX3092" fmla="*/ 1116637 w 11683878"/>
                <a:gd name="connsiteY3092" fmla="*/ 3042983 h 6246035"/>
                <a:gd name="connsiteX3093" fmla="*/ 3045913 w 11683878"/>
                <a:gd name="connsiteY3093" fmla="*/ 3040996 h 6246035"/>
                <a:gd name="connsiteX3094" fmla="*/ 3050383 w 11683878"/>
                <a:gd name="connsiteY3094" fmla="*/ 3048606 h 6246035"/>
                <a:gd name="connsiteX3095" fmla="*/ 3058190 w 11683878"/>
                <a:gd name="connsiteY3095" fmla="*/ 3052197 h 6246035"/>
                <a:gd name="connsiteX3096" fmla="*/ 2409201 w 11683878"/>
                <a:gd name="connsiteY3096" fmla="*/ 3034172 h 6246035"/>
                <a:gd name="connsiteX3097" fmla="*/ 2409199 w 11683878"/>
                <a:gd name="connsiteY3097" fmla="*/ 3034173 h 6246035"/>
                <a:gd name="connsiteX3098" fmla="*/ 2452789 w 11683878"/>
                <a:gd name="connsiteY3098" fmla="*/ 3076554 h 6246035"/>
                <a:gd name="connsiteX3099" fmla="*/ 2452791 w 11683878"/>
                <a:gd name="connsiteY3099" fmla="*/ 3076552 h 6246035"/>
                <a:gd name="connsiteX3100" fmla="*/ 3668624 w 11683878"/>
                <a:gd name="connsiteY3100" fmla="*/ 3032644 h 6246035"/>
                <a:gd name="connsiteX3101" fmla="*/ 3668533 w 11683878"/>
                <a:gd name="connsiteY3101" fmla="*/ 3032776 h 6246035"/>
                <a:gd name="connsiteX3102" fmla="*/ 3678577 w 11683878"/>
                <a:gd name="connsiteY3102" fmla="*/ 3042510 h 6246035"/>
                <a:gd name="connsiteX3103" fmla="*/ 3678687 w 11683878"/>
                <a:gd name="connsiteY3103" fmla="*/ 3042414 h 6246035"/>
                <a:gd name="connsiteX3104" fmla="*/ 9345462 w 11683878"/>
                <a:gd name="connsiteY3104" fmla="*/ 3030701 h 6246035"/>
                <a:gd name="connsiteX3105" fmla="*/ 9345344 w 11683878"/>
                <a:gd name="connsiteY3105" fmla="*/ 3030876 h 6246035"/>
                <a:gd name="connsiteX3106" fmla="*/ 9379637 w 11683878"/>
                <a:gd name="connsiteY3106" fmla="*/ 3045113 h 6246035"/>
                <a:gd name="connsiteX3107" fmla="*/ 9241363 w 11683878"/>
                <a:gd name="connsiteY3107" fmla="*/ 3022428 h 6246035"/>
                <a:gd name="connsiteX3108" fmla="*/ 9221959 w 11683878"/>
                <a:gd name="connsiteY3108" fmla="*/ 3028584 h 6246035"/>
                <a:gd name="connsiteX3109" fmla="*/ 9221959 w 11683878"/>
                <a:gd name="connsiteY3109" fmla="*/ 3028586 h 6246035"/>
                <a:gd name="connsiteX3110" fmla="*/ 9221960 w 11683878"/>
                <a:gd name="connsiteY3110" fmla="*/ 3028584 h 6246035"/>
                <a:gd name="connsiteX3111" fmla="*/ 9247370 w 11683878"/>
                <a:gd name="connsiteY3111" fmla="*/ 3024446 h 6246035"/>
                <a:gd name="connsiteX3112" fmla="*/ 1844910 w 11683878"/>
                <a:gd name="connsiteY3112" fmla="*/ 3020065 h 6246035"/>
                <a:gd name="connsiteX3113" fmla="*/ 1842870 w 11683878"/>
                <a:gd name="connsiteY3113" fmla="*/ 3023412 h 6246035"/>
                <a:gd name="connsiteX3114" fmla="*/ 1842870 w 11683878"/>
                <a:gd name="connsiteY3114" fmla="*/ 3023413 h 6246035"/>
                <a:gd name="connsiteX3115" fmla="*/ 9731875 w 11683878"/>
                <a:gd name="connsiteY3115" fmla="*/ 3018017 h 6246035"/>
                <a:gd name="connsiteX3116" fmla="*/ 9704176 w 11683878"/>
                <a:gd name="connsiteY3116" fmla="*/ 3026710 h 6246035"/>
                <a:gd name="connsiteX3117" fmla="*/ 9704165 w 11683878"/>
                <a:gd name="connsiteY3117" fmla="*/ 3026892 h 6246035"/>
                <a:gd name="connsiteX3118" fmla="*/ 9407604 w 11683878"/>
                <a:gd name="connsiteY3118" fmla="*/ 3017005 h 6246035"/>
                <a:gd name="connsiteX3119" fmla="*/ 9386546 w 11683878"/>
                <a:gd name="connsiteY3119" fmla="*/ 3021097 h 6246035"/>
                <a:gd name="connsiteX3120" fmla="*/ 9386504 w 11683878"/>
                <a:gd name="connsiteY3120" fmla="*/ 3021244 h 6246035"/>
                <a:gd name="connsiteX3121" fmla="*/ 9407893 w 11683878"/>
                <a:gd name="connsiteY3121" fmla="*/ 3020659 h 6246035"/>
                <a:gd name="connsiteX3122" fmla="*/ 1542147 w 11683878"/>
                <a:gd name="connsiteY3122" fmla="*/ 3011517 h 6246035"/>
                <a:gd name="connsiteX3123" fmla="*/ 1542139 w 11683878"/>
                <a:gd name="connsiteY3123" fmla="*/ 3011647 h 6246035"/>
                <a:gd name="connsiteX3124" fmla="*/ 1542149 w 11683878"/>
                <a:gd name="connsiteY3124" fmla="*/ 3011517 h 6246035"/>
                <a:gd name="connsiteX3125" fmla="*/ 1251312 w 11683878"/>
                <a:gd name="connsiteY3125" fmla="*/ 3010633 h 6246035"/>
                <a:gd name="connsiteX3126" fmla="*/ 1231527 w 11683878"/>
                <a:gd name="connsiteY3126" fmla="*/ 3021865 h 6246035"/>
                <a:gd name="connsiteX3127" fmla="*/ 1233481 w 11683878"/>
                <a:gd name="connsiteY3127" fmla="*/ 3024352 h 6246035"/>
                <a:gd name="connsiteX3128" fmla="*/ 1228773 w 11683878"/>
                <a:gd name="connsiteY3128" fmla="*/ 3048870 h 6246035"/>
                <a:gd name="connsiteX3129" fmla="*/ 1259190 w 11683878"/>
                <a:gd name="connsiteY3129" fmla="*/ 3075210 h 6246035"/>
                <a:gd name="connsiteX3130" fmla="*/ 1261628 w 11683878"/>
                <a:gd name="connsiteY3130" fmla="*/ 3068514 h 6246035"/>
                <a:gd name="connsiteX3131" fmla="*/ 1301402 w 11683878"/>
                <a:gd name="connsiteY3131" fmla="*/ 3086262 h 6246035"/>
                <a:gd name="connsiteX3132" fmla="*/ 1301402 w 11683878"/>
                <a:gd name="connsiteY3132" fmla="*/ 3086261 h 6246035"/>
                <a:gd name="connsiteX3133" fmla="*/ 1228773 w 11683878"/>
                <a:gd name="connsiteY3133" fmla="*/ 3048870 h 6246035"/>
                <a:gd name="connsiteX3134" fmla="*/ 1252103 w 11683878"/>
                <a:gd name="connsiteY3134" fmla="*/ 3010184 h 6246035"/>
                <a:gd name="connsiteX3135" fmla="*/ 1251949 w 11683878"/>
                <a:gd name="connsiteY3135" fmla="*/ 3010271 h 6246035"/>
                <a:gd name="connsiteX3136" fmla="*/ 1252518 w 11683878"/>
                <a:gd name="connsiteY3136" fmla="*/ 3010360 h 6246035"/>
                <a:gd name="connsiteX3137" fmla="*/ 4241396 w 11683878"/>
                <a:gd name="connsiteY3137" fmla="*/ 3004735 h 6246035"/>
                <a:gd name="connsiteX3138" fmla="*/ 4275857 w 11683878"/>
                <a:gd name="connsiteY3138" fmla="*/ 3033713 h 6246035"/>
                <a:gd name="connsiteX3139" fmla="*/ 4275906 w 11683878"/>
                <a:gd name="connsiteY3139" fmla="*/ 3033649 h 6246035"/>
                <a:gd name="connsiteX3140" fmla="*/ 1493421 w 11683878"/>
                <a:gd name="connsiteY3140" fmla="*/ 2999254 h 6246035"/>
                <a:gd name="connsiteX3141" fmla="*/ 1493135 w 11683878"/>
                <a:gd name="connsiteY3141" fmla="*/ 3001061 h 6246035"/>
                <a:gd name="connsiteX3142" fmla="*/ 1496129 w 11683878"/>
                <a:gd name="connsiteY3142" fmla="*/ 3001700 h 6246035"/>
                <a:gd name="connsiteX3143" fmla="*/ 9479277 w 11683878"/>
                <a:gd name="connsiteY3143" fmla="*/ 2994946 h 6246035"/>
                <a:gd name="connsiteX3144" fmla="*/ 9480023 w 11683878"/>
                <a:gd name="connsiteY3144" fmla="*/ 2995888 h 6246035"/>
                <a:gd name="connsiteX3145" fmla="*/ 9480072 w 11683878"/>
                <a:gd name="connsiteY3145" fmla="*/ 2995870 h 6246035"/>
                <a:gd name="connsiteX3146" fmla="*/ 3190123 w 11683878"/>
                <a:gd name="connsiteY3146" fmla="*/ 2994563 h 6246035"/>
                <a:gd name="connsiteX3147" fmla="*/ 3171985 w 11683878"/>
                <a:gd name="connsiteY3147" fmla="*/ 3010293 h 6246035"/>
                <a:gd name="connsiteX3148" fmla="*/ 3171986 w 11683878"/>
                <a:gd name="connsiteY3148" fmla="*/ 3010293 h 6246035"/>
                <a:gd name="connsiteX3149" fmla="*/ 2753919 w 11683878"/>
                <a:gd name="connsiteY3149" fmla="*/ 2991515 h 6246035"/>
                <a:gd name="connsiteX3150" fmla="*/ 2764413 w 11683878"/>
                <a:gd name="connsiteY3150" fmla="*/ 3004408 h 6246035"/>
                <a:gd name="connsiteX3151" fmla="*/ 2766095 w 11683878"/>
                <a:gd name="connsiteY3151" fmla="*/ 3002975 h 6246035"/>
                <a:gd name="connsiteX3152" fmla="*/ 3697703 w 11683878"/>
                <a:gd name="connsiteY3152" fmla="*/ 2990485 h 6246035"/>
                <a:gd name="connsiteX3153" fmla="*/ 3680395 w 11683878"/>
                <a:gd name="connsiteY3153" fmla="*/ 3015578 h 6246035"/>
                <a:gd name="connsiteX3154" fmla="*/ 3697739 w 11683878"/>
                <a:gd name="connsiteY3154" fmla="*/ 2990740 h 6246035"/>
                <a:gd name="connsiteX3155" fmla="*/ 9492714 w 11683878"/>
                <a:gd name="connsiteY3155" fmla="*/ 2990192 h 6246035"/>
                <a:gd name="connsiteX3156" fmla="*/ 9483088 w 11683878"/>
                <a:gd name="connsiteY3156" fmla="*/ 2994762 h 6246035"/>
                <a:gd name="connsiteX3157" fmla="*/ 9492439 w 11683878"/>
                <a:gd name="connsiteY3157" fmla="*/ 2991327 h 6246035"/>
                <a:gd name="connsiteX3158" fmla="*/ 2472400 w 11683878"/>
                <a:gd name="connsiteY3158" fmla="*/ 2989900 h 6246035"/>
                <a:gd name="connsiteX3159" fmla="*/ 2506764 w 11683878"/>
                <a:gd name="connsiteY3159" fmla="*/ 3036694 h 6246035"/>
                <a:gd name="connsiteX3160" fmla="*/ 2501152 w 11683878"/>
                <a:gd name="connsiteY3160" fmla="*/ 3016873 h 6246035"/>
                <a:gd name="connsiteX3161" fmla="*/ 3007987 w 11683878"/>
                <a:gd name="connsiteY3161" fmla="*/ 2989700 h 6246035"/>
                <a:gd name="connsiteX3162" fmla="*/ 2941541 w 11683878"/>
                <a:gd name="connsiteY3162" fmla="*/ 3008404 h 6246035"/>
                <a:gd name="connsiteX3163" fmla="*/ 3009689 w 11683878"/>
                <a:gd name="connsiteY3163" fmla="*/ 2992238 h 6246035"/>
                <a:gd name="connsiteX3164" fmla="*/ 986756 w 11683878"/>
                <a:gd name="connsiteY3164" fmla="*/ 2981967 h 6246035"/>
                <a:gd name="connsiteX3165" fmla="*/ 986757 w 11683878"/>
                <a:gd name="connsiteY3165" fmla="*/ 2981969 h 6246035"/>
                <a:gd name="connsiteX3166" fmla="*/ 986758 w 11683878"/>
                <a:gd name="connsiteY3166" fmla="*/ 2981969 h 6246035"/>
                <a:gd name="connsiteX3167" fmla="*/ 2937594 w 11683878"/>
                <a:gd name="connsiteY3167" fmla="*/ 2978058 h 6246035"/>
                <a:gd name="connsiteX3168" fmla="*/ 2898193 w 11683878"/>
                <a:gd name="connsiteY3168" fmla="*/ 2982700 h 6246035"/>
                <a:gd name="connsiteX3169" fmla="*/ 2898194 w 11683878"/>
                <a:gd name="connsiteY3169" fmla="*/ 2982700 h 6246035"/>
                <a:gd name="connsiteX3170" fmla="*/ 1028065 w 11683878"/>
                <a:gd name="connsiteY3170" fmla="*/ 2977648 h 6246035"/>
                <a:gd name="connsiteX3171" fmla="*/ 1048068 w 11683878"/>
                <a:gd name="connsiteY3171" fmla="*/ 3029029 h 6246035"/>
                <a:gd name="connsiteX3172" fmla="*/ 1052117 w 11683878"/>
                <a:gd name="connsiteY3172" fmla="*/ 3031037 h 6246035"/>
                <a:gd name="connsiteX3173" fmla="*/ 1028066 w 11683878"/>
                <a:gd name="connsiteY3173" fmla="*/ 2977648 h 6246035"/>
                <a:gd name="connsiteX3174" fmla="*/ 9438293 w 11683878"/>
                <a:gd name="connsiteY3174" fmla="*/ 2975681 h 6246035"/>
                <a:gd name="connsiteX3175" fmla="*/ 9404566 w 11683878"/>
                <a:gd name="connsiteY3175" fmla="*/ 2980882 h 6246035"/>
                <a:gd name="connsiteX3176" fmla="*/ 9405012 w 11683878"/>
                <a:gd name="connsiteY3176" fmla="*/ 2984197 h 6246035"/>
                <a:gd name="connsiteX3177" fmla="*/ 9404756 w 11683878"/>
                <a:gd name="connsiteY3177" fmla="*/ 2980961 h 6246035"/>
                <a:gd name="connsiteX3178" fmla="*/ 9438295 w 11683878"/>
                <a:gd name="connsiteY3178" fmla="*/ 2975684 h 6246035"/>
                <a:gd name="connsiteX3179" fmla="*/ 9455486 w 11683878"/>
                <a:gd name="connsiteY3179" fmla="*/ 2967306 h 6246035"/>
                <a:gd name="connsiteX3180" fmla="*/ 9452788 w 11683878"/>
                <a:gd name="connsiteY3180" fmla="*/ 2995955 h 6246035"/>
                <a:gd name="connsiteX3181" fmla="*/ 9452947 w 11683878"/>
                <a:gd name="connsiteY3181" fmla="*/ 2996178 h 6246035"/>
                <a:gd name="connsiteX3182" fmla="*/ 9456771 w 11683878"/>
                <a:gd name="connsiteY3182" fmla="*/ 2968799 h 6246035"/>
                <a:gd name="connsiteX3183" fmla="*/ 3167396 w 11683878"/>
                <a:gd name="connsiteY3183" fmla="*/ 2966810 h 6246035"/>
                <a:gd name="connsiteX3184" fmla="*/ 3157441 w 11683878"/>
                <a:gd name="connsiteY3184" fmla="*/ 2975523 h 6246035"/>
                <a:gd name="connsiteX3185" fmla="*/ 3167396 w 11683878"/>
                <a:gd name="connsiteY3185" fmla="*/ 2966811 h 6246035"/>
                <a:gd name="connsiteX3186" fmla="*/ 1302236 w 11683878"/>
                <a:gd name="connsiteY3186" fmla="*/ 2964849 h 6246035"/>
                <a:gd name="connsiteX3187" fmla="*/ 1301754 w 11683878"/>
                <a:gd name="connsiteY3187" fmla="*/ 2964883 h 6246035"/>
                <a:gd name="connsiteX3188" fmla="*/ 1282744 w 11683878"/>
                <a:gd name="connsiteY3188" fmla="*/ 3015074 h 6246035"/>
                <a:gd name="connsiteX3189" fmla="*/ 1290434 w 11683878"/>
                <a:gd name="connsiteY3189" fmla="*/ 3016273 h 6246035"/>
                <a:gd name="connsiteX3190" fmla="*/ 4058353 w 11683878"/>
                <a:gd name="connsiteY3190" fmla="*/ 2954153 h 6246035"/>
                <a:gd name="connsiteX3191" fmla="*/ 4235668 w 11683878"/>
                <a:gd name="connsiteY3191" fmla="*/ 2999934 h 6246035"/>
                <a:gd name="connsiteX3192" fmla="*/ 4235587 w 11683878"/>
                <a:gd name="connsiteY3192" fmla="*/ 2999867 h 6246035"/>
                <a:gd name="connsiteX3193" fmla="*/ 1927290 w 11683878"/>
                <a:gd name="connsiteY3193" fmla="*/ 2953873 h 6246035"/>
                <a:gd name="connsiteX3194" fmla="*/ 1902701 w 11683878"/>
                <a:gd name="connsiteY3194" fmla="*/ 2981089 h 6246035"/>
                <a:gd name="connsiteX3195" fmla="*/ 1927291 w 11683878"/>
                <a:gd name="connsiteY3195" fmla="*/ 2953873 h 6246035"/>
                <a:gd name="connsiteX3196" fmla="*/ 1435698 w 11683878"/>
                <a:gd name="connsiteY3196" fmla="*/ 2952971 h 6246035"/>
                <a:gd name="connsiteX3197" fmla="*/ 1435291 w 11683878"/>
                <a:gd name="connsiteY3197" fmla="*/ 2953518 h 6246035"/>
                <a:gd name="connsiteX3198" fmla="*/ 1445490 w 11683878"/>
                <a:gd name="connsiteY3198" fmla="*/ 2958701 h 6246035"/>
                <a:gd name="connsiteX3199" fmla="*/ 2839465 w 11683878"/>
                <a:gd name="connsiteY3199" fmla="*/ 2949851 h 6246035"/>
                <a:gd name="connsiteX3200" fmla="*/ 2825939 w 11683878"/>
                <a:gd name="connsiteY3200" fmla="*/ 2961328 h 6246035"/>
                <a:gd name="connsiteX3201" fmla="*/ 2835177 w 11683878"/>
                <a:gd name="connsiteY3201" fmla="*/ 2966348 h 6246035"/>
                <a:gd name="connsiteX3202" fmla="*/ 2443505 w 11683878"/>
                <a:gd name="connsiteY3202" fmla="*/ 2949490 h 6246035"/>
                <a:gd name="connsiteX3203" fmla="*/ 2443030 w 11683878"/>
                <a:gd name="connsiteY3203" fmla="*/ 2949908 h 6246035"/>
                <a:gd name="connsiteX3204" fmla="*/ 2443402 w 11683878"/>
                <a:gd name="connsiteY3204" fmla="*/ 2950414 h 6246035"/>
                <a:gd name="connsiteX3205" fmla="*/ 5370730 w 11683878"/>
                <a:gd name="connsiteY3205" fmla="*/ 2948829 h 6246035"/>
                <a:gd name="connsiteX3206" fmla="*/ 5370862 w 11683878"/>
                <a:gd name="connsiteY3206" fmla="*/ 2949188 h 6246035"/>
                <a:gd name="connsiteX3207" fmla="*/ 5342847 w 11683878"/>
                <a:gd name="connsiteY3207" fmla="*/ 2989088 h 6246035"/>
                <a:gd name="connsiteX3208" fmla="*/ 5342899 w 11683878"/>
                <a:gd name="connsiteY3208" fmla="*/ 2989196 h 6246035"/>
                <a:gd name="connsiteX3209" fmla="*/ 5370866 w 11683878"/>
                <a:gd name="connsiteY3209" fmla="*/ 2949187 h 6246035"/>
                <a:gd name="connsiteX3210" fmla="*/ 1826593 w 11683878"/>
                <a:gd name="connsiteY3210" fmla="*/ 2946208 h 6246035"/>
                <a:gd name="connsiteX3211" fmla="*/ 1823167 w 11683878"/>
                <a:gd name="connsiteY3211" fmla="*/ 2965013 h 6246035"/>
                <a:gd name="connsiteX3212" fmla="*/ 1833409 w 11683878"/>
                <a:gd name="connsiteY3212" fmla="*/ 2979395 h 6246035"/>
                <a:gd name="connsiteX3213" fmla="*/ 2007945 w 11683878"/>
                <a:gd name="connsiteY3213" fmla="*/ 2945789 h 6246035"/>
                <a:gd name="connsiteX3214" fmla="*/ 2029606 w 11683878"/>
                <a:gd name="connsiteY3214" fmla="*/ 2957748 h 6246035"/>
                <a:gd name="connsiteX3215" fmla="*/ 2030208 w 11683878"/>
                <a:gd name="connsiteY3215" fmla="*/ 2954583 h 6246035"/>
                <a:gd name="connsiteX3216" fmla="*/ 1474324 w 11683878"/>
                <a:gd name="connsiteY3216" fmla="*/ 2945029 h 6246035"/>
                <a:gd name="connsiteX3217" fmla="*/ 1491595 w 11683878"/>
                <a:gd name="connsiteY3217" fmla="*/ 2957422 h 6246035"/>
                <a:gd name="connsiteX3218" fmla="*/ 1492163 w 11683878"/>
                <a:gd name="connsiteY3218" fmla="*/ 2954460 h 6246035"/>
                <a:gd name="connsiteX3219" fmla="*/ 1473439 w 11683878"/>
                <a:gd name="connsiteY3219" fmla="*/ 2944561 h 6246035"/>
                <a:gd name="connsiteX3220" fmla="*/ 1455937 w 11683878"/>
                <a:gd name="connsiteY3220" fmla="*/ 2964010 h 6246035"/>
                <a:gd name="connsiteX3221" fmla="*/ 1456753 w 11683878"/>
                <a:gd name="connsiteY3221" fmla="*/ 2964425 h 6246035"/>
                <a:gd name="connsiteX3222" fmla="*/ 1473525 w 11683878"/>
                <a:gd name="connsiteY3222" fmla="*/ 2944607 h 6246035"/>
                <a:gd name="connsiteX3223" fmla="*/ 1814431 w 11683878"/>
                <a:gd name="connsiteY3223" fmla="*/ 2941522 h 6246035"/>
                <a:gd name="connsiteX3224" fmla="*/ 1826590 w 11683878"/>
                <a:gd name="connsiteY3224" fmla="*/ 2946206 h 6246035"/>
                <a:gd name="connsiteX3225" fmla="*/ 1826590 w 11683878"/>
                <a:gd name="connsiteY3225" fmla="*/ 2946205 h 6246035"/>
                <a:gd name="connsiteX3226" fmla="*/ 3042279 w 11683878"/>
                <a:gd name="connsiteY3226" fmla="*/ 2929971 h 6246035"/>
                <a:gd name="connsiteX3227" fmla="*/ 3025666 w 11683878"/>
                <a:gd name="connsiteY3227" fmla="*/ 2943605 h 6246035"/>
                <a:gd name="connsiteX3228" fmla="*/ 3046408 w 11683878"/>
                <a:gd name="connsiteY3228" fmla="*/ 2989062 h 6246035"/>
                <a:gd name="connsiteX3229" fmla="*/ 3027115 w 11683878"/>
                <a:gd name="connsiteY3229" fmla="*/ 3008998 h 6246035"/>
                <a:gd name="connsiteX3230" fmla="*/ 3031298 w 11683878"/>
                <a:gd name="connsiteY3230" fmla="*/ 3016118 h 6246035"/>
                <a:gd name="connsiteX3231" fmla="*/ 3046408 w 11683878"/>
                <a:gd name="connsiteY3231" fmla="*/ 2989062 h 6246035"/>
                <a:gd name="connsiteX3232" fmla="*/ 3025666 w 11683878"/>
                <a:gd name="connsiteY3232" fmla="*/ 2943605 h 6246035"/>
                <a:gd name="connsiteX3233" fmla="*/ 1362665 w 11683878"/>
                <a:gd name="connsiteY3233" fmla="*/ 2925488 h 6246035"/>
                <a:gd name="connsiteX3234" fmla="*/ 1358790 w 11683878"/>
                <a:gd name="connsiteY3234" fmla="*/ 2937038 h 6246035"/>
                <a:gd name="connsiteX3235" fmla="*/ 1354024 w 11683878"/>
                <a:gd name="connsiteY3235" fmla="*/ 2941238 h 6246035"/>
                <a:gd name="connsiteX3236" fmla="*/ 1366346 w 11683878"/>
                <a:gd name="connsiteY3236" fmla="*/ 2935729 h 6246035"/>
                <a:gd name="connsiteX3237" fmla="*/ 2580063 w 11683878"/>
                <a:gd name="connsiteY3237" fmla="*/ 2920198 h 6246035"/>
                <a:gd name="connsiteX3238" fmla="*/ 2579231 w 11683878"/>
                <a:gd name="connsiteY3238" fmla="*/ 2921276 h 6246035"/>
                <a:gd name="connsiteX3239" fmla="*/ 2579265 w 11683878"/>
                <a:gd name="connsiteY3239" fmla="*/ 2921299 h 6246035"/>
                <a:gd name="connsiteX3240" fmla="*/ 9510132 w 11683878"/>
                <a:gd name="connsiteY3240" fmla="*/ 2918276 h 6246035"/>
                <a:gd name="connsiteX3241" fmla="*/ 9503404 w 11683878"/>
                <a:gd name="connsiteY3241" fmla="*/ 2919295 h 6246035"/>
                <a:gd name="connsiteX3242" fmla="*/ 9501440 w 11683878"/>
                <a:gd name="connsiteY3242" fmla="*/ 2954164 h 6246035"/>
                <a:gd name="connsiteX3243" fmla="*/ 2479778 w 11683878"/>
                <a:gd name="connsiteY3243" fmla="*/ 2917596 h 6246035"/>
                <a:gd name="connsiteX3244" fmla="*/ 2449210 w 11683878"/>
                <a:gd name="connsiteY3244" fmla="*/ 2944475 h 6246035"/>
                <a:gd name="connsiteX3245" fmla="*/ 2489713 w 11683878"/>
                <a:gd name="connsiteY3245" fmla="*/ 2923284 h 6246035"/>
                <a:gd name="connsiteX3246" fmla="*/ 1531483 w 11683878"/>
                <a:gd name="connsiteY3246" fmla="*/ 2916013 h 6246035"/>
                <a:gd name="connsiteX3247" fmla="*/ 1512664 w 11683878"/>
                <a:gd name="connsiteY3247" fmla="*/ 2919952 h 6246035"/>
                <a:gd name="connsiteX3248" fmla="*/ 1500569 w 11683878"/>
                <a:gd name="connsiteY3248" fmla="*/ 2940843 h 6246035"/>
                <a:gd name="connsiteX3249" fmla="*/ 1531485 w 11683878"/>
                <a:gd name="connsiteY3249" fmla="*/ 2916009 h 6246035"/>
                <a:gd name="connsiteX3250" fmla="*/ 1531484 w 11683878"/>
                <a:gd name="connsiteY3250" fmla="*/ 2916012 h 6246035"/>
                <a:gd name="connsiteX3251" fmla="*/ 1531485 w 11683878"/>
                <a:gd name="connsiteY3251" fmla="*/ 2916011 h 6246035"/>
                <a:gd name="connsiteX3252" fmla="*/ 2038299 w 11683878"/>
                <a:gd name="connsiteY3252" fmla="*/ 2912011 h 6246035"/>
                <a:gd name="connsiteX3253" fmla="*/ 2023546 w 11683878"/>
                <a:gd name="connsiteY3253" fmla="*/ 2939007 h 6246035"/>
                <a:gd name="connsiteX3254" fmla="*/ 2030797 w 11683878"/>
                <a:gd name="connsiteY3254" fmla="*/ 2951484 h 6246035"/>
                <a:gd name="connsiteX3255" fmla="*/ 2565158 w 11683878"/>
                <a:gd name="connsiteY3255" fmla="*/ 2911832 h 6246035"/>
                <a:gd name="connsiteX3256" fmla="*/ 2565158 w 11683878"/>
                <a:gd name="connsiteY3256" fmla="*/ 2911833 h 6246035"/>
                <a:gd name="connsiteX3257" fmla="*/ 2565435 w 11683878"/>
                <a:gd name="connsiteY3257" fmla="*/ 2912018 h 6246035"/>
                <a:gd name="connsiteX3258" fmla="*/ 2518235 w 11683878"/>
                <a:gd name="connsiteY3258" fmla="*/ 2908361 h 6246035"/>
                <a:gd name="connsiteX3259" fmla="*/ 2518234 w 11683878"/>
                <a:gd name="connsiteY3259" fmla="*/ 2908362 h 6246035"/>
                <a:gd name="connsiteX3260" fmla="*/ 2542616 w 11683878"/>
                <a:gd name="connsiteY3260" fmla="*/ 2925026 h 6246035"/>
                <a:gd name="connsiteX3261" fmla="*/ 2542619 w 11683878"/>
                <a:gd name="connsiteY3261" fmla="*/ 2925025 h 6246035"/>
                <a:gd name="connsiteX3262" fmla="*/ 2591187 w 11683878"/>
                <a:gd name="connsiteY3262" fmla="*/ 2905783 h 6246035"/>
                <a:gd name="connsiteX3263" fmla="*/ 2590927 w 11683878"/>
                <a:gd name="connsiteY3263" fmla="*/ 2906119 h 6246035"/>
                <a:gd name="connsiteX3264" fmla="*/ 2610996 w 11683878"/>
                <a:gd name="connsiteY3264" fmla="*/ 2925340 h 6246035"/>
                <a:gd name="connsiteX3265" fmla="*/ 2610997 w 11683878"/>
                <a:gd name="connsiteY3265" fmla="*/ 2925337 h 6246035"/>
                <a:gd name="connsiteX3266" fmla="*/ 9670776 w 11683878"/>
                <a:gd name="connsiteY3266" fmla="*/ 2905696 h 6246035"/>
                <a:gd name="connsiteX3267" fmla="*/ 9673082 w 11683878"/>
                <a:gd name="connsiteY3267" fmla="*/ 2906801 h 6246035"/>
                <a:gd name="connsiteX3268" fmla="*/ 9718334 w 11683878"/>
                <a:gd name="connsiteY3268" fmla="*/ 2962075 h 6246035"/>
                <a:gd name="connsiteX3269" fmla="*/ 9709547 w 11683878"/>
                <a:gd name="connsiteY3269" fmla="*/ 2982245 h 6246035"/>
                <a:gd name="connsiteX3270" fmla="*/ 9718657 w 11683878"/>
                <a:gd name="connsiteY3270" fmla="*/ 2962442 h 6246035"/>
                <a:gd name="connsiteX3271" fmla="*/ 9672919 w 11683878"/>
                <a:gd name="connsiteY3271" fmla="*/ 2906375 h 6246035"/>
                <a:gd name="connsiteX3272" fmla="*/ 9552091 w 11683878"/>
                <a:gd name="connsiteY3272" fmla="*/ 2904373 h 6246035"/>
                <a:gd name="connsiteX3273" fmla="*/ 9550401 w 11683878"/>
                <a:gd name="connsiteY3273" fmla="*/ 2905422 h 6246035"/>
                <a:gd name="connsiteX3274" fmla="*/ 9551834 w 11683878"/>
                <a:gd name="connsiteY3274" fmla="*/ 2905152 h 6246035"/>
                <a:gd name="connsiteX3275" fmla="*/ 1376857 w 11683878"/>
                <a:gd name="connsiteY3275" fmla="*/ 2888204 h 6246035"/>
                <a:gd name="connsiteX3276" fmla="*/ 1356125 w 11683878"/>
                <a:gd name="connsiteY3276" fmla="*/ 2907278 h 6246035"/>
                <a:gd name="connsiteX3277" fmla="*/ 1356127 w 11683878"/>
                <a:gd name="connsiteY3277" fmla="*/ 2907280 h 6246035"/>
                <a:gd name="connsiteX3278" fmla="*/ 1376859 w 11683878"/>
                <a:gd name="connsiteY3278" fmla="*/ 2888206 h 6246035"/>
                <a:gd name="connsiteX3279" fmla="*/ 1538166 w 11683878"/>
                <a:gd name="connsiteY3279" fmla="*/ 2885747 h 6246035"/>
                <a:gd name="connsiteX3280" fmla="*/ 1537443 w 11683878"/>
                <a:gd name="connsiteY3280" fmla="*/ 2889019 h 6246035"/>
                <a:gd name="connsiteX3281" fmla="*/ 1540503 w 11683878"/>
                <a:gd name="connsiteY3281" fmla="*/ 2885752 h 6246035"/>
                <a:gd name="connsiteX3282" fmla="*/ 4017801 w 11683878"/>
                <a:gd name="connsiteY3282" fmla="*/ 2884187 h 6246035"/>
                <a:gd name="connsiteX3283" fmla="*/ 4017737 w 11683878"/>
                <a:gd name="connsiteY3283" fmla="*/ 2884221 h 6246035"/>
                <a:gd name="connsiteX3284" fmla="*/ 4063600 w 11683878"/>
                <a:gd name="connsiteY3284" fmla="*/ 2929432 h 6246035"/>
                <a:gd name="connsiteX3285" fmla="*/ 4063603 w 11683878"/>
                <a:gd name="connsiteY3285" fmla="*/ 2929428 h 6246035"/>
                <a:gd name="connsiteX3286" fmla="*/ 5346403 w 11683878"/>
                <a:gd name="connsiteY3286" fmla="*/ 2882818 h 6246035"/>
                <a:gd name="connsiteX3287" fmla="*/ 5346746 w 11683878"/>
                <a:gd name="connsiteY3287" fmla="*/ 2883748 h 6246035"/>
                <a:gd name="connsiteX3288" fmla="*/ 5384922 w 11683878"/>
                <a:gd name="connsiteY3288" fmla="*/ 2886517 h 6246035"/>
                <a:gd name="connsiteX3289" fmla="*/ 5385084 w 11683878"/>
                <a:gd name="connsiteY3289" fmla="*/ 2886258 h 6246035"/>
                <a:gd name="connsiteX3290" fmla="*/ 9559797 w 11683878"/>
                <a:gd name="connsiteY3290" fmla="*/ 2881003 h 6246035"/>
                <a:gd name="connsiteX3291" fmla="*/ 9552817 w 11683878"/>
                <a:gd name="connsiteY3291" fmla="*/ 2883230 h 6246035"/>
                <a:gd name="connsiteX3292" fmla="*/ 9555220 w 11683878"/>
                <a:gd name="connsiteY3292" fmla="*/ 2894884 h 6246035"/>
                <a:gd name="connsiteX3293" fmla="*/ 2239012 w 11683878"/>
                <a:gd name="connsiteY3293" fmla="*/ 2880966 h 6246035"/>
                <a:gd name="connsiteX3294" fmla="*/ 2267953 w 11683878"/>
                <a:gd name="connsiteY3294" fmla="*/ 2893687 h 6246035"/>
                <a:gd name="connsiteX3295" fmla="*/ 2311830 w 11683878"/>
                <a:gd name="connsiteY3295" fmla="*/ 2897281 h 6246035"/>
                <a:gd name="connsiteX3296" fmla="*/ 2099941 w 11683878"/>
                <a:gd name="connsiteY3296" fmla="*/ 2880598 h 6246035"/>
                <a:gd name="connsiteX3297" fmla="*/ 2063010 w 11683878"/>
                <a:gd name="connsiteY3297" fmla="*/ 2918471 h 6246035"/>
                <a:gd name="connsiteX3298" fmla="*/ 2062980 w 11683878"/>
                <a:gd name="connsiteY3298" fmla="*/ 2918456 h 6246035"/>
                <a:gd name="connsiteX3299" fmla="*/ 2063010 w 11683878"/>
                <a:gd name="connsiteY3299" fmla="*/ 2918472 h 6246035"/>
                <a:gd name="connsiteX3300" fmla="*/ 9576227 w 11683878"/>
                <a:gd name="connsiteY3300" fmla="*/ 2875759 h 6246035"/>
                <a:gd name="connsiteX3301" fmla="*/ 9560793 w 11683878"/>
                <a:gd name="connsiteY3301" fmla="*/ 2880685 h 6246035"/>
                <a:gd name="connsiteX3302" fmla="*/ 9588357 w 11683878"/>
                <a:gd name="connsiteY3302" fmla="*/ 2879600 h 6246035"/>
                <a:gd name="connsiteX3303" fmla="*/ 9502716 w 11683878"/>
                <a:gd name="connsiteY3303" fmla="*/ 2872532 h 6246035"/>
                <a:gd name="connsiteX3304" fmla="*/ 9505861 w 11683878"/>
                <a:gd name="connsiteY3304" fmla="*/ 2875661 h 6246035"/>
                <a:gd name="connsiteX3305" fmla="*/ 9505860 w 11683878"/>
                <a:gd name="connsiteY3305" fmla="*/ 2875687 h 6246035"/>
                <a:gd name="connsiteX3306" fmla="*/ 9505865 w 11683878"/>
                <a:gd name="connsiteY3306" fmla="*/ 2875661 h 6246035"/>
                <a:gd name="connsiteX3307" fmla="*/ 1778242 w 11683878"/>
                <a:gd name="connsiteY3307" fmla="*/ 2865483 h 6246035"/>
                <a:gd name="connsiteX3308" fmla="*/ 1778119 w 11683878"/>
                <a:gd name="connsiteY3308" fmla="*/ 2878461 h 6246035"/>
                <a:gd name="connsiteX3309" fmla="*/ 1796896 w 11683878"/>
                <a:gd name="connsiteY3309" fmla="*/ 2886933 h 6246035"/>
                <a:gd name="connsiteX3310" fmla="*/ 1798141 w 11683878"/>
                <a:gd name="connsiteY3310" fmla="*/ 2885545 h 6246035"/>
                <a:gd name="connsiteX3311" fmla="*/ 2358055 w 11683878"/>
                <a:gd name="connsiteY3311" fmla="*/ 2863237 h 6246035"/>
                <a:gd name="connsiteX3312" fmla="*/ 2352281 w 11683878"/>
                <a:gd name="connsiteY3312" fmla="*/ 2867489 h 6246035"/>
                <a:gd name="connsiteX3313" fmla="*/ 2362407 w 11683878"/>
                <a:gd name="connsiteY3313" fmla="*/ 2869005 h 6246035"/>
                <a:gd name="connsiteX3314" fmla="*/ 3790060 w 11683878"/>
                <a:gd name="connsiteY3314" fmla="*/ 2861860 h 6246035"/>
                <a:gd name="connsiteX3315" fmla="*/ 3789941 w 11683878"/>
                <a:gd name="connsiteY3315" fmla="*/ 2861910 h 6246035"/>
                <a:gd name="connsiteX3316" fmla="*/ 3751072 w 11683878"/>
                <a:gd name="connsiteY3316" fmla="*/ 2902786 h 6246035"/>
                <a:gd name="connsiteX3317" fmla="*/ 2152987 w 11683878"/>
                <a:gd name="connsiteY3317" fmla="*/ 2855656 h 6246035"/>
                <a:gd name="connsiteX3318" fmla="*/ 2126353 w 11683878"/>
                <a:gd name="connsiteY3318" fmla="*/ 2905907 h 6246035"/>
                <a:gd name="connsiteX3319" fmla="*/ 2126355 w 11683878"/>
                <a:gd name="connsiteY3319" fmla="*/ 2905908 h 6246035"/>
                <a:gd name="connsiteX3320" fmla="*/ 1693277 w 11683878"/>
                <a:gd name="connsiteY3320" fmla="*/ 2853215 h 6246035"/>
                <a:gd name="connsiteX3321" fmla="*/ 1636883 w 11683878"/>
                <a:gd name="connsiteY3321" fmla="*/ 2868365 h 6246035"/>
                <a:gd name="connsiteX3322" fmla="*/ 1637467 w 11683878"/>
                <a:gd name="connsiteY3322" fmla="*/ 2868946 h 6246035"/>
                <a:gd name="connsiteX3323" fmla="*/ 1693277 w 11683878"/>
                <a:gd name="connsiteY3323" fmla="*/ 2853216 h 6246035"/>
                <a:gd name="connsiteX3324" fmla="*/ 1711246 w 11683878"/>
                <a:gd name="connsiteY3324" fmla="*/ 2869364 h 6246035"/>
                <a:gd name="connsiteX3325" fmla="*/ 1732655 w 11683878"/>
                <a:gd name="connsiteY3325" fmla="*/ 2850690 h 6246035"/>
                <a:gd name="connsiteX3326" fmla="*/ 1712433 w 11683878"/>
                <a:gd name="connsiteY3326" fmla="*/ 2870430 h 6246035"/>
                <a:gd name="connsiteX3327" fmla="*/ 1712434 w 11683878"/>
                <a:gd name="connsiteY3327" fmla="*/ 2870431 h 6246035"/>
                <a:gd name="connsiteX3328" fmla="*/ 1732657 w 11683878"/>
                <a:gd name="connsiteY3328" fmla="*/ 2850691 h 6246035"/>
                <a:gd name="connsiteX3329" fmla="*/ 1763326 w 11683878"/>
                <a:gd name="connsiteY3329" fmla="*/ 2867493 h 6246035"/>
                <a:gd name="connsiteX3330" fmla="*/ 1769516 w 11683878"/>
                <a:gd name="connsiteY3330" fmla="*/ 2864576 h 6246035"/>
                <a:gd name="connsiteX3331" fmla="*/ 2010382 w 11683878"/>
                <a:gd name="connsiteY3331" fmla="*/ 2848732 h 6246035"/>
                <a:gd name="connsiteX3332" fmla="*/ 1995730 w 11683878"/>
                <a:gd name="connsiteY3332" fmla="*/ 2871127 h 6246035"/>
                <a:gd name="connsiteX3333" fmla="*/ 2010638 w 11683878"/>
                <a:gd name="connsiteY3333" fmla="*/ 2848952 h 6246035"/>
                <a:gd name="connsiteX3334" fmla="*/ 3821097 w 11683878"/>
                <a:gd name="connsiteY3334" fmla="*/ 2848685 h 6246035"/>
                <a:gd name="connsiteX3335" fmla="*/ 3821049 w 11683878"/>
                <a:gd name="connsiteY3335" fmla="*/ 2848914 h 6246035"/>
                <a:gd name="connsiteX3336" fmla="*/ 3820286 w 11683878"/>
                <a:gd name="connsiteY3336" fmla="*/ 2849233 h 6246035"/>
                <a:gd name="connsiteX3337" fmla="*/ 3821050 w 11683878"/>
                <a:gd name="connsiteY3337" fmla="*/ 2848914 h 6246035"/>
                <a:gd name="connsiteX3338" fmla="*/ 1611876 w 11683878"/>
                <a:gd name="connsiteY3338" fmla="*/ 2843633 h 6246035"/>
                <a:gd name="connsiteX3339" fmla="*/ 1590358 w 11683878"/>
                <a:gd name="connsiteY3339" fmla="*/ 2853504 h 6246035"/>
                <a:gd name="connsiteX3340" fmla="*/ 1591335 w 11683878"/>
                <a:gd name="connsiteY3340" fmla="*/ 2871754 h 6246035"/>
                <a:gd name="connsiteX3341" fmla="*/ 1590538 w 11683878"/>
                <a:gd name="connsiteY3341" fmla="*/ 2853680 h 6246035"/>
                <a:gd name="connsiteX3342" fmla="*/ 1611919 w 11683878"/>
                <a:gd name="connsiteY3342" fmla="*/ 2843678 h 6246035"/>
                <a:gd name="connsiteX3343" fmla="*/ 2217518 w 11683878"/>
                <a:gd name="connsiteY3343" fmla="*/ 2836068 h 6246035"/>
                <a:gd name="connsiteX3344" fmla="*/ 2196210 w 11683878"/>
                <a:gd name="connsiteY3344" fmla="*/ 2840495 h 6246035"/>
                <a:gd name="connsiteX3345" fmla="*/ 2195329 w 11683878"/>
                <a:gd name="connsiteY3345" fmla="*/ 2842804 h 6246035"/>
                <a:gd name="connsiteX3346" fmla="*/ 2226897 w 11683878"/>
                <a:gd name="connsiteY3346" fmla="*/ 2834120 h 6246035"/>
                <a:gd name="connsiteX3347" fmla="*/ 2225930 w 11683878"/>
                <a:gd name="connsiteY3347" fmla="*/ 2834321 h 6246035"/>
                <a:gd name="connsiteX3348" fmla="*/ 2225724 w 11683878"/>
                <a:gd name="connsiteY3348" fmla="*/ 2875125 h 6246035"/>
                <a:gd name="connsiteX3349" fmla="*/ 2230140 w 11683878"/>
                <a:gd name="connsiteY3349" fmla="*/ 2877066 h 6246035"/>
                <a:gd name="connsiteX3350" fmla="*/ 9496644 w 11683878"/>
                <a:gd name="connsiteY3350" fmla="*/ 2829648 h 6246035"/>
                <a:gd name="connsiteX3351" fmla="*/ 9497767 w 11683878"/>
                <a:gd name="connsiteY3351" fmla="*/ 2830751 h 6246035"/>
                <a:gd name="connsiteX3352" fmla="*/ 9497789 w 11683878"/>
                <a:gd name="connsiteY3352" fmla="*/ 2830716 h 6246035"/>
                <a:gd name="connsiteX3353" fmla="*/ 2193257 w 11683878"/>
                <a:gd name="connsiteY3353" fmla="*/ 2828010 h 6246035"/>
                <a:gd name="connsiteX3354" fmla="*/ 2185699 w 11683878"/>
                <a:gd name="connsiteY3354" fmla="*/ 2834433 h 6246035"/>
                <a:gd name="connsiteX3355" fmla="*/ 2185887 w 11683878"/>
                <a:gd name="connsiteY3355" fmla="*/ 2834553 h 6246035"/>
                <a:gd name="connsiteX3356" fmla="*/ 1566247 w 11683878"/>
                <a:gd name="connsiteY3356" fmla="*/ 2827651 h 6246035"/>
                <a:gd name="connsiteX3357" fmla="*/ 1556230 w 11683878"/>
                <a:gd name="connsiteY3357" fmla="*/ 2868961 h 6246035"/>
                <a:gd name="connsiteX3358" fmla="*/ 1557293 w 11683878"/>
                <a:gd name="connsiteY3358" fmla="*/ 2867826 h 6246035"/>
                <a:gd name="connsiteX3359" fmla="*/ 1557292 w 11683878"/>
                <a:gd name="connsiteY3359" fmla="*/ 2867825 h 6246035"/>
                <a:gd name="connsiteX3360" fmla="*/ 1591335 w 11683878"/>
                <a:gd name="connsiteY3360" fmla="*/ 2871760 h 6246035"/>
                <a:gd name="connsiteX3361" fmla="*/ 1591335 w 11683878"/>
                <a:gd name="connsiteY3361" fmla="*/ 2871759 h 6246035"/>
                <a:gd name="connsiteX3362" fmla="*/ 1556712 w 11683878"/>
                <a:gd name="connsiteY3362" fmla="*/ 2867378 h 6246035"/>
                <a:gd name="connsiteX3363" fmla="*/ 2828703 w 11683878"/>
                <a:gd name="connsiteY3363" fmla="*/ 2820550 h 6246035"/>
                <a:gd name="connsiteX3364" fmla="*/ 2795191 w 11683878"/>
                <a:gd name="connsiteY3364" fmla="*/ 2823873 h 6246035"/>
                <a:gd name="connsiteX3365" fmla="*/ 2790517 w 11683878"/>
                <a:gd name="connsiteY3365" fmla="*/ 2829382 h 6246035"/>
                <a:gd name="connsiteX3366" fmla="*/ 2828703 w 11683878"/>
                <a:gd name="connsiteY3366" fmla="*/ 2820551 h 6246035"/>
                <a:gd name="connsiteX3367" fmla="*/ 1154646 w 11683878"/>
                <a:gd name="connsiteY3367" fmla="*/ 2819046 h 6246035"/>
                <a:gd name="connsiteX3368" fmla="*/ 1137839 w 11683878"/>
                <a:gd name="connsiteY3368" fmla="*/ 2843375 h 6246035"/>
                <a:gd name="connsiteX3369" fmla="*/ 1139023 w 11683878"/>
                <a:gd name="connsiteY3369" fmla="*/ 2844194 h 6246035"/>
                <a:gd name="connsiteX3370" fmla="*/ 1158844 w 11683878"/>
                <a:gd name="connsiteY3370" fmla="*/ 2821815 h 6246035"/>
                <a:gd name="connsiteX3371" fmla="*/ 2205283 w 11683878"/>
                <a:gd name="connsiteY3371" fmla="*/ 2817791 h 6246035"/>
                <a:gd name="connsiteX3372" fmla="*/ 2204687 w 11683878"/>
                <a:gd name="connsiteY3372" fmla="*/ 2818297 h 6246035"/>
                <a:gd name="connsiteX3373" fmla="*/ 2203369 w 11683878"/>
                <a:gd name="connsiteY3373" fmla="*/ 2821750 h 6246035"/>
                <a:gd name="connsiteX3374" fmla="*/ 1330960 w 11683878"/>
                <a:gd name="connsiteY3374" fmla="*/ 2800107 h 6246035"/>
                <a:gd name="connsiteX3375" fmla="*/ 1332184 w 11683878"/>
                <a:gd name="connsiteY3375" fmla="*/ 2828049 h 6246035"/>
                <a:gd name="connsiteX3376" fmla="*/ 1336418 w 11683878"/>
                <a:gd name="connsiteY3376" fmla="*/ 2833751 h 6246035"/>
                <a:gd name="connsiteX3377" fmla="*/ 1338898 w 11683878"/>
                <a:gd name="connsiteY3377" fmla="*/ 2805239 h 6246035"/>
                <a:gd name="connsiteX3378" fmla="*/ 2824657 w 11683878"/>
                <a:gd name="connsiteY3378" fmla="*/ 2793842 h 6246035"/>
                <a:gd name="connsiteX3379" fmla="*/ 2818845 w 11683878"/>
                <a:gd name="connsiteY3379" fmla="*/ 2802128 h 6246035"/>
                <a:gd name="connsiteX3380" fmla="*/ 2828702 w 11683878"/>
                <a:gd name="connsiteY3380" fmla="*/ 2820547 h 6246035"/>
                <a:gd name="connsiteX3381" fmla="*/ 1815024 w 11683878"/>
                <a:gd name="connsiteY3381" fmla="*/ 2791789 h 6246035"/>
                <a:gd name="connsiteX3382" fmla="*/ 1774223 w 11683878"/>
                <a:gd name="connsiteY3382" fmla="*/ 2862357 h 6246035"/>
                <a:gd name="connsiteX3383" fmla="*/ 1777425 w 11683878"/>
                <a:gd name="connsiteY3383" fmla="*/ 2860848 h 6246035"/>
                <a:gd name="connsiteX3384" fmla="*/ 1113316 w 11683878"/>
                <a:gd name="connsiteY3384" fmla="*/ 2791780 h 6246035"/>
                <a:gd name="connsiteX3385" fmla="*/ 1113459 w 11683878"/>
                <a:gd name="connsiteY3385" fmla="*/ 2792811 h 6246035"/>
                <a:gd name="connsiteX3386" fmla="*/ 1124133 w 11683878"/>
                <a:gd name="connsiteY3386" fmla="*/ 2798917 h 6246035"/>
                <a:gd name="connsiteX3387" fmla="*/ 1084748 w 11683878"/>
                <a:gd name="connsiteY3387" fmla="*/ 2785747 h 6246035"/>
                <a:gd name="connsiteX3388" fmla="*/ 1087294 w 11683878"/>
                <a:gd name="connsiteY3388" fmla="*/ 2788888 h 6246035"/>
                <a:gd name="connsiteX3389" fmla="*/ 1090563 w 11683878"/>
                <a:gd name="connsiteY3389" fmla="*/ 2787346 h 6246035"/>
                <a:gd name="connsiteX3390" fmla="*/ 2193318 w 11683878"/>
                <a:gd name="connsiteY3390" fmla="*/ 2783427 h 6246035"/>
                <a:gd name="connsiteX3391" fmla="*/ 2164865 w 11683878"/>
                <a:gd name="connsiteY3391" fmla="*/ 2821106 h 6246035"/>
                <a:gd name="connsiteX3392" fmla="*/ 2165579 w 11683878"/>
                <a:gd name="connsiteY3392" fmla="*/ 2821563 h 6246035"/>
                <a:gd name="connsiteX3393" fmla="*/ 2196657 w 11683878"/>
                <a:gd name="connsiteY3393" fmla="*/ 2785065 h 6246035"/>
                <a:gd name="connsiteX3394" fmla="*/ 1576118 w 11683878"/>
                <a:gd name="connsiteY3394" fmla="*/ 2777610 h 6246035"/>
                <a:gd name="connsiteX3395" fmla="*/ 1587381 w 11683878"/>
                <a:gd name="connsiteY3395" fmla="*/ 2816543 h 6246035"/>
                <a:gd name="connsiteX3396" fmla="*/ 1592779 w 11683878"/>
                <a:gd name="connsiteY3396" fmla="*/ 2813750 h 6246035"/>
                <a:gd name="connsiteX3397" fmla="*/ 1036425 w 11683878"/>
                <a:gd name="connsiteY3397" fmla="*/ 2772457 h 6246035"/>
                <a:gd name="connsiteX3398" fmla="*/ 1031927 w 11683878"/>
                <a:gd name="connsiteY3398" fmla="*/ 2775067 h 6246035"/>
                <a:gd name="connsiteX3399" fmla="*/ 1065821 w 11683878"/>
                <a:gd name="connsiteY3399" fmla="*/ 2789856 h 6246035"/>
                <a:gd name="connsiteX3400" fmla="*/ 1071300 w 11683878"/>
                <a:gd name="connsiteY3400" fmla="*/ 2782048 h 6246035"/>
                <a:gd name="connsiteX3401" fmla="*/ 6788315 w 11683878"/>
                <a:gd name="connsiteY3401" fmla="*/ 2770991 h 6246035"/>
                <a:gd name="connsiteX3402" fmla="*/ 6786191 w 11683878"/>
                <a:gd name="connsiteY3402" fmla="*/ 2774558 h 6246035"/>
                <a:gd name="connsiteX3403" fmla="*/ 6837946 w 11683878"/>
                <a:gd name="connsiteY3403" fmla="*/ 2856659 h 6246035"/>
                <a:gd name="connsiteX3404" fmla="*/ 6837940 w 11683878"/>
                <a:gd name="connsiteY3404" fmla="*/ 2856590 h 6246035"/>
                <a:gd name="connsiteX3405" fmla="*/ 3864356 w 11683878"/>
                <a:gd name="connsiteY3405" fmla="*/ 2770139 h 6246035"/>
                <a:gd name="connsiteX3406" fmla="*/ 3834721 w 11683878"/>
                <a:gd name="connsiteY3406" fmla="*/ 2781432 h 6246035"/>
                <a:gd name="connsiteX3407" fmla="*/ 3834707 w 11683878"/>
                <a:gd name="connsiteY3407" fmla="*/ 2781502 h 6246035"/>
                <a:gd name="connsiteX3408" fmla="*/ 3864193 w 11683878"/>
                <a:gd name="connsiteY3408" fmla="*/ 2770836 h 6246035"/>
                <a:gd name="connsiteX3409" fmla="*/ 1117639 w 11683878"/>
                <a:gd name="connsiteY3409" fmla="*/ 2764552 h 6246035"/>
                <a:gd name="connsiteX3410" fmla="*/ 1097673 w 11683878"/>
                <a:gd name="connsiteY3410" fmla="*/ 2783992 h 6246035"/>
                <a:gd name="connsiteX3411" fmla="*/ 1111341 w 11683878"/>
                <a:gd name="connsiteY3411" fmla="*/ 2777545 h 6246035"/>
                <a:gd name="connsiteX3412" fmla="*/ 1112667 w 11683878"/>
                <a:gd name="connsiteY3412" fmla="*/ 2787106 h 6246035"/>
                <a:gd name="connsiteX3413" fmla="*/ 1586334 w 11683878"/>
                <a:gd name="connsiteY3413" fmla="*/ 2758246 h 6246035"/>
                <a:gd name="connsiteX3414" fmla="*/ 1576147 w 11683878"/>
                <a:gd name="connsiteY3414" fmla="*/ 2777550 h 6246035"/>
                <a:gd name="connsiteX3415" fmla="*/ 1586820 w 11683878"/>
                <a:gd name="connsiteY3415" fmla="*/ 2758314 h 6246035"/>
                <a:gd name="connsiteX3416" fmla="*/ 1329066 w 11683878"/>
                <a:gd name="connsiteY3416" fmla="*/ 2756861 h 6246035"/>
                <a:gd name="connsiteX3417" fmla="*/ 1330298 w 11683878"/>
                <a:gd name="connsiteY3417" fmla="*/ 2785002 h 6246035"/>
                <a:gd name="connsiteX3418" fmla="*/ 1335424 w 11683878"/>
                <a:gd name="connsiteY3418" fmla="*/ 2766491 h 6246035"/>
                <a:gd name="connsiteX3419" fmla="*/ 2704861 w 11683878"/>
                <a:gd name="connsiteY3419" fmla="*/ 2755040 h 6246035"/>
                <a:gd name="connsiteX3420" fmla="*/ 2659869 w 11683878"/>
                <a:gd name="connsiteY3420" fmla="*/ 2789884 h 6246035"/>
                <a:gd name="connsiteX3421" fmla="*/ 2665945 w 11683878"/>
                <a:gd name="connsiteY3421" fmla="*/ 2797087 h 6246035"/>
                <a:gd name="connsiteX3422" fmla="*/ 1905490 w 11683878"/>
                <a:gd name="connsiteY3422" fmla="*/ 2751767 h 6246035"/>
                <a:gd name="connsiteX3423" fmla="*/ 1905504 w 11683878"/>
                <a:gd name="connsiteY3423" fmla="*/ 2751792 h 6246035"/>
                <a:gd name="connsiteX3424" fmla="*/ 1943841 w 11683878"/>
                <a:gd name="connsiteY3424" fmla="*/ 2756874 h 6246035"/>
                <a:gd name="connsiteX3425" fmla="*/ 1962020 w 11683878"/>
                <a:gd name="connsiteY3425" fmla="*/ 2807747 h 6246035"/>
                <a:gd name="connsiteX3426" fmla="*/ 1992545 w 11683878"/>
                <a:gd name="connsiteY3426" fmla="*/ 2833506 h 6246035"/>
                <a:gd name="connsiteX3427" fmla="*/ 1962626 w 11683878"/>
                <a:gd name="connsiteY3427" fmla="*/ 2807963 h 6246035"/>
                <a:gd name="connsiteX3428" fmla="*/ 1943841 w 11683878"/>
                <a:gd name="connsiteY3428" fmla="*/ 2756874 h 6246035"/>
                <a:gd name="connsiteX3429" fmla="*/ 1905504 w 11683878"/>
                <a:gd name="connsiteY3429" fmla="*/ 2751791 h 6246035"/>
                <a:gd name="connsiteX3430" fmla="*/ 1786898 w 11683878"/>
                <a:gd name="connsiteY3430" fmla="*/ 2751383 h 6246035"/>
                <a:gd name="connsiteX3431" fmla="*/ 1781010 w 11683878"/>
                <a:gd name="connsiteY3431" fmla="*/ 2772801 h 6246035"/>
                <a:gd name="connsiteX3432" fmla="*/ 1781650 w 11683878"/>
                <a:gd name="connsiteY3432" fmla="*/ 2773158 h 6246035"/>
                <a:gd name="connsiteX3433" fmla="*/ 1786899 w 11683878"/>
                <a:gd name="connsiteY3433" fmla="*/ 2751383 h 6246035"/>
                <a:gd name="connsiteX3434" fmla="*/ 3869683 w 11683878"/>
                <a:gd name="connsiteY3434" fmla="*/ 2747378 h 6246035"/>
                <a:gd name="connsiteX3435" fmla="*/ 3869629 w 11683878"/>
                <a:gd name="connsiteY3435" fmla="*/ 2747392 h 6246035"/>
                <a:gd name="connsiteX3436" fmla="*/ 3869358 w 11683878"/>
                <a:gd name="connsiteY3436" fmla="*/ 2748768 h 6246035"/>
                <a:gd name="connsiteX3437" fmla="*/ 6802457 w 11683878"/>
                <a:gd name="connsiteY3437" fmla="*/ 2747238 h 6246035"/>
                <a:gd name="connsiteX3438" fmla="*/ 6825031 w 11683878"/>
                <a:gd name="connsiteY3438" fmla="*/ 2753834 h 6246035"/>
                <a:gd name="connsiteX3439" fmla="*/ 6825032 w 11683878"/>
                <a:gd name="connsiteY3439" fmla="*/ 2753834 h 6246035"/>
                <a:gd name="connsiteX3440" fmla="*/ 3926311 w 11683878"/>
                <a:gd name="connsiteY3440" fmla="*/ 2732721 h 6246035"/>
                <a:gd name="connsiteX3441" fmla="*/ 3875370 w 11683878"/>
                <a:gd name="connsiteY3441" fmla="*/ 2745906 h 6246035"/>
                <a:gd name="connsiteX3442" fmla="*/ 3926369 w 11683878"/>
                <a:gd name="connsiteY3442" fmla="*/ 2732864 h 6246035"/>
                <a:gd name="connsiteX3443" fmla="*/ 2098944 w 11683878"/>
                <a:gd name="connsiteY3443" fmla="*/ 2731827 h 6246035"/>
                <a:gd name="connsiteX3444" fmla="*/ 2098999 w 11683878"/>
                <a:gd name="connsiteY3444" fmla="*/ 2731861 h 6246035"/>
                <a:gd name="connsiteX3445" fmla="*/ 2099000 w 11683878"/>
                <a:gd name="connsiteY3445" fmla="*/ 2731861 h 6246035"/>
                <a:gd name="connsiteX3446" fmla="*/ 1505329 w 11683878"/>
                <a:gd name="connsiteY3446" fmla="*/ 2730758 h 6246035"/>
                <a:gd name="connsiteX3447" fmla="*/ 1505301 w 11683878"/>
                <a:gd name="connsiteY3447" fmla="*/ 2730770 h 6246035"/>
                <a:gd name="connsiteX3448" fmla="*/ 1505302 w 11683878"/>
                <a:gd name="connsiteY3448" fmla="*/ 2730770 h 6246035"/>
                <a:gd name="connsiteX3449" fmla="*/ 1896339 w 11683878"/>
                <a:gd name="connsiteY3449" fmla="*/ 2727809 h 6246035"/>
                <a:gd name="connsiteX3450" fmla="*/ 1893142 w 11683878"/>
                <a:gd name="connsiteY3450" fmla="*/ 2731130 h 6246035"/>
                <a:gd name="connsiteX3451" fmla="*/ 1894565 w 11683878"/>
                <a:gd name="connsiteY3451" fmla="*/ 2733508 h 6246035"/>
                <a:gd name="connsiteX3452" fmla="*/ 2880700 w 11683878"/>
                <a:gd name="connsiteY3452" fmla="*/ 2727420 h 6246035"/>
                <a:gd name="connsiteX3453" fmla="*/ 2858240 w 11683878"/>
                <a:gd name="connsiteY3453" fmla="*/ 2745963 h 6246035"/>
                <a:gd name="connsiteX3454" fmla="*/ 2858241 w 11683878"/>
                <a:gd name="connsiteY3454" fmla="*/ 2745965 h 6246035"/>
                <a:gd name="connsiteX3455" fmla="*/ 2832206 w 11683878"/>
                <a:gd name="connsiteY3455" fmla="*/ 2783080 h 6246035"/>
                <a:gd name="connsiteX3456" fmla="*/ 2880701 w 11683878"/>
                <a:gd name="connsiteY3456" fmla="*/ 2727421 h 6246035"/>
                <a:gd name="connsiteX3457" fmla="*/ 6883882 w 11683878"/>
                <a:gd name="connsiteY3457" fmla="*/ 2724892 h 6246035"/>
                <a:gd name="connsiteX3458" fmla="*/ 6832627 w 11683878"/>
                <a:gd name="connsiteY3458" fmla="*/ 2750099 h 6246035"/>
                <a:gd name="connsiteX3459" fmla="*/ 6883880 w 11683878"/>
                <a:gd name="connsiteY3459" fmla="*/ 2724896 h 6246035"/>
                <a:gd name="connsiteX3460" fmla="*/ 1165881 w 11683878"/>
                <a:gd name="connsiteY3460" fmla="*/ 2721307 h 6246035"/>
                <a:gd name="connsiteX3461" fmla="*/ 1162834 w 11683878"/>
                <a:gd name="connsiteY3461" fmla="*/ 2760277 h 6246035"/>
                <a:gd name="connsiteX3462" fmla="*/ 1163585 w 11683878"/>
                <a:gd name="connsiteY3462" fmla="*/ 2760206 h 6246035"/>
                <a:gd name="connsiteX3463" fmla="*/ 1165885 w 11683878"/>
                <a:gd name="connsiteY3463" fmla="*/ 2721258 h 6246035"/>
                <a:gd name="connsiteX3464" fmla="*/ 1165885 w 11683878"/>
                <a:gd name="connsiteY3464" fmla="*/ 2721259 h 6246035"/>
                <a:gd name="connsiteX3465" fmla="*/ 1213139 w 11683878"/>
                <a:gd name="connsiteY3465" fmla="*/ 2743693 h 6246035"/>
                <a:gd name="connsiteX3466" fmla="*/ 1215787 w 11683878"/>
                <a:gd name="connsiteY3466" fmla="*/ 2738834 h 6246035"/>
                <a:gd name="connsiteX3467" fmla="*/ 5425672 w 11683878"/>
                <a:gd name="connsiteY3467" fmla="*/ 2718358 h 6246035"/>
                <a:gd name="connsiteX3468" fmla="*/ 5425371 w 11683878"/>
                <a:gd name="connsiteY3468" fmla="*/ 2718689 h 6246035"/>
                <a:gd name="connsiteX3469" fmla="*/ 5442467 w 11683878"/>
                <a:gd name="connsiteY3469" fmla="*/ 2783016 h 6246035"/>
                <a:gd name="connsiteX3470" fmla="*/ 5425371 w 11683878"/>
                <a:gd name="connsiteY3470" fmla="*/ 2792203 h 6246035"/>
                <a:gd name="connsiteX3471" fmla="*/ 5418915 w 11683878"/>
                <a:gd name="connsiteY3471" fmla="*/ 2831813 h 6246035"/>
                <a:gd name="connsiteX3472" fmla="*/ 5418227 w 11683878"/>
                <a:gd name="connsiteY3472" fmla="*/ 2832926 h 6246035"/>
                <a:gd name="connsiteX3473" fmla="*/ 5418919 w 11683878"/>
                <a:gd name="connsiteY3473" fmla="*/ 2831812 h 6246035"/>
                <a:gd name="connsiteX3474" fmla="*/ 5425375 w 11683878"/>
                <a:gd name="connsiteY3474" fmla="*/ 2792202 h 6246035"/>
                <a:gd name="connsiteX3475" fmla="*/ 5442470 w 11683878"/>
                <a:gd name="connsiteY3475" fmla="*/ 2783015 h 6246035"/>
                <a:gd name="connsiteX3476" fmla="*/ 5425376 w 11683878"/>
                <a:gd name="connsiteY3476" fmla="*/ 2718688 h 6246035"/>
                <a:gd name="connsiteX3477" fmla="*/ 2445641 w 11683878"/>
                <a:gd name="connsiteY3477" fmla="*/ 2717778 h 6246035"/>
                <a:gd name="connsiteX3478" fmla="*/ 2483076 w 11683878"/>
                <a:gd name="connsiteY3478" fmla="*/ 2757909 h 6246035"/>
                <a:gd name="connsiteX3479" fmla="*/ 2492385 w 11683878"/>
                <a:gd name="connsiteY3479" fmla="*/ 2760123 h 6246035"/>
                <a:gd name="connsiteX3480" fmla="*/ 1348457 w 11683878"/>
                <a:gd name="connsiteY3480" fmla="*/ 2714580 h 6246035"/>
                <a:gd name="connsiteX3481" fmla="*/ 1339203 w 11683878"/>
                <a:gd name="connsiteY3481" fmla="*/ 2739288 h 6246035"/>
                <a:gd name="connsiteX3482" fmla="*/ 1328178 w 11683878"/>
                <a:gd name="connsiteY3482" fmla="*/ 2736615 h 6246035"/>
                <a:gd name="connsiteX3483" fmla="*/ 1328489 w 11683878"/>
                <a:gd name="connsiteY3483" fmla="*/ 2743711 h 6246035"/>
                <a:gd name="connsiteX3484" fmla="*/ 1342036 w 11683878"/>
                <a:gd name="connsiteY3484" fmla="*/ 2738586 h 6246035"/>
                <a:gd name="connsiteX3485" fmla="*/ 4110118 w 11683878"/>
                <a:gd name="connsiteY3485" fmla="*/ 2714499 h 6246035"/>
                <a:gd name="connsiteX3486" fmla="*/ 4135035 w 11683878"/>
                <a:gd name="connsiteY3486" fmla="*/ 2717958 h 6246035"/>
                <a:gd name="connsiteX3487" fmla="*/ 4135528 w 11683878"/>
                <a:gd name="connsiteY3487" fmla="*/ 2717563 h 6246035"/>
                <a:gd name="connsiteX3488" fmla="*/ 1493467 w 11683878"/>
                <a:gd name="connsiteY3488" fmla="*/ 2713468 h 6246035"/>
                <a:gd name="connsiteX3489" fmla="*/ 1464298 w 11683878"/>
                <a:gd name="connsiteY3489" fmla="*/ 2744875 h 6246035"/>
                <a:gd name="connsiteX3490" fmla="*/ 1464298 w 11683878"/>
                <a:gd name="connsiteY3490" fmla="*/ 2744875 h 6246035"/>
                <a:gd name="connsiteX3491" fmla="*/ 4078554 w 11683878"/>
                <a:gd name="connsiteY3491" fmla="*/ 2710826 h 6246035"/>
                <a:gd name="connsiteX3492" fmla="*/ 4073861 w 11683878"/>
                <a:gd name="connsiteY3492" fmla="*/ 2776027 h 6246035"/>
                <a:gd name="connsiteX3493" fmla="*/ 4074042 w 11683878"/>
                <a:gd name="connsiteY3493" fmla="*/ 2776215 h 6246035"/>
                <a:gd name="connsiteX3494" fmla="*/ 1395332 w 11683878"/>
                <a:gd name="connsiteY3494" fmla="*/ 2710782 h 6246035"/>
                <a:gd name="connsiteX3495" fmla="*/ 1349816 w 11683878"/>
                <a:gd name="connsiteY3495" fmla="*/ 2710952 h 6246035"/>
                <a:gd name="connsiteX3496" fmla="*/ 1349704 w 11683878"/>
                <a:gd name="connsiteY3496" fmla="*/ 2711251 h 6246035"/>
                <a:gd name="connsiteX3497" fmla="*/ 1395157 w 11683878"/>
                <a:gd name="connsiteY3497" fmla="*/ 2712743 h 6246035"/>
                <a:gd name="connsiteX3498" fmla="*/ 4068204 w 11683878"/>
                <a:gd name="connsiteY3498" fmla="*/ 2709446 h 6246035"/>
                <a:gd name="connsiteX3499" fmla="*/ 4042626 w 11683878"/>
                <a:gd name="connsiteY3499" fmla="*/ 2726268 h 6246035"/>
                <a:gd name="connsiteX3500" fmla="*/ 4077593 w 11683878"/>
                <a:gd name="connsiteY3500" fmla="*/ 2710578 h 6246035"/>
                <a:gd name="connsiteX3501" fmla="*/ 2134672 w 11683878"/>
                <a:gd name="connsiteY3501" fmla="*/ 2704535 h 6246035"/>
                <a:gd name="connsiteX3502" fmla="*/ 2134671 w 11683878"/>
                <a:gd name="connsiteY3502" fmla="*/ 2704536 h 6246035"/>
                <a:gd name="connsiteX3503" fmla="*/ 2147013 w 11683878"/>
                <a:gd name="connsiteY3503" fmla="*/ 2760708 h 6246035"/>
                <a:gd name="connsiteX3504" fmla="*/ 1236031 w 11683878"/>
                <a:gd name="connsiteY3504" fmla="*/ 2698524 h 6246035"/>
                <a:gd name="connsiteX3505" fmla="*/ 1218797 w 11683878"/>
                <a:gd name="connsiteY3505" fmla="*/ 2720851 h 6246035"/>
                <a:gd name="connsiteX3506" fmla="*/ 1220485 w 11683878"/>
                <a:gd name="connsiteY3506" fmla="*/ 2730215 h 6246035"/>
                <a:gd name="connsiteX3507" fmla="*/ 1232382 w 11683878"/>
                <a:gd name="connsiteY3507" fmla="*/ 2708389 h 6246035"/>
                <a:gd name="connsiteX3508" fmla="*/ 1240546 w 11683878"/>
                <a:gd name="connsiteY3508" fmla="*/ 2710458 h 6246035"/>
                <a:gd name="connsiteX3509" fmla="*/ 6960417 w 11683878"/>
                <a:gd name="connsiteY3509" fmla="*/ 2685463 h 6246035"/>
                <a:gd name="connsiteX3510" fmla="*/ 6957409 w 11683878"/>
                <a:gd name="connsiteY3510" fmla="*/ 2698532 h 6246035"/>
                <a:gd name="connsiteX3511" fmla="*/ 6957841 w 11683878"/>
                <a:gd name="connsiteY3511" fmla="*/ 2698564 h 6246035"/>
                <a:gd name="connsiteX3512" fmla="*/ 9401627 w 11683878"/>
                <a:gd name="connsiteY3512" fmla="*/ 2682119 h 6246035"/>
                <a:gd name="connsiteX3513" fmla="*/ 9418825 w 11683878"/>
                <a:gd name="connsiteY3513" fmla="*/ 2753229 h 6246035"/>
                <a:gd name="connsiteX3514" fmla="*/ 9424545 w 11683878"/>
                <a:gd name="connsiteY3514" fmla="*/ 2758846 h 6246035"/>
                <a:gd name="connsiteX3515" fmla="*/ 9401719 w 11683878"/>
                <a:gd name="connsiteY3515" fmla="*/ 2682191 h 6246035"/>
                <a:gd name="connsiteX3516" fmla="*/ 1678418 w 11683878"/>
                <a:gd name="connsiteY3516" fmla="*/ 2674562 h 6246035"/>
                <a:gd name="connsiteX3517" fmla="*/ 1687803 w 11683878"/>
                <a:gd name="connsiteY3517" fmla="*/ 2678952 h 6246035"/>
                <a:gd name="connsiteX3518" fmla="*/ 1689198 w 11683878"/>
                <a:gd name="connsiteY3518" fmla="*/ 2674911 h 6246035"/>
                <a:gd name="connsiteX3519" fmla="*/ 5393531 w 11683878"/>
                <a:gd name="connsiteY3519" fmla="*/ 2674491 h 6246035"/>
                <a:gd name="connsiteX3520" fmla="*/ 5392722 w 11683878"/>
                <a:gd name="connsiteY3520" fmla="*/ 2674511 h 6246035"/>
                <a:gd name="connsiteX3521" fmla="*/ 5393530 w 11683878"/>
                <a:gd name="connsiteY3521" fmla="*/ 2674492 h 6246035"/>
                <a:gd name="connsiteX3522" fmla="*/ 2004101 w 11683878"/>
                <a:gd name="connsiteY3522" fmla="*/ 2673202 h 6246035"/>
                <a:gd name="connsiteX3523" fmla="*/ 2017226 w 11683878"/>
                <a:gd name="connsiteY3523" fmla="*/ 2681315 h 6246035"/>
                <a:gd name="connsiteX3524" fmla="*/ 2020784 w 11683878"/>
                <a:gd name="connsiteY3524" fmla="*/ 2675112 h 6246035"/>
                <a:gd name="connsiteX3525" fmla="*/ 2017302 w 11683878"/>
                <a:gd name="connsiteY3525" fmla="*/ 2678036 h 6246035"/>
                <a:gd name="connsiteX3526" fmla="*/ 9382204 w 11683878"/>
                <a:gd name="connsiteY3526" fmla="*/ 2666735 h 6246035"/>
                <a:gd name="connsiteX3527" fmla="*/ 9382114 w 11683878"/>
                <a:gd name="connsiteY3527" fmla="*/ 2666885 h 6246035"/>
                <a:gd name="connsiteX3528" fmla="*/ 9393760 w 11683878"/>
                <a:gd name="connsiteY3528" fmla="*/ 2675888 h 6246035"/>
                <a:gd name="connsiteX3529" fmla="*/ 1901395 w 11683878"/>
                <a:gd name="connsiteY3529" fmla="*/ 2662677 h 6246035"/>
                <a:gd name="connsiteX3530" fmla="*/ 1897100 w 11683878"/>
                <a:gd name="connsiteY3530" fmla="*/ 2664653 h 6246035"/>
                <a:gd name="connsiteX3531" fmla="*/ 1900129 w 11683878"/>
                <a:gd name="connsiteY3531" fmla="*/ 2666581 h 6246035"/>
                <a:gd name="connsiteX3532" fmla="*/ 1631538 w 11683878"/>
                <a:gd name="connsiteY3532" fmla="*/ 2660244 h 6246035"/>
                <a:gd name="connsiteX3533" fmla="*/ 1635329 w 11683878"/>
                <a:gd name="connsiteY3533" fmla="*/ 2673078 h 6246035"/>
                <a:gd name="connsiteX3534" fmla="*/ 1635580 w 11683878"/>
                <a:gd name="connsiteY3534" fmla="*/ 2672964 h 6246035"/>
                <a:gd name="connsiteX3535" fmla="*/ 2814236 w 11683878"/>
                <a:gd name="connsiteY3535" fmla="*/ 2656543 h 6246035"/>
                <a:gd name="connsiteX3536" fmla="*/ 2783749 w 11683878"/>
                <a:gd name="connsiteY3536" fmla="*/ 2675562 h 6246035"/>
                <a:gd name="connsiteX3537" fmla="*/ 2783750 w 11683878"/>
                <a:gd name="connsiteY3537" fmla="*/ 2675565 h 6246035"/>
                <a:gd name="connsiteX3538" fmla="*/ 2701566 w 11683878"/>
                <a:gd name="connsiteY3538" fmla="*/ 2728086 h 6246035"/>
                <a:gd name="connsiteX3539" fmla="*/ 2814236 w 11683878"/>
                <a:gd name="connsiteY3539" fmla="*/ 2656544 h 6246035"/>
                <a:gd name="connsiteX3540" fmla="*/ 2052208 w 11683878"/>
                <a:gd name="connsiteY3540" fmla="*/ 2652517 h 6246035"/>
                <a:gd name="connsiteX3541" fmla="*/ 2071261 w 11683878"/>
                <a:gd name="connsiteY3541" fmla="*/ 2660408 h 6246035"/>
                <a:gd name="connsiteX3542" fmla="*/ 2073865 w 11683878"/>
                <a:gd name="connsiteY3542" fmla="*/ 2656879 h 6246035"/>
                <a:gd name="connsiteX3543" fmla="*/ 2417948 w 11683878"/>
                <a:gd name="connsiteY3543" fmla="*/ 2650429 h 6246035"/>
                <a:gd name="connsiteX3544" fmla="*/ 2405323 w 11683878"/>
                <a:gd name="connsiteY3544" fmla="*/ 2665944 h 6246035"/>
                <a:gd name="connsiteX3545" fmla="*/ 2405324 w 11683878"/>
                <a:gd name="connsiteY3545" fmla="*/ 2665944 h 6246035"/>
                <a:gd name="connsiteX3546" fmla="*/ 2417952 w 11683878"/>
                <a:gd name="connsiteY3546" fmla="*/ 2650429 h 6246035"/>
                <a:gd name="connsiteX3547" fmla="*/ 4341600 w 11683878"/>
                <a:gd name="connsiteY3547" fmla="*/ 2649047 h 6246035"/>
                <a:gd name="connsiteX3548" fmla="*/ 4216420 w 11683878"/>
                <a:gd name="connsiteY3548" fmla="*/ 2655960 h 6246035"/>
                <a:gd name="connsiteX3549" fmla="*/ 4212734 w 11683878"/>
                <a:gd name="connsiteY3549" fmla="*/ 2658792 h 6246035"/>
                <a:gd name="connsiteX3550" fmla="*/ 5408492 w 11683878"/>
                <a:gd name="connsiteY3550" fmla="*/ 2648718 h 6246035"/>
                <a:gd name="connsiteX3551" fmla="*/ 5408366 w 11683878"/>
                <a:gd name="connsiteY3551" fmla="*/ 2648936 h 6246035"/>
                <a:gd name="connsiteX3552" fmla="*/ 5417629 w 11683878"/>
                <a:gd name="connsiteY3552" fmla="*/ 2667518 h 6246035"/>
                <a:gd name="connsiteX3553" fmla="*/ 5404516 w 11683878"/>
                <a:gd name="connsiteY3553" fmla="*/ 2688870 h 6246035"/>
                <a:gd name="connsiteX3554" fmla="*/ 5437693 w 11683878"/>
                <a:gd name="connsiteY3554" fmla="*/ 2704979 h 6246035"/>
                <a:gd name="connsiteX3555" fmla="*/ 5437773 w 11683878"/>
                <a:gd name="connsiteY3555" fmla="*/ 2704889 h 6246035"/>
                <a:gd name="connsiteX3556" fmla="*/ 5404521 w 11683878"/>
                <a:gd name="connsiteY3556" fmla="*/ 2688869 h 6246035"/>
                <a:gd name="connsiteX3557" fmla="*/ 5417632 w 11683878"/>
                <a:gd name="connsiteY3557" fmla="*/ 2667517 h 6246035"/>
                <a:gd name="connsiteX3558" fmla="*/ 5331440 w 11683878"/>
                <a:gd name="connsiteY3558" fmla="*/ 2647792 h 6246035"/>
                <a:gd name="connsiteX3559" fmla="*/ 5349916 w 11683878"/>
                <a:gd name="connsiteY3559" fmla="*/ 2654861 h 6246035"/>
                <a:gd name="connsiteX3560" fmla="*/ 5353327 w 11683878"/>
                <a:gd name="connsiteY3560" fmla="*/ 2665686 h 6246035"/>
                <a:gd name="connsiteX3561" fmla="*/ 5350233 w 11683878"/>
                <a:gd name="connsiteY3561" fmla="*/ 2654923 h 6246035"/>
                <a:gd name="connsiteX3562" fmla="*/ 1934169 w 11683878"/>
                <a:gd name="connsiteY3562" fmla="*/ 2647591 h 6246035"/>
                <a:gd name="connsiteX3563" fmla="*/ 1913217 w 11683878"/>
                <a:gd name="connsiteY3563" fmla="*/ 2657235 h 6246035"/>
                <a:gd name="connsiteX3564" fmla="*/ 1952451 w 11683878"/>
                <a:gd name="connsiteY3564" fmla="*/ 2654286 h 6246035"/>
                <a:gd name="connsiteX3565" fmla="*/ 1613132 w 11683878"/>
                <a:gd name="connsiteY3565" fmla="*/ 2641655 h 6246035"/>
                <a:gd name="connsiteX3566" fmla="*/ 1613538 w 11683878"/>
                <a:gd name="connsiteY3566" fmla="*/ 2645444 h 6246035"/>
                <a:gd name="connsiteX3567" fmla="*/ 1614188 w 11683878"/>
                <a:gd name="connsiteY3567" fmla="*/ 2644760 h 6246035"/>
                <a:gd name="connsiteX3568" fmla="*/ 6953170 w 11683878"/>
                <a:gd name="connsiteY3568" fmla="*/ 2639137 h 6246035"/>
                <a:gd name="connsiteX3569" fmla="*/ 6965490 w 11683878"/>
                <a:gd name="connsiteY3569" fmla="*/ 2659665 h 6246035"/>
                <a:gd name="connsiteX3570" fmla="*/ 6965828 w 11683878"/>
                <a:gd name="connsiteY3570" fmla="*/ 2657948 h 6246035"/>
                <a:gd name="connsiteX3571" fmla="*/ 1698695 w 11683878"/>
                <a:gd name="connsiteY3571" fmla="*/ 2637965 h 6246035"/>
                <a:gd name="connsiteX3572" fmla="*/ 1696155 w 11683878"/>
                <a:gd name="connsiteY3572" fmla="*/ 2654749 h 6246035"/>
                <a:gd name="connsiteX3573" fmla="*/ 1700433 w 11683878"/>
                <a:gd name="connsiteY3573" fmla="*/ 2642350 h 6246035"/>
                <a:gd name="connsiteX3574" fmla="*/ 1825270 w 11683878"/>
                <a:gd name="connsiteY3574" fmla="*/ 2634804 h 6246035"/>
                <a:gd name="connsiteX3575" fmla="*/ 1825247 w 11683878"/>
                <a:gd name="connsiteY3575" fmla="*/ 2634863 h 6246035"/>
                <a:gd name="connsiteX3576" fmla="*/ 1844723 w 11683878"/>
                <a:gd name="connsiteY3576" fmla="*/ 2639682 h 6246035"/>
                <a:gd name="connsiteX3577" fmla="*/ 1863681 w 11683878"/>
                <a:gd name="connsiteY3577" fmla="*/ 2680036 h 6246035"/>
                <a:gd name="connsiteX3578" fmla="*/ 1844723 w 11683878"/>
                <a:gd name="connsiteY3578" fmla="*/ 2639681 h 6246035"/>
                <a:gd name="connsiteX3579" fmla="*/ 1592397 w 11683878"/>
                <a:gd name="connsiteY3579" fmla="*/ 2632474 h 6246035"/>
                <a:gd name="connsiteX3580" fmla="*/ 1578079 w 11683878"/>
                <a:gd name="connsiteY3580" fmla="*/ 2651067 h 6246035"/>
                <a:gd name="connsiteX3581" fmla="*/ 1572125 w 11683878"/>
                <a:gd name="connsiteY3581" fmla="*/ 2648975 h 6246035"/>
                <a:gd name="connsiteX3582" fmla="*/ 1571141 w 11683878"/>
                <a:gd name="connsiteY3582" fmla="*/ 2669668 h 6246035"/>
                <a:gd name="connsiteX3583" fmla="*/ 1572590 w 11683878"/>
                <a:gd name="connsiteY3583" fmla="*/ 2667776 h 6246035"/>
                <a:gd name="connsiteX3584" fmla="*/ 1580121 w 11683878"/>
                <a:gd name="connsiteY3584" fmla="*/ 2671089 h 6246035"/>
                <a:gd name="connsiteX3585" fmla="*/ 1630371 w 11683878"/>
                <a:gd name="connsiteY3585" fmla="*/ 2627043 h 6246035"/>
                <a:gd name="connsiteX3586" fmla="*/ 1624333 w 11683878"/>
                <a:gd name="connsiteY3586" fmla="*/ 2634073 h 6246035"/>
                <a:gd name="connsiteX3587" fmla="*/ 1630778 w 11683878"/>
                <a:gd name="connsiteY3587" fmla="*/ 2627286 h 6246035"/>
                <a:gd name="connsiteX3588" fmla="*/ 2754645 w 11683878"/>
                <a:gd name="connsiteY3588" fmla="*/ 2621081 h 6246035"/>
                <a:gd name="connsiteX3589" fmla="*/ 2754646 w 11683878"/>
                <a:gd name="connsiteY3589" fmla="*/ 2621083 h 6246035"/>
                <a:gd name="connsiteX3590" fmla="*/ 2775058 w 11683878"/>
                <a:gd name="connsiteY3590" fmla="*/ 2624441 h 6246035"/>
                <a:gd name="connsiteX3591" fmla="*/ 2775058 w 11683878"/>
                <a:gd name="connsiteY3591" fmla="*/ 2624439 h 6246035"/>
                <a:gd name="connsiteX3592" fmla="*/ 4364979 w 11683878"/>
                <a:gd name="connsiteY3592" fmla="*/ 2617087 h 6246035"/>
                <a:gd name="connsiteX3593" fmla="*/ 4364835 w 11683878"/>
                <a:gd name="connsiteY3593" fmla="*/ 2617122 h 6246035"/>
                <a:gd name="connsiteX3594" fmla="*/ 4344781 w 11683878"/>
                <a:gd name="connsiteY3594" fmla="*/ 2648807 h 6246035"/>
                <a:gd name="connsiteX3595" fmla="*/ 4344857 w 11683878"/>
                <a:gd name="connsiteY3595" fmla="*/ 2648801 h 6246035"/>
                <a:gd name="connsiteX3596" fmla="*/ 1604618 w 11683878"/>
                <a:gd name="connsiteY3596" fmla="*/ 2616604 h 6246035"/>
                <a:gd name="connsiteX3597" fmla="*/ 1600097 w 11683878"/>
                <a:gd name="connsiteY3597" fmla="*/ 2622475 h 6246035"/>
                <a:gd name="connsiteX3598" fmla="*/ 1606735 w 11683878"/>
                <a:gd name="connsiteY3598" fmla="*/ 2622832 h 6246035"/>
                <a:gd name="connsiteX3599" fmla="*/ 2180324 w 11683878"/>
                <a:gd name="connsiteY3599" fmla="*/ 2616280 h 6246035"/>
                <a:gd name="connsiteX3600" fmla="*/ 2096941 w 11683878"/>
                <a:gd name="connsiteY3600" fmla="*/ 2625601 h 6246035"/>
                <a:gd name="connsiteX3601" fmla="*/ 2180166 w 11683878"/>
                <a:gd name="connsiteY3601" fmla="*/ 2616740 h 6246035"/>
                <a:gd name="connsiteX3602" fmla="*/ 1687916 w 11683878"/>
                <a:gd name="connsiteY3602" fmla="*/ 2610771 h 6246035"/>
                <a:gd name="connsiteX3603" fmla="*/ 1683193 w 11683878"/>
                <a:gd name="connsiteY3603" fmla="*/ 2622788 h 6246035"/>
                <a:gd name="connsiteX3604" fmla="*/ 1693105 w 11683878"/>
                <a:gd name="connsiteY3604" fmla="*/ 2623861 h 6246035"/>
                <a:gd name="connsiteX3605" fmla="*/ 1687169 w 11683878"/>
                <a:gd name="connsiteY3605" fmla="*/ 2608886 h 6246035"/>
                <a:gd name="connsiteX3606" fmla="*/ 1656179 w 11683878"/>
                <a:gd name="connsiteY3606" fmla="*/ 2642372 h 6246035"/>
                <a:gd name="connsiteX3607" fmla="*/ 1656463 w 11683878"/>
                <a:gd name="connsiteY3607" fmla="*/ 2642546 h 6246035"/>
                <a:gd name="connsiteX3608" fmla="*/ 1687707 w 11683878"/>
                <a:gd name="connsiteY3608" fmla="*/ 2610242 h 6246035"/>
                <a:gd name="connsiteX3609" fmla="*/ 6963581 w 11683878"/>
                <a:gd name="connsiteY3609" fmla="*/ 2604575 h 6246035"/>
                <a:gd name="connsiteX3610" fmla="*/ 6963174 w 11683878"/>
                <a:gd name="connsiteY3610" fmla="*/ 2604702 h 6246035"/>
                <a:gd name="connsiteX3611" fmla="*/ 6948754 w 11683878"/>
                <a:gd name="connsiteY3611" fmla="*/ 2631780 h 6246035"/>
                <a:gd name="connsiteX3612" fmla="*/ 6948806 w 11683878"/>
                <a:gd name="connsiteY3612" fmla="*/ 2631866 h 6246035"/>
                <a:gd name="connsiteX3613" fmla="*/ 1531249 w 11683878"/>
                <a:gd name="connsiteY3613" fmla="*/ 2603148 h 6246035"/>
                <a:gd name="connsiteX3614" fmla="*/ 1533266 w 11683878"/>
                <a:gd name="connsiteY3614" fmla="*/ 2610675 h 6246035"/>
                <a:gd name="connsiteX3615" fmla="*/ 1573652 w 11683878"/>
                <a:gd name="connsiteY3615" fmla="*/ 2616855 h 6246035"/>
                <a:gd name="connsiteX3616" fmla="*/ 1573652 w 11683878"/>
                <a:gd name="connsiteY3616" fmla="*/ 2616854 h 6246035"/>
                <a:gd name="connsiteX3617" fmla="*/ 1830749 w 11683878"/>
                <a:gd name="connsiteY3617" fmla="*/ 2598793 h 6246035"/>
                <a:gd name="connsiteX3618" fmla="*/ 1807038 w 11683878"/>
                <a:gd name="connsiteY3618" fmla="*/ 2615202 h 6246035"/>
                <a:gd name="connsiteX3619" fmla="*/ 1760326 w 11683878"/>
                <a:gd name="connsiteY3619" fmla="*/ 2688491 h 6246035"/>
                <a:gd name="connsiteX3620" fmla="*/ 1761173 w 11683878"/>
                <a:gd name="connsiteY3620" fmla="*/ 2689936 h 6246035"/>
                <a:gd name="connsiteX3621" fmla="*/ 1807038 w 11683878"/>
                <a:gd name="connsiteY3621" fmla="*/ 2615202 h 6246035"/>
                <a:gd name="connsiteX3622" fmla="*/ 1807038 w 11683878"/>
                <a:gd name="connsiteY3622" fmla="*/ 2615203 h 6246035"/>
                <a:gd name="connsiteX3623" fmla="*/ 1829232 w 11683878"/>
                <a:gd name="connsiteY3623" fmla="*/ 2608708 h 6246035"/>
                <a:gd name="connsiteX3624" fmla="*/ 6999059 w 11683878"/>
                <a:gd name="connsiteY3624" fmla="*/ 2593467 h 6246035"/>
                <a:gd name="connsiteX3625" fmla="*/ 6988885 w 11683878"/>
                <a:gd name="connsiteY3625" fmla="*/ 2596652 h 6246035"/>
                <a:gd name="connsiteX3626" fmla="*/ 6999121 w 11683878"/>
                <a:gd name="connsiteY3626" fmla="*/ 2593607 h 6246035"/>
                <a:gd name="connsiteX3627" fmla="*/ 9393686 w 11683878"/>
                <a:gd name="connsiteY3627" fmla="*/ 2587680 h 6246035"/>
                <a:gd name="connsiteX3628" fmla="*/ 9390345 w 11683878"/>
                <a:gd name="connsiteY3628" fmla="*/ 2588594 h 6246035"/>
                <a:gd name="connsiteX3629" fmla="*/ 9404492 w 11683878"/>
                <a:gd name="connsiteY3629" fmla="*/ 2629277 h 6246035"/>
                <a:gd name="connsiteX3630" fmla="*/ 9404597 w 11683878"/>
                <a:gd name="connsiteY3630" fmla="*/ 2629102 h 6246035"/>
                <a:gd name="connsiteX3631" fmla="*/ 1264649 w 11683878"/>
                <a:gd name="connsiteY3631" fmla="*/ 2580414 h 6246035"/>
                <a:gd name="connsiteX3632" fmla="*/ 1224133 w 11683878"/>
                <a:gd name="connsiteY3632" fmla="*/ 2652506 h 6246035"/>
                <a:gd name="connsiteX3633" fmla="*/ 1225433 w 11683878"/>
                <a:gd name="connsiteY3633" fmla="*/ 2655626 h 6246035"/>
                <a:gd name="connsiteX3634" fmla="*/ 2193267 w 11683878"/>
                <a:gd name="connsiteY3634" fmla="*/ 2573744 h 6246035"/>
                <a:gd name="connsiteX3635" fmla="*/ 2185100 w 11683878"/>
                <a:gd name="connsiteY3635" fmla="*/ 2602361 h 6246035"/>
                <a:gd name="connsiteX3636" fmla="*/ 2194226 w 11683878"/>
                <a:gd name="connsiteY3636" fmla="*/ 2575766 h 6246035"/>
                <a:gd name="connsiteX3637" fmla="*/ 2195522 w 11683878"/>
                <a:gd name="connsiteY3637" fmla="*/ 2575902 h 6246035"/>
                <a:gd name="connsiteX3638" fmla="*/ 1821341 w 11683878"/>
                <a:gd name="connsiteY3638" fmla="*/ 2573018 h 6246035"/>
                <a:gd name="connsiteX3639" fmla="*/ 1821335 w 11683878"/>
                <a:gd name="connsiteY3639" fmla="*/ 2573038 h 6246035"/>
                <a:gd name="connsiteX3640" fmla="*/ 1821355 w 11683878"/>
                <a:gd name="connsiteY3640" fmla="*/ 2573064 h 6246035"/>
                <a:gd name="connsiteX3641" fmla="*/ 1821337 w 11683878"/>
                <a:gd name="connsiteY3641" fmla="*/ 2573039 h 6246035"/>
                <a:gd name="connsiteX3642" fmla="*/ 9456740 w 11683878"/>
                <a:gd name="connsiteY3642" fmla="*/ 2570419 h 6246035"/>
                <a:gd name="connsiteX3643" fmla="*/ 9455409 w 11683878"/>
                <a:gd name="connsiteY3643" fmla="*/ 2570784 h 6246035"/>
                <a:gd name="connsiteX3644" fmla="*/ 9456734 w 11683878"/>
                <a:gd name="connsiteY3644" fmla="*/ 2570481 h 6246035"/>
                <a:gd name="connsiteX3645" fmla="*/ 1847137 w 11683878"/>
                <a:gd name="connsiteY3645" fmla="*/ 2568943 h 6246035"/>
                <a:gd name="connsiteX3646" fmla="*/ 1837729 w 11683878"/>
                <a:gd name="connsiteY3646" fmla="*/ 2571412 h 6246035"/>
                <a:gd name="connsiteX3647" fmla="*/ 1837155 w 11683878"/>
                <a:gd name="connsiteY3647" fmla="*/ 2574271 h 6246035"/>
                <a:gd name="connsiteX3648" fmla="*/ 1253040 w 11683878"/>
                <a:gd name="connsiteY3648" fmla="*/ 2568511 h 6246035"/>
                <a:gd name="connsiteX3649" fmla="*/ 1264656 w 11683878"/>
                <a:gd name="connsiteY3649" fmla="*/ 2580401 h 6246035"/>
                <a:gd name="connsiteX3650" fmla="*/ 1264656 w 11683878"/>
                <a:gd name="connsiteY3650" fmla="*/ 2580400 h 6246035"/>
                <a:gd name="connsiteX3651" fmla="*/ 4434085 w 11683878"/>
                <a:gd name="connsiteY3651" fmla="*/ 2566960 h 6246035"/>
                <a:gd name="connsiteX3652" fmla="*/ 4436476 w 11683878"/>
                <a:gd name="connsiteY3652" fmla="*/ 2598979 h 6246035"/>
                <a:gd name="connsiteX3653" fmla="*/ 4437403 w 11683878"/>
                <a:gd name="connsiteY3653" fmla="*/ 2598746 h 6246035"/>
                <a:gd name="connsiteX3654" fmla="*/ 4434282 w 11683878"/>
                <a:gd name="connsiteY3654" fmla="*/ 2567009 h 6246035"/>
                <a:gd name="connsiteX3655" fmla="*/ 1520378 w 11683878"/>
                <a:gd name="connsiteY3655" fmla="*/ 2562569 h 6246035"/>
                <a:gd name="connsiteX3656" fmla="*/ 1520679 w 11683878"/>
                <a:gd name="connsiteY3656" fmla="*/ 2563694 h 6246035"/>
                <a:gd name="connsiteX3657" fmla="*/ 1520512 w 11683878"/>
                <a:gd name="connsiteY3657" fmla="*/ 2562657 h 6246035"/>
                <a:gd name="connsiteX3658" fmla="*/ 2329002 w 11683878"/>
                <a:gd name="connsiteY3658" fmla="*/ 2558386 h 6246035"/>
                <a:gd name="connsiteX3659" fmla="*/ 2335056 w 11683878"/>
                <a:gd name="connsiteY3659" fmla="*/ 2574934 h 6246035"/>
                <a:gd name="connsiteX3660" fmla="*/ 2335057 w 11683878"/>
                <a:gd name="connsiteY3660" fmla="*/ 2574933 h 6246035"/>
                <a:gd name="connsiteX3661" fmla="*/ 2329005 w 11683878"/>
                <a:gd name="connsiteY3661" fmla="*/ 2558386 h 6246035"/>
                <a:gd name="connsiteX3662" fmla="*/ 1398616 w 11683878"/>
                <a:gd name="connsiteY3662" fmla="*/ 2552765 h 6246035"/>
                <a:gd name="connsiteX3663" fmla="*/ 1398238 w 11683878"/>
                <a:gd name="connsiteY3663" fmla="*/ 2552769 h 6246035"/>
                <a:gd name="connsiteX3664" fmla="*/ 1398364 w 11683878"/>
                <a:gd name="connsiteY3664" fmla="*/ 2552915 h 6246035"/>
                <a:gd name="connsiteX3665" fmla="*/ 2252328 w 11683878"/>
                <a:gd name="connsiteY3665" fmla="*/ 2551976 h 6246035"/>
                <a:gd name="connsiteX3666" fmla="*/ 2252032 w 11683878"/>
                <a:gd name="connsiteY3666" fmla="*/ 2552278 h 6246035"/>
                <a:gd name="connsiteX3667" fmla="*/ 2317984 w 11683878"/>
                <a:gd name="connsiteY3667" fmla="*/ 2585761 h 6246035"/>
                <a:gd name="connsiteX3668" fmla="*/ 5273095 w 11683878"/>
                <a:gd name="connsiteY3668" fmla="*/ 2540380 h 6246035"/>
                <a:gd name="connsiteX3669" fmla="*/ 5272943 w 11683878"/>
                <a:gd name="connsiteY3669" fmla="*/ 2540455 h 6246035"/>
                <a:gd name="connsiteX3670" fmla="*/ 5273093 w 11683878"/>
                <a:gd name="connsiteY3670" fmla="*/ 2570632 h 6246035"/>
                <a:gd name="connsiteX3671" fmla="*/ 5294303 w 11683878"/>
                <a:gd name="connsiteY3671" fmla="*/ 2582900 h 6246035"/>
                <a:gd name="connsiteX3672" fmla="*/ 5299792 w 11683878"/>
                <a:gd name="connsiteY3672" fmla="*/ 2635682 h 6246035"/>
                <a:gd name="connsiteX3673" fmla="*/ 5300094 w 11683878"/>
                <a:gd name="connsiteY3673" fmla="*/ 2635798 h 6246035"/>
                <a:gd name="connsiteX3674" fmla="*/ 5294307 w 11683878"/>
                <a:gd name="connsiteY3674" fmla="*/ 2582899 h 6246035"/>
                <a:gd name="connsiteX3675" fmla="*/ 5273095 w 11683878"/>
                <a:gd name="connsiteY3675" fmla="*/ 2570631 h 6246035"/>
                <a:gd name="connsiteX3676" fmla="*/ 4471828 w 11683878"/>
                <a:gd name="connsiteY3676" fmla="*/ 2538857 h 6246035"/>
                <a:gd name="connsiteX3677" fmla="*/ 4472539 w 11683878"/>
                <a:gd name="connsiteY3677" fmla="*/ 2539299 h 6246035"/>
                <a:gd name="connsiteX3678" fmla="*/ 4460530 w 11683878"/>
                <a:gd name="connsiteY3678" fmla="*/ 2573387 h 6246035"/>
                <a:gd name="connsiteX3679" fmla="*/ 4460618 w 11683878"/>
                <a:gd name="connsiteY3679" fmla="*/ 2573409 h 6246035"/>
                <a:gd name="connsiteX3680" fmla="*/ 4472574 w 11683878"/>
                <a:gd name="connsiteY3680" fmla="*/ 2539236 h 6246035"/>
                <a:gd name="connsiteX3681" fmla="*/ 1884965 w 11683878"/>
                <a:gd name="connsiteY3681" fmla="*/ 2538070 h 6246035"/>
                <a:gd name="connsiteX3682" fmla="*/ 1874336 w 11683878"/>
                <a:gd name="connsiteY3682" fmla="*/ 2554426 h 6246035"/>
                <a:gd name="connsiteX3683" fmla="*/ 1899230 w 11683878"/>
                <a:gd name="connsiteY3683" fmla="*/ 2541139 h 6246035"/>
                <a:gd name="connsiteX3684" fmla="*/ 1425675 w 11683878"/>
                <a:gd name="connsiteY3684" fmla="*/ 2537725 h 6246035"/>
                <a:gd name="connsiteX3685" fmla="*/ 1447681 w 11683878"/>
                <a:gd name="connsiteY3685" fmla="*/ 2548488 h 6246035"/>
                <a:gd name="connsiteX3686" fmla="*/ 1473367 w 11683878"/>
                <a:gd name="connsiteY3686" fmla="*/ 2541483 h 6246035"/>
                <a:gd name="connsiteX3687" fmla="*/ 2973581 w 11683878"/>
                <a:gd name="connsiteY3687" fmla="*/ 2536411 h 6246035"/>
                <a:gd name="connsiteX3688" fmla="*/ 2973581 w 11683878"/>
                <a:gd name="connsiteY3688" fmla="*/ 2536412 h 6246035"/>
                <a:gd name="connsiteX3689" fmla="*/ 3006915 w 11683878"/>
                <a:gd name="connsiteY3689" fmla="*/ 2571502 h 6246035"/>
                <a:gd name="connsiteX3690" fmla="*/ 3006915 w 11683878"/>
                <a:gd name="connsiteY3690" fmla="*/ 2571502 h 6246035"/>
                <a:gd name="connsiteX3691" fmla="*/ 2661251 w 11683878"/>
                <a:gd name="connsiteY3691" fmla="*/ 2536321 h 6246035"/>
                <a:gd name="connsiteX3692" fmla="*/ 2689648 w 11683878"/>
                <a:gd name="connsiteY3692" fmla="*/ 2573800 h 6246035"/>
                <a:gd name="connsiteX3693" fmla="*/ 2689648 w 11683878"/>
                <a:gd name="connsiteY3693" fmla="*/ 2573800 h 6246035"/>
                <a:gd name="connsiteX3694" fmla="*/ 2689649 w 11683878"/>
                <a:gd name="connsiteY3694" fmla="*/ 2573802 h 6246035"/>
                <a:gd name="connsiteX3695" fmla="*/ 2727375 w 11683878"/>
                <a:gd name="connsiteY3695" fmla="*/ 2545124 h 6246035"/>
                <a:gd name="connsiteX3696" fmla="*/ 2727373 w 11683878"/>
                <a:gd name="connsiteY3696" fmla="*/ 2545122 h 6246035"/>
                <a:gd name="connsiteX3697" fmla="*/ 2689648 w 11683878"/>
                <a:gd name="connsiteY3697" fmla="*/ 2573800 h 6246035"/>
                <a:gd name="connsiteX3698" fmla="*/ 9460034 w 11683878"/>
                <a:gd name="connsiteY3698" fmla="*/ 2535976 h 6246035"/>
                <a:gd name="connsiteX3699" fmla="*/ 9460016 w 11683878"/>
                <a:gd name="connsiteY3699" fmla="*/ 2536172 h 6246035"/>
                <a:gd name="connsiteX3700" fmla="*/ 9477487 w 11683878"/>
                <a:gd name="connsiteY3700" fmla="*/ 2554635 h 6246035"/>
                <a:gd name="connsiteX3701" fmla="*/ 3086235 w 11683878"/>
                <a:gd name="connsiteY3701" fmla="*/ 2528788 h 6246035"/>
                <a:gd name="connsiteX3702" fmla="*/ 3086233 w 11683878"/>
                <a:gd name="connsiteY3702" fmla="*/ 2528789 h 6246035"/>
                <a:gd name="connsiteX3703" fmla="*/ 3125931 w 11683878"/>
                <a:gd name="connsiteY3703" fmla="*/ 2581188 h 6246035"/>
                <a:gd name="connsiteX3704" fmla="*/ 2977705 w 11683878"/>
                <a:gd name="connsiteY3704" fmla="*/ 2683198 h 6246035"/>
                <a:gd name="connsiteX3705" fmla="*/ 2998666 w 11683878"/>
                <a:gd name="connsiteY3705" fmla="*/ 2710908 h 6246035"/>
                <a:gd name="connsiteX3706" fmla="*/ 2941897 w 11683878"/>
                <a:gd name="connsiteY3706" fmla="*/ 2754918 h 6246035"/>
                <a:gd name="connsiteX3707" fmla="*/ 2998667 w 11683878"/>
                <a:gd name="connsiteY3707" fmla="*/ 2710908 h 6246035"/>
                <a:gd name="connsiteX3708" fmla="*/ 2977706 w 11683878"/>
                <a:gd name="connsiteY3708" fmla="*/ 2683198 h 6246035"/>
                <a:gd name="connsiteX3709" fmla="*/ 3125933 w 11683878"/>
                <a:gd name="connsiteY3709" fmla="*/ 2581189 h 6246035"/>
                <a:gd name="connsiteX3710" fmla="*/ 3053203 w 11683878"/>
                <a:gd name="connsiteY3710" fmla="*/ 2523725 h 6246035"/>
                <a:gd name="connsiteX3711" fmla="*/ 3053202 w 11683878"/>
                <a:gd name="connsiteY3711" fmla="*/ 2523727 h 6246035"/>
                <a:gd name="connsiteX3712" fmla="*/ 3067450 w 11683878"/>
                <a:gd name="connsiteY3712" fmla="*/ 2543248 h 6246035"/>
                <a:gd name="connsiteX3713" fmla="*/ 3067452 w 11683878"/>
                <a:gd name="connsiteY3713" fmla="*/ 2543248 h 6246035"/>
                <a:gd name="connsiteX3714" fmla="*/ 4257229 w 11683878"/>
                <a:gd name="connsiteY3714" fmla="*/ 2516772 h 6246035"/>
                <a:gd name="connsiteX3715" fmla="*/ 4257224 w 11683878"/>
                <a:gd name="connsiteY3715" fmla="*/ 2516776 h 6246035"/>
                <a:gd name="connsiteX3716" fmla="*/ 4257204 w 11683878"/>
                <a:gd name="connsiteY3716" fmla="*/ 2516778 h 6246035"/>
                <a:gd name="connsiteX3717" fmla="*/ 4257224 w 11683878"/>
                <a:gd name="connsiteY3717" fmla="*/ 2516777 h 6246035"/>
                <a:gd name="connsiteX3718" fmla="*/ 1229017 w 11683878"/>
                <a:gd name="connsiteY3718" fmla="*/ 2514599 h 6246035"/>
                <a:gd name="connsiteX3719" fmla="*/ 1246567 w 11683878"/>
                <a:gd name="connsiteY3719" fmla="*/ 2523503 h 6246035"/>
                <a:gd name="connsiteX3720" fmla="*/ 1244353 w 11683878"/>
                <a:gd name="connsiteY3720" fmla="*/ 2517358 h 6246035"/>
                <a:gd name="connsiteX3721" fmla="*/ 1239597 w 11683878"/>
                <a:gd name="connsiteY3721" fmla="*/ 2519666 h 6246035"/>
                <a:gd name="connsiteX3722" fmla="*/ 1770422 w 11683878"/>
                <a:gd name="connsiteY3722" fmla="*/ 2512833 h 6246035"/>
                <a:gd name="connsiteX3723" fmla="*/ 1741828 w 11683878"/>
                <a:gd name="connsiteY3723" fmla="*/ 2534231 h 6246035"/>
                <a:gd name="connsiteX3724" fmla="*/ 1741850 w 11683878"/>
                <a:gd name="connsiteY3724" fmla="*/ 2534336 h 6246035"/>
                <a:gd name="connsiteX3725" fmla="*/ 1770426 w 11683878"/>
                <a:gd name="connsiteY3725" fmla="*/ 2512830 h 6246035"/>
                <a:gd name="connsiteX3726" fmla="*/ 1770425 w 11683878"/>
                <a:gd name="connsiteY3726" fmla="*/ 2512831 h 6246035"/>
                <a:gd name="connsiteX3727" fmla="*/ 1794822 w 11683878"/>
                <a:gd name="connsiteY3727" fmla="*/ 2538073 h 6246035"/>
                <a:gd name="connsiteX3728" fmla="*/ 1794822 w 11683878"/>
                <a:gd name="connsiteY3728" fmla="*/ 2538073 h 6246035"/>
                <a:gd name="connsiteX3729" fmla="*/ 1828148 w 11683878"/>
                <a:gd name="connsiteY3729" fmla="*/ 2537524 h 6246035"/>
                <a:gd name="connsiteX3730" fmla="*/ 1828663 w 11683878"/>
                <a:gd name="connsiteY3730" fmla="*/ 2534838 h 6246035"/>
                <a:gd name="connsiteX3731" fmla="*/ 1794822 w 11683878"/>
                <a:gd name="connsiteY3731" fmla="*/ 2538073 h 6246035"/>
                <a:gd name="connsiteX3732" fmla="*/ 4435538 w 11683878"/>
                <a:gd name="connsiteY3732" fmla="*/ 2512699 h 6246035"/>
                <a:gd name="connsiteX3733" fmla="*/ 4433898 w 11683878"/>
                <a:gd name="connsiteY3733" fmla="*/ 2515278 h 6246035"/>
                <a:gd name="connsiteX3734" fmla="*/ 4435220 w 11683878"/>
                <a:gd name="connsiteY3734" fmla="*/ 2516100 h 6246035"/>
                <a:gd name="connsiteX3735" fmla="*/ 4129944 w 11683878"/>
                <a:gd name="connsiteY3735" fmla="*/ 2510647 h 6246035"/>
                <a:gd name="connsiteX3736" fmla="*/ 4147191 w 11683878"/>
                <a:gd name="connsiteY3736" fmla="*/ 2522739 h 6246035"/>
                <a:gd name="connsiteX3737" fmla="*/ 4151491 w 11683878"/>
                <a:gd name="connsiteY3737" fmla="*/ 2522506 h 6246035"/>
                <a:gd name="connsiteX3738" fmla="*/ 1218749 w 11683878"/>
                <a:gd name="connsiteY3738" fmla="*/ 2509682 h 6246035"/>
                <a:gd name="connsiteX3739" fmla="*/ 1218248 w 11683878"/>
                <a:gd name="connsiteY3739" fmla="*/ 2509946 h 6246035"/>
                <a:gd name="connsiteX3740" fmla="*/ 1219016 w 11683878"/>
                <a:gd name="connsiteY3740" fmla="*/ 2509810 h 6246035"/>
                <a:gd name="connsiteX3741" fmla="*/ 5309376 w 11683878"/>
                <a:gd name="connsiteY3741" fmla="*/ 2507705 h 6246035"/>
                <a:gd name="connsiteX3742" fmla="*/ 5306276 w 11683878"/>
                <a:gd name="connsiteY3742" fmla="*/ 2523969 h 6246035"/>
                <a:gd name="connsiteX3743" fmla="*/ 5306602 w 11683878"/>
                <a:gd name="connsiteY3743" fmla="*/ 2523809 h 6246035"/>
                <a:gd name="connsiteX3744" fmla="*/ 5309396 w 11683878"/>
                <a:gd name="connsiteY3744" fmla="*/ 2507722 h 6246035"/>
                <a:gd name="connsiteX3745" fmla="*/ 5334480 w 11683878"/>
                <a:gd name="connsiteY3745" fmla="*/ 2504729 h 6246035"/>
                <a:gd name="connsiteX3746" fmla="*/ 5319561 w 11683878"/>
                <a:gd name="connsiteY3746" fmla="*/ 2515894 h 6246035"/>
                <a:gd name="connsiteX3747" fmla="*/ 5319607 w 11683878"/>
                <a:gd name="connsiteY3747" fmla="*/ 2515931 h 6246035"/>
                <a:gd name="connsiteX3748" fmla="*/ 1891139 w 11683878"/>
                <a:gd name="connsiteY3748" fmla="*/ 2502815 h 6246035"/>
                <a:gd name="connsiteX3749" fmla="*/ 1902659 w 11683878"/>
                <a:gd name="connsiteY3749" fmla="*/ 2539309 h 6246035"/>
                <a:gd name="connsiteX3750" fmla="*/ 1908170 w 11683878"/>
                <a:gd name="connsiteY3750" fmla="*/ 2536368 h 6246035"/>
                <a:gd name="connsiteX3751" fmla="*/ 1546926 w 11683878"/>
                <a:gd name="connsiteY3751" fmla="*/ 2496802 h 6246035"/>
                <a:gd name="connsiteX3752" fmla="*/ 1515041 w 11683878"/>
                <a:gd name="connsiteY3752" fmla="*/ 2521528 h 6246035"/>
                <a:gd name="connsiteX3753" fmla="*/ 1538814 w 11683878"/>
                <a:gd name="connsiteY3753" fmla="*/ 2509712 h 6246035"/>
                <a:gd name="connsiteX3754" fmla="*/ 4331146 w 11683878"/>
                <a:gd name="connsiteY3754" fmla="*/ 2496157 h 6246035"/>
                <a:gd name="connsiteX3755" fmla="*/ 4331326 w 11683878"/>
                <a:gd name="connsiteY3755" fmla="*/ 2496310 h 6246035"/>
                <a:gd name="connsiteX3756" fmla="*/ 4331401 w 11683878"/>
                <a:gd name="connsiteY3756" fmla="*/ 2496263 h 6246035"/>
                <a:gd name="connsiteX3757" fmla="*/ 9458705 w 11683878"/>
                <a:gd name="connsiteY3757" fmla="*/ 2489995 h 6246035"/>
                <a:gd name="connsiteX3758" fmla="*/ 9458650 w 11683878"/>
                <a:gd name="connsiteY3758" fmla="*/ 2490449 h 6246035"/>
                <a:gd name="connsiteX3759" fmla="*/ 9491446 w 11683878"/>
                <a:gd name="connsiteY3759" fmla="*/ 2501716 h 6246035"/>
                <a:gd name="connsiteX3760" fmla="*/ 9503845 w 11683878"/>
                <a:gd name="connsiteY3760" fmla="*/ 2548931 h 6246035"/>
                <a:gd name="connsiteX3761" fmla="*/ 9477827 w 11683878"/>
                <a:gd name="connsiteY3761" fmla="*/ 2554994 h 6246035"/>
                <a:gd name="connsiteX3762" fmla="*/ 9477828 w 11683878"/>
                <a:gd name="connsiteY3762" fmla="*/ 2554995 h 6246035"/>
                <a:gd name="connsiteX3763" fmla="*/ 9503849 w 11683878"/>
                <a:gd name="connsiteY3763" fmla="*/ 2548931 h 6246035"/>
                <a:gd name="connsiteX3764" fmla="*/ 9491449 w 11683878"/>
                <a:gd name="connsiteY3764" fmla="*/ 2501717 h 6246035"/>
                <a:gd name="connsiteX3765" fmla="*/ 2638716 w 11683878"/>
                <a:gd name="connsiteY3765" fmla="*/ 2486067 h 6246035"/>
                <a:gd name="connsiteX3766" fmla="*/ 2583339 w 11683878"/>
                <a:gd name="connsiteY3766" fmla="*/ 2494014 h 6246035"/>
                <a:gd name="connsiteX3767" fmla="*/ 2583340 w 11683878"/>
                <a:gd name="connsiteY3767" fmla="*/ 2494016 h 6246035"/>
                <a:gd name="connsiteX3768" fmla="*/ 2638716 w 11683878"/>
                <a:gd name="connsiteY3768" fmla="*/ 2486069 h 6246035"/>
                <a:gd name="connsiteX3769" fmla="*/ 2651080 w 11683878"/>
                <a:gd name="connsiteY3769" fmla="*/ 2497866 h 6246035"/>
                <a:gd name="connsiteX3770" fmla="*/ 1310389 w 11683878"/>
                <a:gd name="connsiteY3770" fmla="*/ 2485318 h 6246035"/>
                <a:gd name="connsiteX3771" fmla="*/ 1260381 w 11683878"/>
                <a:gd name="connsiteY3771" fmla="*/ 2509582 h 6246035"/>
                <a:gd name="connsiteX3772" fmla="*/ 1285547 w 11683878"/>
                <a:gd name="connsiteY3772" fmla="*/ 2507493 h 6246035"/>
                <a:gd name="connsiteX3773" fmla="*/ 1310392 w 11683878"/>
                <a:gd name="connsiteY3773" fmla="*/ 2485317 h 6246035"/>
                <a:gd name="connsiteX3774" fmla="*/ 1336055 w 11683878"/>
                <a:gd name="connsiteY3774" fmla="*/ 2500442 h 6246035"/>
                <a:gd name="connsiteX3775" fmla="*/ 1352412 w 11683878"/>
                <a:gd name="connsiteY3775" fmla="*/ 2542415 h 6246035"/>
                <a:gd name="connsiteX3776" fmla="*/ 1352412 w 11683878"/>
                <a:gd name="connsiteY3776" fmla="*/ 2542414 h 6246035"/>
                <a:gd name="connsiteX3777" fmla="*/ 1336056 w 11683878"/>
                <a:gd name="connsiteY3777" fmla="*/ 2500441 h 6246035"/>
                <a:gd name="connsiteX3778" fmla="*/ 4297300 w 11683878"/>
                <a:gd name="connsiteY3778" fmla="*/ 2482115 h 6246035"/>
                <a:gd name="connsiteX3779" fmla="*/ 4296000 w 11683878"/>
                <a:gd name="connsiteY3779" fmla="*/ 2483239 h 6246035"/>
                <a:gd name="connsiteX3780" fmla="*/ 4298609 w 11683878"/>
                <a:gd name="connsiteY3780" fmla="*/ 2482658 h 6246035"/>
                <a:gd name="connsiteX3781" fmla="*/ 5368991 w 11683878"/>
                <a:gd name="connsiteY3781" fmla="*/ 2478901 h 6246035"/>
                <a:gd name="connsiteX3782" fmla="*/ 5368833 w 11683878"/>
                <a:gd name="connsiteY3782" fmla="*/ 2479019 h 6246035"/>
                <a:gd name="connsiteX3783" fmla="*/ 5371897 w 11683878"/>
                <a:gd name="connsiteY3783" fmla="*/ 2479846 h 6246035"/>
                <a:gd name="connsiteX3784" fmla="*/ 5393302 w 11683878"/>
                <a:gd name="connsiteY3784" fmla="*/ 2477569 h 6246035"/>
                <a:gd name="connsiteX3785" fmla="*/ 5393208 w 11683878"/>
                <a:gd name="connsiteY3785" fmla="*/ 2477684 h 6246035"/>
                <a:gd name="connsiteX3786" fmla="*/ 5401589 w 11683878"/>
                <a:gd name="connsiteY3786" fmla="*/ 2487860 h 6246035"/>
                <a:gd name="connsiteX3787" fmla="*/ 5404162 w 11683878"/>
                <a:gd name="connsiteY3787" fmla="*/ 2488554 h 6246035"/>
                <a:gd name="connsiteX3788" fmla="*/ 2568993 w 11683878"/>
                <a:gd name="connsiteY3788" fmla="*/ 2468680 h 6246035"/>
                <a:gd name="connsiteX3789" fmla="*/ 2551423 w 11683878"/>
                <a:gd name="connsiteY3789" fmla="*/ 2468719 h 6246035"/>
                <a:gd name="connsiteX3790" fmla="*/ 2551423 w 11683878"/>
                <a:gd name="connsiteY3790" fmla="*/ 2468721 h 6246035"/>
                <a:gd name="connsiteX3791" fmla="*/ 2568995 w 11683878"/>
                <a:gd name="connsiteY3791" fmla="*/ 2468682 h 6246035"/>
                <a:gd name="connsiteX3792" fmla="*/ 2162382 w 11683878"/>
                <a:gd name="connsiteY3792" fmla="*/ 2461457 h 6246035"/>
                <a:gd name="connsiteX3793" fmla="*/ 2152122 w 11683878"/>
                <a:gd name="connsiteY3793" fmla="*/ 2534355 h 6246035"/>
                <a:gd name="connsiteX3794" fmla="*/ 2152122 w 11683878"/>
                <a:gd name="connsiteY3794" fmla="*/ 2534356 h 6246035"/>
                <a:gd name="connsiteX3795" fmla="*/ 2162383 w 11683878"/>
                <a:gd name="connsiteY3795" fmla="*/ 2461458 h 6246035"/>
                <a:gd name="connsiteX3796" fmla="*/ 4361857 w 11683878"/>
                <a:gd name="connsiteY3796" fmla="*/ 2457829 h 6246035"/>
                <a:gd name="connsiteX3797" fmla="*/ 4361694 w 11683878"/>
                <a:gd name="connsiteY3797" fmla="*/ 2457833 h 6246035"/>
                <a:gd name="connsiteX3798" fmla="*/ 4358388 w 11683878"/>
                <a:gd name="connsiteY3798" fmla="*/ 2479499 h 6246035"/>
                <a:gd name="connsiteX3799" fmla="*/ 4358396 w 11683878"/>
                <a:gd name="connsiteY3799" fmla="*/ 2479493 h 6246035"/>
                <a:gd name="connsiteX3800" fmla="*/ 1568785 w 11683878"/>
                <a:gd name="connsiteY3800" fmla="*/ 2456159 h 6246035"/>
                <a:gd name="connsiteX3801" fmla="*/ 1565377 w 11683878"/>
                <a:gd name="connsiteY3801" fmla="*/ 2467440 h 6246035"/>
                <a:gd name="connsiteX3802" fmla="*/ 1571054 w 11683878"/>
                <a:gd name="connsiteY3802" fmla="*/ 2458406 h 6246035"/>
                <a:gd name="connsiteX3803" fmla="*/ 1571055 w 11683878"/>
                <a:gd name="connsiteY3803" fmla="*/ 2458406 h 6246035"/>
                <a:gd name="connsiteX3804" fmla="*/ 4476405 w 11683878"/>
                <a:gd name="connsiteY3804" fmla="*/ 2449987 h 6246035"/>
                <a:gd name="connsiteX3805" fmla="*/ 4474205 w 11683878"/>
                <a:gd name="connsiteY3805" fmla="*/ 2451317 h 6246035"/>
                <a:gd name="connsiteX3806" fmla="*/ 4474486 w 11683878"/>
                <a:gd name="connsiteY3806" fmla="*/ 2451445 h 6246035"/>
                <a:gd name="connsiteX3807" fmla="*/ 4474351 w 11683878"/>
                <a:gd name="connsiteY3807" fmla="*/ 2451659 h 6246035"/>
                <a:gd name="connsiteX3808" fmla="*/ 7105532 w 11683878"/>
                <a:gd name="connsiteY3808" fmla="*/ 2442282 h 6246035"/>
                <a:gd name="connsiteX3809" fmla="*/ 7103167 w 11683878"/>
                <a:gd name="connsiteY3809" fmla="*/ 2466683 h 6246035"/>
                <a:gd name="connsiteX3810" fmla="*/ 7103255 w 11683878"/>
                <a:gd name="connsiteY3810" fmla="*/ 2466614 h 6246035"/>
                <a:gd name="connsiteX3811" fmla="*/ 7105898 w 11683878"/>
                <a:gd name="connsiteY3811" fmla="*/ 2442425 h 6246035"/>
                <a:gd name="connsiteX3812" fmla="*/ 9529562 w 11683878"/>
                <a:gd name="connsiteY3812" fmla="*/ 2438032 h 6246035"/>
                <a:gd name="connsiteX3813" fmla="*/ 9529549 w 11683878"/>
                <a:gd name="connsiteY3813" fmla="*/ 2438079 h 6246035"/>
                <a:gd name="connsiteX3814" fmla="*/ 9494110 w 11683878"/>
                <a:gd name="connsiteY3814" fmla="*/ 2462743 h 6246035"/>
                <a:gd name="connsiteX3815" fmla="*/ 9461831 w 11683878"/>
                <a:gd name="connsiteY3815" fmla="*/ 2464010 h 6246035"/>
                <a:gd name="connsiteX3816" fmla="*/ 9461809 w 11683878"/>
                <a:gd name="connsiteY3816" fmla="*/ 2464190 h 6246035"/>
                <a:gd name="connsiteX3817" fmla="*/ 9494114 w 11683878"/>
                <a:gd name="connsiteY3817" fmla="*/ 2462744 h 6246035"/>
                <a:gd name="connsiteX3818" fmla="*/ 9529553 w 11683878"/>
                <a:gd name="connsiteY3818" fmla="*/ 2438080 h 6246035"/>
                <a:gd name="connsiteX3819" fmla="*/ 4423535 w 11683878"/>
                <a:gd name="connsiteY3819" fmla="*/ 2434420 h 6246035"/>
                <a:gd name="connsiteX3820" fmla="*/ 4410699 w 11683878"/>
                <a:gd name="connsiteY3820" fmla="*/ 2456617 h 6246035"/>
                <a:gd name="connsiteX3821" fmla="*/ 4411026 w 11683878"/>
                <a:gd name="connsiteY3821" fmla="*/ 2456610 h 6246035"/>
                <a:gd name="connsiteX3822" fmla="*/ 4428887 w 11683878"/>
                <a:gd name="connsiteY3822" fmla="*/ 2436252 h 6246035"/>
                <a:gd name="connsiteX3823" fmla="*/ 1648262 w 11683878"/>
                <a:gd name="connsiteY3823" fmla="*/ 2431028 h 6246035"/>
                <a:gd name="connsiteX3824" fmla="*/ 1648261 w 11683878"/>
                <a:gd name="connsiteY3824" fmla="*/ 2431029 h 6246035"/>
                <a:gd name="connsiteX3825" fmla="*/ 1667238 w 11683878"/>
                <a:gd name="connsiteY3825" fmla="*/ 2487338 h 6246035"/>
                <a:gd name="connsiteX3826" fmla="*/ 1737125 w 11683878"/>
                <a:gd name="connsiteY3826" fmla="*/ 2510503 h 6246035"/>
                <a:gd name="connsiteX3827" fmla="*/ 1737227 w 11683878"/>
                <a:gd name="connsiteY3827" fmla="*/ 2511019 h 6246035"/>
                <a:gd name="connsiteX3828" fmla="*/ 1737126 w 11683878"/>
                <a:gd name="connsiteY3828" fmla="*/ 2510503 h 6246035"/>
                <a:gd name="connsiteX3829" fmla="*/ 1667239 w 11683878"/>
                <a:gd name="connsiteY3829" fmla="*/ 2487338 h 6246035"/>
                <a:gd name="connsiteX3830" fmla="*/ 2523546 w 11683878"/>
                <a:gd name="connsiteY3830" fmla="*/ 2430162 h 6246035"/>
                <a:gd name="connsiteX3831" fmla="*/ 2523546 w 11683878"/>
                <a:gd name="connsiteY3831" fmla="*/ 2430164 h 6246035"/>
                <a:gd name="connsiteX3832" fmla="*/ 2551815 w 11683878"/>
                <a:gd name="connsiteY3832" fmla="*/ 2433173 h 6246035"/>
                <a:gd name="connsiteX3833" fmla="*/ 2551815 w 11683878"/>
                <a:gd name="connsiteY3833" fmla="*/ 2433171 h 6246035"/>
                <a:gd name="connsiteX3834" fmla="*/ 1537116 w 11683878"/>
                <a:gd name="connsiteY3834" fmla="*/ 2424799 h 6246035"/>
                <a:gd name="connsiteX3835" fmla="*/ 1537118 w 11683878"/>
                <a:gd name="connsiteY3835" fmla="*/ 2424806 h 6246035"/>
                <a:gd name="connsiteX3836" fmla="*/ 1537122 w 11683878"/>
                <a:gd name="connsiteY3836" fmla="*/ 2424809 h 6246035"/>
                <a:gd name="connsiteX3837" fmla="*/ 1537118 w 11683878"/>
                <a:gd name="connsiteY3837" fmla="*/ 2424805 h 6246035"/>
                <a:gd name="connsiteX3838" fmla="*/ 1921108 w 11683878"/>
                <a:gd name="connsiteY3838" fmla="*/ 2420842 h 6246035"/>
                <a:gd name="connsiteX3839" fmla="*/ 1920211 w 11683878"/>
                <a:gd name="connsiteY3839" fmla="*/ 2429488 h 6246035"/>
                <a:gd name="connsiteX3840" fmla="*/ 1932712 w 11683878"/>
                <a:gd name="connsiteY3840" fmla="*/ 2428617 h 6246035"/>
                <a:gd name="connsiteX3841" fmla="*/ 1932712 w 11683878"/>
                <a:gd name="connsiteY3841" fmla="*/ 2428616 h 6246035"/>
                <a:gd name="connsiteX3842" fmla="*/ 4496684 w 11683878"/>
                <a:gd name="connsiteY3842" fmla="*/ 2411584 h 6246035"/>
                <a:gd name="connsiteX3843" fmla="*/ 4493695 w 11683878"/>
                <a:gd name="connsiteY3843" fmla="*/ 2435919 h 6246035"/>
                <a:gd name="connsiteX3844" fmla="*/ 4496144 w 11683878"/>
                <a:gd name="connsiteY3844" fmla="*/ 2433926 h 6246035"/>
                <a:gd name="connsiteX3845" fmla="*/ 9613523 w 11683878"/>
                <a:gd name="connsiteY3845" fmla="*/ 2408615 h 6246035"/>
                <a:gd name="connsiteX3846" fmla="*/ 9593643 w 11683878"/>
                <a:gd name="connsiteY3846" fmla="*/ 2412710 h 6246035"/>
                <a:gd name="connsiteX3847" fmla="*/ 9613590 w 11683878"/>
                <a:gd name="connsiteY3847" fmla="*/ 2408750 h 6246035"/>
                <a:gd name="connsiteX3848" fmla="*/ 9561867 w 11683878"/>
                <a:gd name="connsiteY3848" fmla="*/ 2391742 h 6246035"/>
                <a:gd name="connsiteX3849" fmla="*/ 9578216 w 11683878"/>
                <a:gd name="connsiteY3849" fmla="*/ 2415773 h 6246035"/>
                <a:gd name="connsiteX3850" fmla="*/ 9578484 w 11683878"/>
                <a:gd name="connsiteY3850" fmla="*/ 2415720 h 6246035"/>
                <a:gd name="connsiteX3851" fmla="*/ 9542617 w 11683878"/>
                <a:gd name="connsiteY3851" fmla="*/ 2390950 h 6246035"/>
                <a:gd name="connsiteX3852" fmla="*/ 9542218 w 11683878"/>
                <a:gd name="connsiteY3852" fmla="*/ 2392389 h 6246035"/>
                <a:gd name="connsiteX3853" fmla="*/ 9561644 w 11683878"/>
                <a:gd name="connsiteY3853" fmla="*/ 2391420 h 6246035"/>
                <a:gd name="connsiteX3854" fmla="*/ 11446630 w 11683878"/>
                <a:gd name="connsiteY3854" fmla="*/ 2387185 h 6246035"/>
                <a:gd name="connsiteX3855" fmla="*/ 11546450 w 11683878"/>
                <a:gd name="connsiteY3855" fmla="*/ 2403479 h 6246035"/>
                <a:gd name="connsiteX3856" fmla="*/ 11587908 w 11683878"/>
                <a:gd name="connsiteY3856" fmla="*/ 2438631 h 6246035"/>
                <a:gd name="connsiteX3857" fmla="*/ 11582685 w 11683878"/>
                <a:gd name="connsiteY3857" fmla="*/ 2465133 h 6246035"/>
                <a:gd name="connsiteX3858" fmla="*/ 11555761 w 11683878"/>
                <a:gd name="connsiteY3858" fmla="*/ 2479424 h 6246035"/>
                <a:gd name="connsiteX3859" fmla="*/ 11445031 w 11683878"/>
                <a:gd name="connsiteY3859" fmla="*/ 2492519 h 6246035"/>
                <a:gd name="connsiteX3860" fmla="*/ 11414350 w 11683878"/>
                <a:gd name="connsiteY3860" fmla="*/ 2481697 h 6246035"/>
                <a:gd name="connsiteX3861" fmla="*/ 11404895 w 11683878"/>
                <a:gd name="connsiteY3861" fmla="*/ 2424796 h 6246035"/>
                <a:gd name="connsiteX3862" fmla="*/ 2457213 w 11683878"/>
                <a:gd name="connsiteY3862" fmla="*/ 2386717 h 6246035"/>
                <a:gd name="connsiteX3863" fmla="*/ 2457102 w 11683878"/>
                <a:gd name="connsiteY3863" fmla="*/ 2386811 h 6246035"/>
                <a:gd name="connsiteX3864" fmla="*/ 2457102 w 11683878"/>
                <a:gd name="connsiteY3864" fmla="*/ 2386813 h 6246035"/>
                <a:gd name="connsiteX3865" fmla="*/ 2512772 w 11683878"/>
                <a:gd name="connsiteY3865" fmla="*/ 2386365 h 6246035"/>
                <a:gd name="connsiteX3866" fmla="*/ 2523543 w 11683878"/>
                <a:gd name="connsiteY3866" fmla="*/ 2430146 h 6246035"/>
                <a:gd name="connsiteX3867" fmla="*/ 2517431 w 11683878"/>
                <a:gd name="connsiteY3867" fmla="*/ 2389579 h 6246035"/>
                <a:gd name="connsiteX3868" fmla="*/ 1964382 w 11683878"/>
                <a:gd name="connsiteY3868" fmla="*/ 2385787 h 6246035"/>
                <a:gd name="connsiteX3869" fmla="*/ 1965035 w 11683878"/>
                <a:gd name="connsiteY3869" fmla="*/ 2424165 h 6246035"/>
                <a:gd name="connsiteX3870" fmla="*/ 1966624 w 11683878"/>
                <a:gd name="connsiteY3870" fmla="*/ 2424851 h 6246035"/>
                <a:gd name="connsiteX3871" fmla="*/ 3377334 w 11683878"/>
                <a:gd name="connsiteY3871" fmla="*/ 2381636 h 6246035"/>
                <a:gd name="connsiteX3872" fmla="*/ 3341632 w 11683878"/>
                <a:gd name="connsiteY3872" fmla="*/ 2408992 h 6246035"/>
                <a:gd name="connsiteX3873" fmla="*/ 3341633 w 11683878"/>
                <a:gd name="connsiteY3873" fmla="*/ 2408993 h 6246035"/>
                <a:gd name="connsiteX3874" fmla="*/ 3377335 w 11683878"/>
                <a:gd name="connsiteY3874" fmla="*/ 2381637 h 6246035"/>
                <a:gd name="connsiteX3875" fmla="*/ 2482419 w 11683878"/>
                <a:gd name="connsiteY3875" fmla="*/ 2365428 h 6246035"/>
                <a:gd name="connsiteX3876" fmla="*/ 2482085 w 11683878"/>
                <a:gd name="connsiteY3876" fmla="*/ 2365710 h 6246035"/>
                <a:gd name="connsiteX3877" fmla="*/ 2487697 w 11683878"/>
                <a:gd name="connsiteY3877" fmla="*/ 2369069 h 6246035"/>
                <a:gd name="connsiteX3878" fmla="*/ 3306905 w 11683878"/>
                <a:gd name="connsiteY3878" fmla="*/ 2365368 h 6246035"/>
                <a:gd name="connsiteX3879" fmla="*/ 3287865 w 11683878"/>
                <a:gd name="connsiteY3879" fmla="*/ 2379918 h 6246035"/>
                <a:gd name="connsiteX3880" fmla="*/ 3287865 w 11683878"/>
                <a:gd name="connsiteY3880" fmla="*/ 2379918 h 6246035"/>
                <a:gd name="connsiteX3881" fmla="*/ 3306907 w 11683878"/>
                <a:gd name="connsiteY3881" fmla="*/ 2365369 h 6246035"/>
                <a:gd name="connsiteX3882" fmla="*/ 4461315 w 11683878"/>
                <a:gd name="connsiteY3882" fmla="*/ 2364520 h 6246035"/>
                <a:gd name="connsiteX3883" fmla="*/ 4461105 w 11683878"/>
                <a:gd name="connsiteY3883" fmla="*/ 2365100 h 6246035"/>
                <a:gd name="connsiteX3884" fmla="*/ 4497039 w 11683878"/>
                <a:gd name="connsiteY3884" fmla="*/ 2396931 h 6246035"/>
                <a:gd name="connsiteX3885" fmla="*/ 4497113 w 11683878"/>
                <a:gd name="connsiteY3885" fmla="*/ 2393876 h 6246035"/>
                <a:gd name="connsiteX3886" fmla="*/ 1517667 w 11683878"/>
                <a:gd name="connsiteY3886" fmla="*/ 2359180 h 6246035"/>
                <a:gd name="connsiteX3887" fmla="*/ 1509908 w 11683878"/>
                <a:gd name="connsiteY3887" fmla="*/ 2360082 h 6246035"/>
                <a:gd name="connsiteX3888" fmla="*/ 1518397 w 11683878"/>
                <a:gd name="connsiteY3888" fmla="*/ 2361644 h 6246035"/>
                <a:gd name="connsiteX3889" fmla="*/ 3266707 w 11683878"/>
                <a:gd name="connsiteY3889" fmla="*/ 2350242 h 6246035"/>
                <a:gd name="connsiteX3890" fmla="*/ 3247114 w 11683878"/>
                <a:gd name="connsiteY3890" fmla="*/ 2364265 h 6246035"/>
                <a:gd name="connsiteX3891" fmla="*/ 3247115 w 11683878"/>
                <a:gd name="connsiteY3891" fmla="*/ 2364266 h 6246035"/>
                <a:gd name="connsiteX3892" fmla="*/ 3266708 w 11683878"/>
                <a:gd name="connsiteY3892" fmla="*/ 2350243 h 6246035"/>
                <a:gd name="connsiteX3893" fmla="*/ 4468112 w 11683878"/>
                <a:gd name="connsiteY3893" fmla="*/ 2347607 h 6246035"/>
                <a:gd name="connsiteX3894" fmla="*/ 4467329 w 11683878"/>
                <a:gd name="connsiteY3894" fmla="*/ 2347906 h 6246035"/>
                <a:gd name="connsiteX3895" fmla="*/ 4464089 w 11683878"/>
                <a:gd name="connsiteY3895" fmla="*/ 2356857 h 6246035"/>
                <a:gd name="connsiteX3896" fmla="*/ 3231888 w 11683878"/>
                <a:gd name="connsiteY3896" fmla="*/ 2344511 h 6246035"/>
                <a:gd name="connsiteX3897" fmla="*/ 3213039 w 11683878"/>
                <a:gd name="connsiteY3897" fmla="*/ 2359253 h 6246035"/>
                <a:gd name="connsiteX3898" fmla="*/ 3213041 w 11683878"/>
                <a:gd name="connsiteY3898" fmla="*/ 2359255 h 6246035"/>
                <a:gd name="connsiteX3899" fmla="*/ 3231889 w 11683878"/>
                <a:gd name="connsiteY3899" fmla="*/ 2344513 h 6246035"/>
                <a:gd name="connsiteX3900" fmla="*/ 2431524 w 11683878"/>
                <a:gd name="connsiteY3900" fmla="*/ 2330818 h 6246035"/>
                <a:gd name="connsiteX3901" fmla="*/ 2457097 w 11683878"/>
                <a:gd name="connsiteY3901" fmla="*/ 2386800 h 6246035"/>
                <a:gd name="connsiteX3902" fmla="*/ 2440272 w 11683878"/>
                <a:gd name="connsiteY3902" fmla="*/ 2335421 h 6246035"/>
                <a:gd name="connsiteX3903" fmla="*/ 11652989 w 11683878"/>
                <a:gd name="connsiteY3903" fmla="*/ 2325073 h 6246035"/>
                <a:gd name="connsiteX3904" fmla="*/ 11683878 w 11683878"/>
                <a:gd name="connsiteY3904" fmla="*/ 2346738 h 6246035"/>
                <a:gd name="connsiteX3905" fmla="*/ 11664283 w 11683878"/>
                <a:gd name="connsiteY3905" fmla="*/ 2387336 h 6246035"/>
                <a:gd name="connsiteX3906" fmla="*/ 11583788 w 11683878"/>
                <a:gd name="connsiteY3906" fmla="*/ 2407398 h 6246035"/>
                <a:gd name="connsiteX3907" fmla="*/ 11551668 w 11683878"/>
                <a:gd name="connsiteY3907" fmla="*/ 2397857 h 6246035"/>
                <a:gd name="connsiteX3908" fmla="*/ 11540101 w 11683878"/>
                <a:gd name="connsiteY3908" fmla="*/ 2365347 h 6246035"/>
                <a:gd name="connsiteX3909" fmla="*/ 11566180 w 11683878"/>
                <a:gd name="connsiteY3909" fmla="*/ 2340331 h 6246035"/>
                <a:gd name="connsiteX3910" fmla="*/ 2027655 w 11683878"/>
                <a:gd name="connsiteY3910" fmla="*/ 2308551 h 6246035"/>
                <a:gd name="connsiteX3911" fmla="*/ 2010185 w 11683878"/>
                <a:gd name="connsiteY3911" fmla="*/ 2376391 h 6246035"/>
                <a:gd name="connsiteX3912" fmla="*/ 2010773 w 11683878"/>
                <a:gd name="connsiteY3912" fmla="*/ 2376270 h 6246035"/>
                <a:gd name="connsiteX3913" fmla="*/ 2027655 w 11683878"/>
                <a:gd name="connsiteY3913" fmla="*/ 2308552 h 6246035"/>
                <a:gd name="connsiteX3914" fmla="*/ 2388838 w 11683878"/>
                <a:gd name="connsiteY3914" fmla="*/ 2308359 h 6246035"/>
                <a:gd name="connsiteX3915" fmla="*/ 2388838 w 11683878"/>
                <a:gd name="connsiteY3915" fmla="*/ 2308360 h 6246035"/>
                <a:gd name="connsiteX3916" fmla="*/ 2388841 w 11683878"/>
                <a:gd name="connsiteY3916" fmla="*/ 2308361 h 6246035"/>
                <a:gd name="connsiteX3917" fmla="*/ 9652401 w 11683878"/>
                <a:gd name="connsiteY3917" fmla="*/ 2306250 h 6246035"/>
                <a:gd name="connsiteX3918" fmla="*/ 9640585 w 11683878"/>
                <a:gd name="connsiteY3918" fmla="*/ 2350390 h 6246035"/>
                <a:gd name="connsiteX3919" fmla="*/ 9601233 w 11683878"/>
                <a:gd name="connsiteY3919" fmla="*/ 2383573 h 6246035"/>
                <a:gd name="connsiteX3920" fmla="*/ 9601377 w 11683878"/>
                <a:gd name="connsiteY3920" fmla="*/ 2383860 h 6246035"/>
                <a:gd name="connsiteX3921" fmla="*/ 9601236 w 11683878"/>
                <a:gd name="connsiteY3921" fmla="*/ 2383572 h 6246035"/>
                <a:gd name="connsiteX3922" fmla="*/ 9640588 w 11683878"/>
                <a:gd name="connsiteY3922" fmla="*/ 2350390 h 6246035"/>
                <a:gd name="connsiteX3923" fmla="*/ 9652405 w 11683878"/>
                <a:gd name="connsiteY3923" fmla="*/ 2306251 h 6246035"/>
                <a:gd name="connsiteX3924" fmla="*/ 9686288 w 11683878"/>
                <a:gd name="connsiteY3924" fmla="*/ 2296231 h 6246035"/>
                <a:gd name="connsiteX3925" fmla="*/ 9675175 w 11683878"/>
                <a:gd name="connsiteY3925" fmla="*/ 2314285 h 6246035"/>
                <a:gd name="connsiteX3926" fmla="*/ 9675177 w 11683878"/>
                <a:gd name="connsiteY3926" fmla="*/ 2314286 h 6246035"/>
                <a:gd name="connsiteX3927" fmla="*/ 9686412 w 11683878"/>
                <a:gd name="connsiteY3927" fmla="*/ 2296322 h 6246035"/>
                <a:gd name="connsiteX3928" fmla="*/ 5373457 w 11683878"/>
                <a:gd name="connsiteY3928" fmla="*/ 2293103 h 6246035"/>
                <a:gd name="connsiteX3929" fmla="*/ 5355198 w 11683878"/>
                <a:gd name="connsiteY3929" fmla="*/ 2319946 h 6246035"/>
                <a:gd name="connsiteX3930" fmla="*/ 5413888 w 11683878"/>
                <a:gd name="connsiteY3930" fmla="*/ 2393292 h 6246035"/>
                <a:gd name="connsiteX3931" fmla="*/ 5408739 w 11683878"/>
                <a:gd name="connsiteY3931" fmla="*/ 2458541 h 6246035"/>
                <a:gd name="connsiteX3932" fmla="*/ 5407719 w 11683878"/>
                <a:gd name="connsiteY3932" fmla="*/ 2459799 h 6246035"/>
                <a:gd name="connsiteX3933" fmla="*/ 5408763 w 11683878"/>
                <a:gd name="connsiteY3933" fmla="*/ 2458540 h 6246035"/>
                <a:gd name="connsiteX3934" fmla="*/ 5413911 w 11683878"/>
                <a:gd name="connsiteY3934" fmla="*/ 2393290 h 6246035"/>
                <a:gd name="connsiteX3935" fmla="*/ 5355221 w 11683878"/>
                <a:gd name="connsiteY3935" fmla="*/ 2319945 h 6246035"/>
                <a:gd name="connsiteX3936" fmla="*/ 5373769 w 11683878"/>
                <a:gd name="connsiteY3936" fmla="*/ 2293174 h 6246035"/>
                <a:gd name="connsiteX3937" fmla="*/ 7008191 w 11683878"/>
                <a:gd name="connsiteY3937" fmla="*/ 2286239 h 6246035"/>
                <a:gd name="connsiteX3938" fmla="*/ 7018555 w 11683878"/>
                <a:gd name="connsiteY3938" fmla="*/ 2288215 h 6246035"/>
                <a:gd name="connsiteX3939" fmla="*/ 7045005 w 11683878"/>
                <a:gd name="connsiteY3939" fmla="*/ 2315196 h 6246035"/>
                <a:gd name="connsiteX3940" fmla="*/ 7018485 w 11683878"/>
                <a:gd name="connsiteY3940" fmla="*/ 2288084 h 6246035"/>
                <a:gd name="connsiteX3941" fmla="*/ 3384254 w 11683878"/>
                <a:gd name="connsiteY3941" fmla="*/ 2285562 h 6246035"/>
                <a:gd name="connsiteX3942" fmla="*/ 3367634 w 11683878"/>
                <a:gd name="connsiteY3942" fmla="*/ 2365480 h 6246035"/>
                <a:gd name="connsiteX3943" fmla="*/ 3377131 w 11683878"/>
                <a:gd name="connsiteY3943" fmla="*/ 2381295 h 6246035"/>
                <a:gd name="connsiteX3944" fmla="*/ 3367636 w 11683878"/>
                <a:gd name="connsiteY3944" fmla="*/ 2365480 h 6246035"/>
                <a:gd name="connsiteX3945" fmla="*/ 3384256 w 11683878"/>
                <a:gd name="connsiteY3945" fmla="*/ 2285563 h 6246035"/>
                <a:gd name="connsiteX3946" fmla="*/ 1927711 w 11683878"/>
                <a:gd name="connsiteY3946" fmla="*/ 2279210 h 6246035"/>
                <a:gd name="connsiteX3947" fmla="*/ 1956632 w 11683878"/>
                <a:gd name="connsiteY3947" fmla="*/ 2306040 h 6246035"/>
                <a:gd name="connsiteX3948" fmla="*/ 1940867 w 11683878"/>
                <a:gd name="connsiteY3948" fmla="*/ 2289171 h 6246035"/>
                <a:gd name="connsiteX3949" fmla="*/ 1947884 w 11683878"/>
                <a:gd name="connsiteY3949" fmla="*/ 2280160 h 6246035"/>
                <a:gd name="connsiteX3950" fmla="*/ 6994848 w 11683878"/>
                <a:gd name="connsiteY3950" fmla="*/ 2271863 h 6246035"/>
                <a:gd name="connsiteX3951" fmla="*/ 6988736 w 11683878"/>
                <a:gd name="connsiteY3951" fmla="*/ 2282530 h 6246035"/>
                <a:gd name="connsiteX3952" fmla="*/ 6988809 w 11683878"/>
                <a:gd name="connsiteY3952" fmla="*/ 2282544 h 6246035"/>
                <a:gd name="connsiteX3953" fmla="*/ 5426168 w 11683878"/>
                <a:gd name="connsiteY3953" fmla="*/ 2267107 h 6246035"/>
                <a:gd name="connsiteX3954" fmla="*/ 5420242 w 11683878"/>
                <a:gd name="connsiteY3954" fmla="*/ 2267748 h 6246035"/>
                <a:gd name="connsiteX3955" fmla="*/ 5406576 w 11683878"/>
                <a:gd name="connsiteY3955" fmla="*/ 2300605 h 6246035"/>
                <a:gd name="connsiteX3956" fmla="*/ 5406596 w 11683878"/>
                <a:gd name="connsiteY3956" fmla="*/ 2300610 h 6246035"/>
                <a:gd name="connsiteX3957" fmla="*/ 5420239 w 11683878"/>
                <a:gd name="connsiteY3957" fmla="*/ 2267989 h 6246035"/>
                <a:gd name="connsiteX3958" fmla="*/ 1373906 w 11683878"/>
                <a:gd name="connsiteY3958" fmla="*/ 2265864 h 6246035"/>
                <a:gd name="connsiteX3959" fmla="*/ 1408295 w 11683878"/>
                <a:gd name="connsiteY3959" fmla="*/ 2290978 h 6246035"/>
                <a:gd name="connsiteX3960" fmla="*/ 1397070 w 11683878"/>
                <a:gd name="connsiteY3960" fmla="*/ 2301421 h 6246035"/>
                <a:gd name="connsiteX3961" fmla="*/ 1408296 w 11683878"/>
                <a:gd name="connsiteY3961" fmla="*/ 2290978 h 6246035"/>
                <a:gd name="connsiteX3962" fmla="*/ 2357516 w 11683878"/>
                <a:gd name="connsiteY3962" fmla="*/ 2253481 h 6246035"/>
                <a:gd name="connsiteX3963" fmla="*/ 2357228 w 11683878"/>
                <a:gd name="connsiteY3963" fmla="*/ 2253689 h 6246035"/>
                <a:gd name="connsiteX3964" fmla="*/ 2382810 w 11683878"/>
                <a:gd name="connsiteY3964" fmla="*/ 2276685 h 6246035"/>
                <a:gd name="connsiteX3965" fmla="*/ 1957938 w 11683878"/>
                <a:gd name="connsiteY3965" fmla="*/ 2243749 h 6246035"/>
                <a:gd name="connsiteX3966" fmla="*/ 1954491 w 11683878"/>
                <a:gd name="connsiteY3966" fmla="*/ 2271676 h 6246035"/>
                <a:gd name="connsiteX3967" fmla="*/ 1962632 w 11683878"/>
                <a:gd name="connsiteY3967" fmla="*/ 2261220 h 6246035"/>
                <a:gd name="connsiteX3968" fmla="*/ 1384169 w 11683878"/>
                <a:gd name="connsiteY3968" fmla="*/ 2242861 h 6246035"/>
                <a:gd name="connsiteX3969" fmla="*/ 1384177 w 11683878"/>
                <a:gd name="connsiteY3969" fmla="*/ 2242862 h 6246035"/>
                <a:gd name="connsiteX3970" fmla="*/ 1386724 w 11683878"/>
                <a:gd name="connsiteY3970" fmla="*/ 2265166 h 6246035"/>
                <a:gd name="connsiteX3971" fmla="*/ 1386745 w 11683878"/>
                <a:gd name="connsiteY3971" fmla="*/ 2265165 h 6246035"/>
                <a:gd name="connsiteX3972" fmla="*/ 1384177 w 11683878"/>
                <a:gd name="connsiteY3972" fmla="*/ 2242861 h 6246035"/>
                <a:gd name="connsiteX3973" fmla="*/ 9672688 w 11683878"/>
                <a:gd name="connsiteY3973" fmla="*/ 2241679 h 6246035"/>
                <a:gd name="connsiteX3974" fmla="*/ 9673186 w 11683878"/>
                <a:gd name="connsiteY3974" fmla="*/ 2241801 h 6246035"/>
                <a:gd name="connsiteX3975" fmla="*/ 9672937 w 11683878"/>
                <a:gd name="connsiteY3975" fmla="*/ 2243748 h 6246035"/>
                <a:gd name="connsiteX3976" fmla="*/ 9673191 w 11683878"/>
                <a:gd name="connsiteY3976" fmla="*/ 2241800 h 6246035"/>
                <a:gd name="connsiteX3977" fmla="*/ 1884147 w 11683878"/>
                <a:gd name="connsiteY3977" fmla="*/ 2238796 h 6246035"/>
                <a:gd name="connsiteX3978" fmla="*/ 1848277 w 11683878"/>
                <a:gd name="connsiteY3978" fmla="*/ 2242577 h 6246035"/>
                <a:gd name="connsiteX3979" fmla="*/ 1850467 w 11683878"/>
                <a:gd name="connsiteY3979" fmla="*/ 2245199 h 6246035"/>
                <a:gd name="connsiteX3980" fmla="*/ 2350031 w 11683878"/>
                <a:gd name="connsiteY3980" fmla="*/ 2237592 h 6246035"/>
                <a:gd name="connsiteX3981" fmla="*/ 2346932 w 11683878"/>
                <a:gd name="connsiteY3981" fmla="*/ 2261116 h 6246035"/>
                <a:gd name="connsiteX3982" fmla="*/ 2347218 w 11683878"/>
                <a:gd name="connsiteY3982" fmla="*/ 2260899 h 6246035"/>
                <a:gd name="connsiteX3983" fmla="*/ 6962669 w 11683878"/>
                <a:gd name="connsiteY3983" fmla="*/ 2228901 h 6246035"/>
                <a:gd name="connsiteX3984" fmla="*/ 6962671 w 11683878"/>
                <a:gd name="connsiteY3984" fmla="*/ 2229305 h 6246035"/>
                <a:gd name="connsiteX3985" fmla="*/ 7000552 w 11683878"/>
                <a:gd name="connsiteY3985" fmla="*/ 2261774 h 6246035"/>
                <a:gd name="connsiteX3986" fmla="*/ 7000595 w 11683878"/>
                <a:gd name="connsiteY3986" fmla="*/ 2261698 h 6246035"/>
                <a:gd name="connsiteX3987" fmla="*/ 2328305 w 11683878"/>
                <a:gd name="connsiteY3987" fmla="*/ 2220364 h 6246035"/>
                <a:gd name="connsiteX3988" fmla="*/ 2328305 w 11683878"/>
                <a:gd name="connsiteY3988" fmla="*/ 2220365 h 6246035"/>
                <a:gd name="connsiteX3989" fmla="*/ 2350379 w 11683878"/>
                <a:gd name="connsiteY3989" fmla="*/ 2234704 h 6246035"/>
                <a:gd name="connsiteX3990" fmla="*/ 2350380 w 11683878"/>
                <a:gd name="connsiteY3990" fmla="*/ 2234692 h 6246035"/>
                <a:gd name="connsiteX3991" fmla="*/ 1835310 w 11683878"/>
                <a:gd name="connsiteY3991" fmla="*/ 2219504 h 6246035"/>
                <a:gd name="connsiteX3992" fmla="*/ 1830534 w 11683878"/>
                <a:gd name="connsiteY3992" fmla="*/ 2221338 h 6246035"/>
                <a:gd name="connsiteX3993" fmla="*/ 1841785 w 11683878"/>
                <a:gd name="connsiteY3993" fmla="*/ 2234806 h 6246035"/>
                <a:gd name="connsiteX3994" fmla="*/ 1355853 w 11683878"/>
                <a:gd name="connsiteY3994" fmla="*/ 2219042 h 6246035"/>
                <a:gd name="connsiteX3995" fmla="*/ 1355454 w 11683878"/>
                <a:gd name="connsiteY3995" fmla="*/ 2219555 h 6246035"/>
                <a:gd name="connsiteX3996" fmla="*/ 1364637 w 11683878"/>
                <a:gd name="connsiteY3996" fmla="*/ 2240096 h 6246035"/>
                <a:gd name="connsiteX3997" fmla="*/ 1366130 w 11683878"/>
                <a:gd name="connsiteY3997" fmla="*/ 2240307 h 6246035"/>
                <a:gd name="connsiteX3998" fmla="*/ 3057138 w 11683878"/>
                <a:gd name="connsiteY3998" fmla="*/ 2218055 h 6246035"/>
                <a:gd name="connsiteX3999" fmla="*/ 3081786 w 11683878"/>
                <a:gd name="connsiteY3999" fmla="*/ 2332698 h 6246035"/>
                <a:gd name="connsiteX4000" fmla="*/ 3040213 w 11683878"/>
                <a:gd name="connsiteY4000" fmla="*/ 2401238 h 6246035"/>
                <a:gd name="connsiteX4001" fmla="*/ 3055437 w 11683878"/>
                <a:gd name="connsiteY4001" fmla="*/ 2438787 h 6246035"/>
                <a:gd name="connsiteX4002" fmla="*/ 2995004 w 11683878"/>
                <a:gd name="connsiteY4002" fmla="*/ 2450214 h 6246035"/>
                <a:gd name="connsiteX4003" fmla="*/ 2943547 w 11683878"/>
                <a:gd name="connsiteY4003" fmla="*/ 2539761 h 6246035"/>
                <a:gd name="connsiteX4004" fmla="*/ 2956508 w 11683878"/>
                <a:gd name="connsiteY4004" fmla="*/ 2553033 h 6246035"/>
                <a:gd name="connsiteX4005" fmla="*/ 2956510 w 11683878"/>
                <a:gd name="connsiteY4005" fmla="*/ 2553032 h 6246035"/>
                <a:gd name="connsiteX4006" fmla="*/ 2943551 w 11683878"/>
                <a:gd name="connsiteY4006" fmla="*/ 2539761 h 6246035"/>
                <a:gd name="connsiteX4007" fmla="*/ 2995006 w 11683878"/>
                <a:gd name="connsiteY4007" fmla="*/ 2450214 h 6246035"/>
                <a:gd name="connsiteX4008" fmla="*/ 3055440 w 11683878"/>
                <a:gd name="connsiteY4008" fmla="*/ 2438787 h 6246035"/>
                <a:gd name="connsiteX4009" fmla="*/ 3040216 w 11683878"/>
                <a:gd name="connsiteY4009" fmla="*/ 2401238 h 6246035"/>
                <a:gd name="connsiteX4010" fmla="*/ 3081787 w 11683878"/>
                <a:gd name="connsiteY4010" fmla="*/ 2332699 h 6246035"/>
                <a:gd name="connsiteX4011" fmla="*/ 3057140 w 11683878"/>
                <a:gd name="connsiteY4011" fmla="*/ 2218057 h 6246035"/>
                <a:gd name="connsiteX4012" fmla="*/ 1940692 w 11683878"/>
                <a:gd name="connsiteY4012" fmla="*/ 2205679 h 6246035"/>
                <a:gd name="connsiteX4013" fmla="*/ 1950700 w 11683878"/>
                <a:gd name="connsiteY4013" fmla="*/ 2216813 h 6246035"/>
                <a:gd name="connsiteX4014" fmla="*/ 1947928 w 11683878"/>
                <a:gd name="connsiteY4014" fmla="*/ 2206498 h 6246035"/>
                <a:gd name="connsiteX4015" fmla="*/ 9611626 w 11683878"/>
                <a:gd name="connsiteY4015" fmla="*/ 2189079 h 6246035"/>
                <a:gd name="connsiteX4016" fmla="*/ 9611591 w 11683878"/>
                <a:gd name="connsiteY4016" fmla="*/ 2189151 h 6246035"/>
                <a:gd name="connsiteX4017" fmla="*/ 9633926 w 11683878"/>
                <a:gd name="connsiteY4017" fmla="*/ 2232205 h 6246035"/>
                <a:gd name="connsiteX4018" fmla="*/ 9634068 w 11683878"/>
                <a:gd name="connsiteY4018" fmla="*/ 2232240 h 6246035"/>
                <a:gd name="connsiteX4019" fmla="*/ 3628496 w 11683878"/>
                <a:gd name="connsiteY4019" fmla="*/ 2188727 h 6246035"/>
                <a:gd name="connsiteX4020" fmla="*/ 3628291 w 11683878"/>
                <a:gd name="connsiteY4020" fmla="*/ 2189013 h 6246035"/>
                <a:gd name="connsiteX4021" fmla="*/ 3628292 w 11683878"/>
                <a:gd name="connsiteY4021" fmla="*/ 2189013 h 6246035"/>
                <a:gd name="connsiteX4022" fmla="*/ 1699559 w 11683878"/>
                <a:gd name="connsiteY4022" fmla="*/ 2180619 h 6246035"/>
                <a:gd name="connsiteX4023" fmla="*/ 1715124 w 11683878"/>
                <a:gd name="connsiteY4023" fmla="*/ 2188572 h 6246035"/>
                <a:gd name="connsiteX4024" fmla="*/ 1715125 w 11683878"/>
                <a:gd name="connsiteY4024" fmla="*/ 2188572 h 6246035"/>
                <a:gd name="connsiteX4025" fmla="*/ 1945137 w 11683878"/>
                <a:gd name="connsiteY4025" fmla="*/ 2180135 h 6246035"/>
                <a:gd name="connsiteX4026" fmla="*/ 1926063 w 11683878"/>
                <a:gd name="connsiteY4026" fmla="*/ 2189406 h 6246035"/>
                <a:gd name="connsiteX4027" fmla="*/ 1926067 w 11683878"/>
                <a:gd name="connsiteY4027" fmla="*/ 2189410 h 6246035"/>
                <a:gd name="connsiteX4028" fmla="*/ 1945138 w 11683878"/>
                <a:gd name="connsiteY4028" fmla="*/ 2180140 h 6246035"/>
                <a:gd name="connsiteX4029" fmla="*/ 1421549 w 11683878"/>
                <a:gd name="connsiteY4029" fmla="*/ 2174951 h 6246035"/>
                <a:gd name="connsiteX4030" fmla="*/ 1378191 w 11683878"/>
                <a:gd name="connsiteY4030" fmla="*/ 2190333 h 6246035"/>
                <a:gd name="connsiteX4031" fmla="*/ 1378038 w 11683878"/>
                <a:gd name="connsiteY4031" fmla="*/ 2190529 h 6246035"/>
                <a:gd name="connsiteX4032" fmla="*/ 3689899 w 11683878"/>
                <a:gd name="connsiteY4032" fmla="*/ 2173822 h 6246035"/>
                <a:gd name="connsiteX4033" fmla="*/ 3784235 w 11683878"/>
                <a:gd name="connsiteY4033" fmla="*/ 2268260 h 6246035"/>
                <a:gd name="connsiteX4034" fmla="*/ 3808784 w 11683878"/>
                <a:gd name="connsiteY4034" fmla="*/ 2285473 h 6246035"/>
                <a:gd name="connsiteX4035" fmla="*/ 2345130 w 11683878"/>
                <a:gd name="connsiteY4035" fmla="*/ 2169275 h 6246035"/>
                <a:gd name="connsiteX4036" fmla="*/ 2328673 w 11683878"/>
                <a:gd name="connsiteY4036" fmla="*/ 2198757 h 6246035"/>
                <a:gd name="connsiteX4037" fmla="*/ 2328306 w 11683878"/>
                <a:gd name="connsiteY4037" fmla="*/ 2220356 h 6246035"/>
                <a:gd name="connsiteX4038" fmla="*/ 3642934 w 11683878"/>
                <a:gd name="connsiteY4038" fmla="*/ 2168492 h 6246035"/>
                <a:gd name="connsiteX4039" fmla="*/ 3642764 w 11683878"/>
                <a:gd name="connsiteY4039" fmla="*/ 2168730 h 6246035"/>
                <a:gd name="connsiteX4040" fmla="*/ 3654124 w 11683878"/>
                <a:gd name="connsiteY4040" fmla="*/ 2180670 h 6246035"/>
                <a:gd name="connsiteX4041" fmla="*/ 3689884 w 11683878"/>
                <a:gd name="connsiteY4041" fmla="*/ 2173807 h 6246035"/>
                <a:gd name="connsiteX4042" fmla="*/ 3654342 w 11683878"/>
                <a:gd name="connsiteY4042" fmla="*/ 2180562 h 6246035"/>
                <a:gd name="connsiteX4043" fmla="*/ 6962241 w 11683878"/>
                <a:gd name="connsiteY4043" fmla="*/ 2165137 h 6246035"/>
                <a:gd name="connsiteX4044" fmla="*/ 6962159 w 11683878"/>
                <a:gd name="connsiteY4044" fmla="*/ 2165156 h 6246035"/>
                <a:gd name="connsiteX4045" fmla="*/ 6962241 w 11683878"/>
                <a:gd name="connsiteY4045" fmla="*/ 2165138 h 6246035"/>
                <a:gd name="connsiteX4046" fmla="*/ 1432326 w 11683878"/>
                <a:gd name="connsiteY4046" fmla="*/ 2154664 h 6246035"/>
                <a:gd name="connsiteX4047" fmla="*/ 1432912 w 11683878"/>
                <a:gd name="connsiteY4047" fmla="*/ 2170882 h 6246035"/>
                <a:gd name="connsiteX4048" fmla="*/ 1432987 w 11683878"/>
                <a:gd name="connsiteY4048" fmla="*/ 2170855 h 6246035"/>
                <a:gd name="connsiteX4049" fmla="*/ 1753913 w 11683878"/>
                <a:gd name="connsiteY4049" fmla="*/ 2154192 h 6246035"/>
                <a:gd name="connsiteX4050" fmla="*/ 1776572 w 11683878"/>
                <a:gd name="connsiteY4050" fmla="*/ 2155844 h 6246035"/>
                <a:gd name="connsiteX4051" fmla="*/ 1804779 w 11683878"/>
                <a:gd name="connsiteY4051" fmla="*/ 2183457 h 6246035"/>
                <a:gd name="connsiteX4052" fmla="*/ 1776572 w 11683878"/>
                <a:gd name="connsiteY4052" fmla="*/ 2155843 h 6246035"/>
                <a:gd name="connsiteX4053" fmla="*/ 6948729 w 11683878"/>
                <a:gd name="connsiteY4053" fmla="*/ 2150396 h 6246035"/>
                <a:gd name="connsiteX4054" fmla="*/ 6939726 w 11683878"/>
                <a:gd name="connsiteY4054" fmla="*/ 2170109 h 6246035"/>
                <a:gd name="connsiteX4055" fmla="*/ 6940040 w 11683878"/>
                <a:gd name="connsiteY4055" fmla="*/ 2170040 h 6246035"/>
                <a:gd name="connsiteX4056" fmla="*/ 6949078 w 11683878"/>
                <a:gd name="connsiteY4056" fmla="*/ 2150627 h 6246035"/>
                <a:gd name="connsiteX4057" fmla="*/ 2060928 w 11683878"/>
                <a:gd name="connsiteY4057" fmla="*/ 2135890 h 6246035"/>
                <a:gd name="connsiteX4058" fmla="*/ 2048128 w 11683878"/>
                <a:gd name="connsiteY4058" fmla="*/ 2141413 h 6246035"/>
                <a:gd name="connsiteX4059" fmla="*/ 2048318 w 11683878"/>
                <a:gd name="connsiteY4059" fmla="*/ 2144549 h 6246035"/>
                <a:gd name="connsiteX4060" fmla="*/ 6922114 w 11683878"/>
                <a:gd name="connsiteY4060" fmla="*/ 2132810 h 6246035"/>
                <a:gd name="connsiteX4061" fmla="*/ 6921765 w 11683878"/>
                <a:gd name="connsiteY4061" fmla="*/ 2133092 h 6246035"/>
                <a:gd name="connsiteX4062" fmla="*/ 6940388 w 11683878"/>
                <a:gd name="connsiteY4062" fmla="*/ 2144885 h 6246035"/>
                <a:gd name="connsiteX4063" fmla="*/ 3396933 w 11683878"/>
                <a:gd name="connsiteY4063" fmla="*/ 2120984 h 6246035"/>
                <a:gd name="connsiteX4064" fmla="*/ 3438411 w 11683878"/>
                <a:gd name="connsiteY4064" fmla="*/ 2161708 h 6246035"/>
                <a:gd name="connsiteX4065" fmla="*/ 3348844 w 11683878"/>
                <a:gd name="connsiteY4065" fmla="*/ 2267302 h 6246035"/>
                <a:gd name="connsiteX4066" fmla="*/ 3348848 w 11683878"/>
                <a:gd name="connsiteY4066" fmla="*/ 2267303 h 6246035"/>
                <a:gd name="connsiteX4067" fmla="*/ 3348846 w 11683878"/>
                <a:gd name="connsiteY4067" fmla="*/ 2267303 h 6246035"/>
                <a:gd name="connsiteX4068" fmla="*/ 3353228 w 11683878"/>
                <a:gd name="connsiteY4068" fmla="*/ 2269562 h 6246035"/>
                <a:gd name="connsiteX4069" fmla="*/ 3348848 w 11683878"/>
                <a:gd name="connsiteY4069" fmla="*/ 2267303 h 6246035"/>
                <a:gd name="connsiteX4070" fmla="*/ 3438413 w 11683878"/>
                <a:gd name="connsiteY4070" fmla="*/ 2161708 h 6246035"/>
                <a:gd name="connsiteX4071" fmla="*/ 3438412 w 11683878"/>
                <a:gd name="connsiteY4071" fmla="*/ 2161708 h 6246035"/>
                <a:gd name="connsiteX4072" fmla="*/ 1553019 w 11683878"/>
                <a:gd name="connsiteY4072" fmla="*/ 2120541 h 6246035"/>
                <a:gd name="connsiteX4073" fmla="*/ 1592526 w 11683878"/>
                <a:gd name="connsiteY4073" fmla="*/ 2150689 h 6246035"/>
                <a:gd name="connsiteX4074" fmla="*/ 1643259 w 11683878"/>
                <a:gd name="connsiteY4074" fmla="*/ 2157400 h 6246035"/>
                <a:gd name="connsiteX4075" fmla="*/ 1657524 w 11683878"/>
                <a:gd name="connsiteY4075" fmla="*/ 2187792 h 6246035"/>
                <a:gd name="connsiteX4076" fmla="*/ 1643259 w 11683878"/>
                <a:gd name="connsiteY4076" fmla="*/ 2157399 h 6246035"/>
                <a:gd name="connsiteX4077" fmla="*/ 1592526 w 11683878"/>
                <a:gd name="connsiteY4077" fmla="*/ 2150688 h 6246035"/>
                <a:gd name="connsiteX4078" fmla="*/ 3396328 w 11683878"/>
                <a:gd name="connsiteY4078" fmla="*/ 2120423 h 6246035"/>
                <a:gd name="connsiteX4079" fmla="*/ 3349882 w 11683878"/>
                <a:gd name="connsiteY4079" fmla="*/ 2139576 h 6246035"/>
                <a:gd name="connsiteX4080" fmla="*/ 3351956 w 11683878"/>
                <a:gd name="connsiteY4080" fmla="*/ 2141285 h 6246035"/>
                <a:gd name="connsiteX4081" fmla="*/ 1505701 w 11683878"/>
                <a:gd name="connsiteY4081" fmla="*/ 2109974 h 6246035"/>
                <a:gd name="connsiteX4082" fmla="*/ 1529892 w 11683878"/>
                <a:gd name="connsiteY4082" fmla="*/ 2123929 h 6246035"/>
                <a:gd name="connsiteX4083" fmla="*/ 1548718 w 11683878"/>
                <a:gd name="connsiteY4083" fmla="*/ 2117258 h 6246035"/>
                <a:gd name="connsiteX4084" fmla="*/ 1548717 w 11683878"/>
                <a:gd name="connsiteY4084" fmla="*/ 2117258 h 6246035"/>
                <a:gd name="connsiteX4085" fmla="*/ 1504769 w 11683878"/>
                <a:gd name="connsiteY4085" fmla="*/ 2108701 h 6246035"/>
                <a:gd name="connsiteX4086" fmla="*/ 1504972 w 11683878"/>
                <a:gd name="connsiteY4086" fmla="*/ 2109553 h 6246035"/>
                <a:gd name="connsiteX4087" fmla="*/ 1505170 w 11683878"/>
                <a:gd name="connsiteY4087" fmla="*/ 2109667 h 6246035"/>
                <a:gd name="connsiteX4088" fmla="*/ 1937512 w 11683878"/>
                <a:gd name="connsiteY4088" fmla="*/ 2103202 h 6246035"/>
                <a:gd name="connsiteX4089" fmla="*/ 1934102 w 11683878"/>
                <a:gd name="connsiteY4089" fmla="*/ 2171211 h 6246035"/>
                <a:gd name="connsiteX4090" fmla="*/ 1945137 w 11683878"/>
                <a:gd name="connsiteY4090" fmla="*/ 2180132 h 6246035"/>
                <a:gd name="connsiteX4091" fmla="*/ 1939182 w 11683878"/>
                <a:gd name="connsiteY4091" fmla="*/ 2138597 h 6246035"/>
                <a:gd name="connsiteX4092" fmla="*/ 1939182 w 11683878"/>
                <a:gd name="connsiteY4092" fmla="*/ 2138591 h 6246035"/>
                <a:gd name="connsiteX4093" fmla="*/ 1968787 w 11683878"/>
                <a:gd name="connsiteY4093" fmla="*/ 2136068 h 6246035"/>
                <a:gd name="connsiteX4094" fmla="*/ 1968767 w 11683878"/>
                <a:gd name="connsiteY4094" fmla="*/ 2136053 h 6246035"/>
                <a:gd name="connsiteX4095" fmla="*/ 1940276 w 11683878"/>
                <a:gd name="connsiteY4095" fmla="*/ 2138065 h 6246035"/>
                <a:gd name="connsiteX4096" fmla="*/ 6971688 w 11683878"/>
                <a:gd name="connsiteY4096" fmla="*/ 2092732 h 6246035"/>
                <a:gd name="connsiteX4097" fmla="*/ 6961463 w 11683878"/>
                <a:gd name="connsiteY4097" fmla="*/ 2100998 h 6246035"/>
                <a:gd name="connsiteX4098" fmla="*/ 6971805 w 11683878"/>
                <a:gd name="connsiteY4098" fmla="*/ 2092817 h 6246035"/>
                <a:gd name="connsiteX4099" fmla="*/ 9587139 w 11683878"/>
                <a:gd name="connsiteY4099" fmla="*/ 2085290 h 6246035"/>
                <a:gd name="connsiteX4100" fmla="*/ 9587107 w 11683878"/>
                <a:gd name="connsiteY4100" fmla="*/ 2085354 h 6246035"/>
                <a:gd name="connsiteX4101" fmla="*/ 9635682 w 11683878"/>
                <a:gd name="connsiteY4101" fmla="*/ 2138940 h 6246035"/>
                <a:gd name="connsiteX4102" fmla="*/ 9635454 w 11683878"/>
                <a:gd name="connsiteY4102" fmla="*/ 2139414 h 6246035"/>
                <a:gd name="connsiteX4103" fmla="*/ 9635686 w 11683878"/>
                <a:gd name="connsiteY4103" fmla="*/ 2138940 h 6246035"/>
                <a:gd name="connsiteX4104" fmla="*/ 1457117 w 11683878"/>
                <a:gd name="connsiteY4104" fmla="*/ 2078272 h 6246035"/>
                <a:gd name="connsiteX4105" fmla="*/ 1455678 w 11683878"/>
                <a:gd name="connsiteY4105" fmla="*/ 2111217 h 6246035"/>
                <a:gd name="connsiteX4106" fmla="*/ 1430983 w 11683878"/>
                <a:gd name="connsiteY4106" fmla="*/ 2117517 h 6246035"/>
                <a:gd name="connsiteX4107" fmla="*/ 1430994 w 11683878"/>
                <a:gd name="connsiteY4107" fmla="*/ 2117822 h 6246035"/>
                <a:gd name="connsiteX4108" fmla="*/ 1455678 w 11683878"/>
                <a:gd name="connsiteY4108" fmla="*/ 2111217 h 6246035"/>
                <a:gd name="connsiteX4109" fmla="*/ 1457118 w 11683878"/>
                <a:gd name="connsiteY4109" fmla="*/ 2078272 h 6246035"/>
                <a:gd name="connsiteX4110" fmla="*/ 2077065 w 11683878"/>
                <a:gd name="connsiteY4110" fmla="*/ 2077584 h 6246035"/>
                <a:gd name="connsiteX4111" fmla="*/ 2085824 w 11683878"/>
                <a:gd name="connsiteY4111" fmla="*/ 2100348 h 6246035"/>
                <a:gd name="connsiteX4112" fmla="*/ 2085825 w 11683878"/>
                <a:gd name="connsiteY4112" fmla="*/ 2100348 h 6246035"/>
                <a:gd name="connsiteX4113" fmla="*/ 3305066 w 11683878"/>
                <a:gd name="connsiteY4113" fmla="*/ 2054180 h 6246035"/>
                <a:gd name="connsiteX4114" fmla="*/ 3305070 w 11683878"/>
                <a:gd name="connsiteY4114" fmla="*/ 2054187 h 6246035"/>
                <a:gd name="connsiteX4115" fmla="*/ 3319174 w 11683878"/>
                <a:gd name="connsiteY4115" fmla="*/ 2114278 h 6246035"/>
                <a:gd name="connsiteX4116" fmla="*/ 3319182 w 11683878"/>
                <a:gd name="connsiteY4116" fmla="*/ 2114285 h 6246035"/>
                <a:gd name="connsiteX4117" fmla="*/ 3319176 w 11683878"/>
                <a:gd name="connsiteY4117" fmla="*/ 2114278 h 6246035"/>
                <a:gd name="connsiteX4118" fmla="*/ 3305072 w 11683878"/>
                <a:gd name="connsiteY4118" fmla="*/ 2054187 h 6246035"/>
                <a:gd name="connsiteX4119" fmla="*/ 9621773 w 11683878"/>
                <a:gd name="connsiteY4119" fmla="*/ 2052452 h 6246035"/>
                <a:gd name="connsiteX4120" fmla="*/ 9600125 w 11683878"/>
                <a:gd name="connsiteY4120" fmla="*/ 2059055 h 6246035"/>
                <a:gd name="connsiteX4121" fmla="*/ 9599421 w 11683878"/>
                <a:gd name="connsiteY4121" fmla="*/ 2060478 h 6246035"/>
                <a:gd name="connsiteX4122" fmla="*/ 9600130 w 11683878"/>
                <a:gd name="connsiteY4122" fmla="*/ 2059055 h 6246035"/>
                <a:gd name="connsiteX4123" fmla="*/ 9621850 w 11683878"/>
                <a:gd name="connsiteY4123" fmla="*/ 2052621 h 6246035"/>
                <a:gd name="connsiteX4124" fmla="*/ 10445258 w 11683878"/>
                <a:gd name="connsiteY4124" fmla="*/ 2048050 h 6246035"/>
                <a:gd name="connsiteX4125" fmla="*/ 10482326 w 11683878"/>
                <a:gd name="connsiteY4125" fmla="*/ 2063419 h 6246035"/>
                <a:gd name="connsiteX4126" fmla="*/ 10482254 w 11683878"/>
                <a:gd name="connsiteY4126" fmla="*/ 2063316 h 6246035"/>
                <a:gd name="connsiteX4127" fmla="*/ 1517988 w 11683878"/>
                <a:gd name="connsiteY4127" fmla="*/ 2035059 h 6246035"/>
                <a:gd name="connsiteX4128" fmla="*/ 1481768 w 11683878"/>
                <a:gd name="connsiteY4128" fmla="*/ 2053327 h 6246035"/>
                <a:gd name="connsiteX4129" fmla="*/ 1481768 w 11683878"/>
                <a:gd name="connsiteY4129" fmla="*/ 2053328 h 6246035"/>
                <a:gd name="connsiteX4130" fmla="*/ 2344920 w 11683878"/>
                <a:gd name="connsiteY4130" fmla="*/ 2032905 h 6246035"/>
                <a:gd name="connsiteX4131" fmla="*/ 2361299 w 11683878"/>
                <a:gd name="connsiteY4131" fmla="*/ 2055922 h 6246035"/>
                <a:gd name="connsiteX4132" fmla="*/ 2361252 w 11683878"/>
                <a:gd name="connsiteY4132" fmla="*/ 2039137 h 6246035"/>
                <a:gd name="connsiteX4133" fmla="*/ 1904463 w 11683878"/>
                <a:gd name="connsiteY4133" fmla="*/ 2027256 h 6246035"/>
                <a:gd name="connsiteX4134" fmla="*/ 1904561 w 11683878"/>
                <a:gd name="connsiteY4134" fmla="*/ 2028103 h 6246035"/>
                <a:gd name="connsiteX4135" fmla="*/ 1926362 w 11683878"/>
                <a:gd name="connsiteY4135" fmla="*/ 2040547 h 6246035"/>
                <a:gd name="connsiteX4136" fmla="*/ 10444770 w 11683878"/>
                <a:gd name="connsiteY4136" fmla="*/ 2025910 h 6246035"/>
                <a:gd name="connsiteX4137" fmla="*/ 10407584 w 11683878"/>
                <a:gd name="connsiteY4137" fmla="*/ 2031570 h 6246035"/>
                <a:gd name="connsiteX4138" fmla="*/ 10407583 w 11683878"/>
                <a:gd name="connsiteY4138" fmla="*/ 2031573 h 6246035"/>
                <a:gd name="connsiteX4139" fmla="*/ 10444769 w 11683878"/>
                <a:gd name="connsiteY4139" fmla="*/ 2025913 h 6246035"/>
                <a:gd name="connsiteX4140" fmla="*/ 9608831 w 11683878"/>
                <a:gd name="connsiteY4140" fmla="*/ 2024118 h 6246035"/>
                <a:gd name="connsiteX4141" fmla="*/ 9608828 w 11683878"/>
                <a:gd name="connsiteY4141" fmla="*/ 2024119 h 6246035"/>
                <a:gd name="connsiteX4142" fmla="*/ 9609805 w 11683878"/>
                <a:gd name="connsiteY4142" fmla="*/ 2026249 h 6246035"/>
                <a:gd name="connsiteX4143" fmla="*/ 2171781 w 11683878"/>
                <a:gd name="connsiteY4143" fmla="*/ 2009222 h 6246035"/>
                <a:gd name="connsiteX4144" fmla="*/ 2171133 w 11683878"/>
                <a:gd name="connsiteY4144" fmla="*/ 2010209 h 6246035"/>
                <a:gd name="connsiteX4145" fmla="*/ 2172363 w 11683878"/>
                <a:gd name="connsiteY4145" fmla="*/ 2009327 h 6246035"/>
                <a:gd name="connsiteX4146" fmla="*/ 1522721 w 11683878"/>
                <a:gd name="connsiteY4146" fmla="*/ 1999770 h 6246035"/>
                <a:gd name="connsiteX4147" fmla="*/ 1521753 w 11683878"/>
                <a:gd name="connsiteY4147" fmla="*/ 1999841 h 6246035"/>
                <a:gd name="connsiteX4148" fmla="*/ 1520797 w 11683878"/>
                <a:gd name="connsiteY4148" fmla="*/ 2033637 h 6246035"/>
                <a:gd name="connsiteX4149" fmla="*/ 1567416 w 11683878"/>
                <a:gd name="connsiteY4149" fmla="*/ 1996495 h 6246035"/>
                <a:gd name="connsiteX4150" fmla="*/ 1567360 w 11683878"/>
                <a:gd name="connsiteY4150" fmla="*/ 1996499 h 6246035"/>
                <a:gd name="connsiteX4151" fmla="*/ 1567416 w 11683878"/>
                <a:gd name="connsiteY4151" fmla="*/ 1996496 h 6246035"/>
                <a:gd name="connsiteX4152" fmla="*/ 1902562 w 11683878"/>
                <a:gd name="connsiteY4152" fmla="*/ 1995473 h 6246035"/>
                <a:gd name="connsiteX4153" fmla="*/ 1900820 w 11683878"/>
                <a:gd name="connsiteY4153" fmla="*/ 1995747 h 6246035"/>
                <a:gd name="connsiteX4154" fmla="*/ 1903617 w 11683878"/>
                <a:gd name="connsiteY4154" fmla="*/ 2019941 h 6246035"/>
                <a:gd name="connsiteX4155" fmla="*/ 9588503 w 11683878"/>
                <a:gd name="connsiteY4155" fmla="*/ 1995285 h 6246035"/>
                <a:gd name="connsiteX4156" fmla="*/ 9588324 w 11683878"/>
                <a:gd name="connsiteY4156" fmla="*/ 1995316 h 6246035"/>
                <a:gd name="connsiteX4157" fmla="*/ 9593831 w 11683878"/>
                <a:gd name="connsiteY4157" fmla="*/ 2027368 h 6246035"/>
                <a:gd name="connsiteX4158" fmla="*/ 9593985 w 11683878"/>
                <a:gd name="connsiteY4158" fmla="*/ 2027335 h 6246035"/>
                <a:gd name="connsiteX4159" fmla="*/ 1837329 w 11683878"/>
                <a:gd name="connsiteY4159" fmla="*/ 1988560 h 6246035"/>
                <a:gd name="connsiteX4160" fmla="*/ 1855007 w 11683878"/>
                <a:gd name="connsiteY4160" fmla="*/ 2002949 h 6246035"/>
                <a:gd name="connsiteX4161" fmla="*/ 1855037 w 11683878"/>
                <a:gd name="connsiteY4161" fmla="*/ 2002943 h 6246035"/>
                <a:gd name="connsiteX4162" fmla="*/ 1855007 w 11683878"/>
                <a:gd name="connsiteY4162" fmla="*/ 2002948 h 6246035"/>
                <a:gd name="connsiteX4163" fmla="*/ 2227985 w 11683878"/>
                <a:gd name="connsiteY4163" fmla="*/ 1988282 h 6246035"/>
                <a:gd name="connsiteX4164" fmla="*/ 2227976 w 11683878"/>
                <a:gd name="connsiteY4164" fmla="*/ 1988289 h 6246035"/>
                <a:gd name="connsiteX4165" fmla="*/ 2249992 w 11683878"/>
                <a:gd name="connsiteY4165" fmla="*/ 1999547 h 6246035"/>
                <a:gd name="connsiteX4166" fmla="*/ 2249993 w 11683878"/>
                <a:gd name="connsiteY4166" fmla="*/ 1999546 h 6246035"/>
                <a:gd name="connsiteX4167" fmla="*/ 2279289 w 11683878"/>
                <a:gd name="connsiteY4167" fmla="*/ 2007866 h 6246035"/>
                <a:gd name="connsiteX4168" fmla="*/ 2227978 w 11683878"/>
                <a:gd name="connsiteY4168" fmla="*/ 1988289 h 6246035"/>
                <a:gd name="connsiteX4169" fmla="*/ 2499507 w 11683878"/>
                <a:gd name="connsiteY4169" fmla="*/ 1975690 h 6246035"/>
                <a:gd name="connsiteX4170" fmla="*/ 2452284 w 11683878"/>
                <a:gd name="connsiteY4170" fmla="*/ 2005913 h 6246035"/>
                <a:gd name="connsiteX4171" fmla="*/ 2452480 w 11683878"/>
                <a:gd name="connsiteY4171" fmla="*/ 2006120 h 6246035"/>
                <a:gd name="connsiteX4172" fmla="*/ 2507388 w 11683878"/>
                <a:gd name="connsiteY4172" fmla="*/ 1970008 h 6246035"/>
                <a:gd name="connsiteX4173" fmla="*/ 2507549 w 11683878"/>
                <a:gd name="connsiteY4173" fmla="*/ 1970487 h 6246035"/>
                <a:gd name="connsiteX4174" fmla="*/ 2507607 w 11683878"/>
                <a:gd name="connsiteY4174" fmla="*/ 1970450 h 6246035"/>
                <a:gd name="connsiteX4175" fmla="*/ 1589826 w 11683878"/>
                <a:gd name="connsiteY4175" fmla="*/ 1968191 h 6246035"/>
                <a:gd name="connsiteX4176" fmla="*/ 1562754 w 11683878"/>
                <a:gd name="connsiteY4176" fmla="*/ 1976861 h 6246035"/>
                <a:gd name="connsiteX4177" fmla="*/ 1589826 w 11683878"/>
                <a:gd name="connsiteY4177" fmla="*/ 1968192 h 6246035"/>
                <a:gd name="connsiteX4178" fmla="*/ 9650836 w 11683878"/>
                <a:gd name="connsiteY4178" fmla="*/ 1945406 h 6246035"/>
                <a:gd name="connsiteX4179" fmla="*/ 9650636 w 11683878"/>
                <a:gd name="connsiteY4179" fmla="*/ 1945485 h 6246035"/>
                <a:gd name="connsiteX4180" fmla="*/ 9617705 w 11683878"/>
                <a:gd name="connsiteY4180" fmla="*/ 1990040 h 6246035"/>
                <a:gd name="connsiteX4181" fmla="*/ 9617813 w 11683878"/>
                <a:gd name="connsiteY4181" fmla="*/ 1990021 h 6246035"/>
                <a:gd name="connsiteX4182" fmla="*/ 10373851 w 11683878"/>
                <a:gd name="connsiteY4182" fmla="*/ 1943162 h 6246035"/>
                <a:gd name="connsiteX4183" fmla="*/ 10323742 w 11683878"/>
                <a:gd name="connsiteY4183" fmla="*/ 1952579 h 6246035"/>
                <a:gd name="connsiteX4184" fmla="*/ 10323747 w 11683878"/>
                <a:gd name="connsiteY4184" fmla="*/ 1952583 h 6246035"/>
                <a:gd name="connsiteX4185" fmla="*/ 10373855 w 11683878"/>
                <a:gd name="connsiteY4185" fmla="*/ 1943165 h 6246035"/>
                <a:gd name="connsiteX4186" fmla="*/ 2215450 w 11683878"/>
                <a:gd name="connsiteY4186" fmla="*/ 1931753 h 6246035"/>
                <a:gd name="connsiteX4187" fmla="*/ 2219616 w 11683878"/>
                <a:gd name="connsiteY4187" fmla="*/ 1931998 h 6246035"/>
                <a:gd name="connsiteX4188" fmla="*/ 2243892 w 11683878"/>
                <a:gd name="connsiteY4188" fmla="*/ 1971714 h 6246035"/>
                <a:gd name="connsiteX4189" fmla="*/ 2244040 w 11683878"/>
                <a:gd name="connsiteY4189" fmla="*/ 1971561 h 6246035"/>
                <a:gd name="connsiteX4190" fmla="*/ 2219619 w 11683878"/>
                <a:gd name="connsiteY4190" fmla="*/ 1931998 h 6246035"/>
                <a:gd name="connsiteX4191" fmla="*/ 1776801 w 11683878"/>
                <a:gd name="connsiteY4191" fmla="*/ 1922055 h 6246035"/>
                <a:gd name="connsiteX4192" fmla="*/ 1777858 w 11683878"/>
                <a:gd name="connsiteY4192" fmla="*/ 1923981 h 6246035"/>
                <a:gd name="connsiteX4193" fmla="*/ 1781307 w 11683878"/>
                <a:gd name="connsiteY4193" fmla="*/ 1922836 h 6246035"/>
                <a:gd name="connsiteX4194" fmla="*/ 6995474 w 11683878"/>
                <a:gd name="connsiteY4194" fmla="*/ 1921861 h 6246035"/>
                <a:gd name="connsiteX4195" fmla="*/ 6992434 w 11683878"/>
                <a:gd name="connsiteY4195" fmla="*/ 1925684 h 6246035"/>
                <a:gd name="connsiteX4196" fmla="*/ 6994228 w 11683878"/>
                <a:gd name="connsiteY4196" fmla="*/ 1924181 h 6246035"/>
                <a:gd name="connsiteX4197" fmla="*/ 1571847 w 11683878"/>
                <a:gd name="connsiteY4197" fmla="*/ 1917054 h 6246035"/>
                <a:gd name="connsiteX4198" fmla="*/ 1571008 w 11683878"/>
                <a:gd name="connsiteY4198" fmla="*/ 1917163 h 6246035"/>
                <a:gd name="connsiteX4199" fmla="*/ 1589795 w 11683878"/>
                <a:gd name="connsiteY4199" fmla="*/ 1968105 h 6246035"/>
                <a:gd name="connsiteX4200" fmla="*/ 1830478 w 11683878"/>
                <a:gd name="connsiteY4200" fmla="*/ 1906503 h 6246035"/>
                <a:gd name="connsiteX4201" fmla="*/ 1830471 w 11683878"/>
                <a:gd name="connsiteY4201" fmla="*/ 1906506 h 6246035"/>
                <a:gd name="connsiteX4202" fmla="*/ 1830478 w 11683878"/>
                <a:gd name="connsiteY4202" fmla="*/ 1906504 h 6246035"/>
                <a:gd name="connsiteX4203" fmla="*/ 1834180 w 11683878"/>
                <a:gd name="connsiteY4203" fmla="*/ 1927611 h 6246035"/>
                <a:gd name="connsiteX4204" fmla="*/ 9688548 w 11683878"/>
                <a:gd name="connsiteY4204" fmla="*/ 1899901 h 6246035"/>
                <a:gd name="connsiteX4205" fmla="*/ 9727411 w 11683878"/>
                <a:gd name="connsiteY4205" fmla="*/ 1911395 h 6246035"/>
                <a:gd name="connsiteX4206" fmla="*/ 9740747 w 11683878"/>
                <a:gd name="connsiteY4206" fmla="*/ 1905480 h 6246035"/>
                <a:gd name="connsiteX4207" fmla="*/ 9688542 w 11683878"/>
                <a:gd name="connsiteY4207" fmla="*/ 1899900 h 6246035"/>
                <a:gd name="connsiteX4208" fmla="*/ 9695303 w 11683878"/>
                <a:gd name="connsiteY4208" fmla="*/ 1927810 h 6246035"/>
                <a:gd name="connsiteX4209" fmla="*/ 9687287 w 11683878"/>
                <a:gd name="connsiteY4209" fmla="*/ 1930982 h 6246035"/>
                <a:gd name="connsiteX4210" fmla="*/ 9695306 w 11683878"/>
                <a:gd name="connsiteY4210" fmla="*/ 1927810 h 6246035"/>
                <a:gd name="connsiteX4211" fmla="*/ 9688546 w 11683878"/>
                <a:gd name="connsiteY4211" fmla="*/ 1899901 h 6246035"/>
                <a:gd name="connsiteX4212" fmla="*/ 2116206 w 11683878"/>
                <a:gd name="connsiteY4212" fmla="*/ 1881536 h 6246035"/>
                <a:gd name="connsiteX4213" fmla="*/ 2123527 w 11683878"/>
                <a:gd name="connsiteY4213" fmla="*/ 1881986 h 6246035"/>
                <a:gd name="connsiteX4214" fmla="*/ 2132495 w 11683878"/>
                <a:gd name="connsiteY4214" fmla="*/ 1909480 h 6246035"/>
                <a:gd name="connsiteX4215" fmla="*/ 2132495 w 11683878"/>
                <a:gd name="connsiteY4215" fmla="*/ 1909480 h 6246035"/>
                <a:gd name="connsiteX4216" fmla="*/ 2123528 w 11683878"/>
                <a:gd name="connsiteY4216" fmla="*/ 1881986 h 6246035"/>
                <a:gd name="connsiteX4217" fmla="*/ 1599729 w 11683878"/>
                <a:gd name="connsiteY4217" fmla="*/ 1870949 h 6246035"/>
                <a:gd name="connsiteX4218" fmla="*/ 1599728 w 11683878"/>
                <a:gd name="connsiteY4218" fmla="*/ 1870950 h 6246035"/>
                <a:gd name="connsiteX4219" fmla="*/ 1599729 w 11683878"/>
                <a:gd name="connsiteY4219" fmla="*/ 1870950 h 6246035"/>
                <a:gd name="connsiteX4220" fmla="*/ 1609270 w 11683878"/>
                <a:gd name="connsiteY4220" fmla="*/ 1885035 h 6246035"/>
                <a:gd name="connsiteX4221" fmla="*/ 1614740 w 11683878"/>
                <a:gd name="connsiteY4221" fmla="*/ 1882769 h 6246035"/>
                <a:gd name="connsiteX4222" fmla="*/ 2156418 w 11683878"/>
                <a:gd name="connsiteY4222" fmla="*/ 1870194 h 6246035"/>
                <a:gd name="connsiteX4223" fmla="*/ 2156417 w 11683878"/>
                <a:gd name="connsiteY4223" fmla="*/ 1870195 h 6246035"/>
                <a:gd name="connsiteX4224" fmla="*/ 2188798 w 11683878"/>
                <a:gd name="connsiteY4224" fmla="*/ 1908207 h 6246035"/>
                <a:gd name="connsiteX4225" fmla="*/ 2185399 w 11683878"/>
                <a:gd name="connsiteY4225" fmla="*/ 1929986 h 6246035"/>
                <a:gd name="connsiteX4226" fmla="*/ 2185400 w 11683878"/>
                <a:gd name="connsiteY4226" fmla="*/ 1929986 h 6246035"/>
                <a:gd name="connsiteX4227" fmla="*/ 2188799 w 11683878"/>
                <a:gd name="connsiteY4227" fmla="*/ 1908207 h 6246035"/>
                <a:gd name="connsiteX4228" fmla="*/ 1687359 w 11683878"/>
                <a:gd name="connsiteY4228" fmla="*/ 1865058 h 6246035"/>
                <a:gd name="connsiteX4229" fmla="*/ 1648867 w 11683878"/>
                <a:gd name="connsiteY4229" fmla="*/ 1883161 h 6246035"/>
                <a:gd name="connsiteX4230" fmla="*/ 1653601 w 11683878"/>
                <a:gd name="connsiteY4230" fmla="*/ 1886645 h 6246035"/>
                <a:gd name="connsiteX4231" fmla="*/ 1687360 w 11683878"/>
                <a:gd name="connsiteY4231" fmla="*/ 1865057 h 6246035"/>
                <a:gd name="connsiteX4232" fmla="*/ 1707669 w 11683878"/>
                <a:gd name="connsiteY4232" fmla="*/ 1905447 h 6246035"/>
                <a:gd name="connsiteX4233" fmla="*/ 1762594 w 11683878"/>
                <a:gd name="connsiteY4233" fmla="*/ 1896166 h 6246035"/>
                <a:gd name="connsiteX4234" fmla="*/ 1762594 w 11683878"/>
                <a:gd name="connsiteY4234" fmla="*/ 1896168 h 6246035"/>
                <a:gd name="connsiteX4235" fmla="*/ 1762594 w 11683878"/>
                <a:gd name="connsiteY4235" fmla="*/ 1896165 h 6246035"/>
                <a:gd name="connsiteX4236" fmla="*/ 1707669 w 11683878"/>
                <a:gd name="connsiteY4236" fmla="*/ 1905446 h 6246035"/>
                <a:gd name="connsiteX4237" fmla="*/ 1687361 w 11683878"/>
                <a:gd name="connsiteY4237" fmla="*/ 1865057 h 6246035"/>
                <a:gd name="connsiteX4238" fmla="*/ 9745820 w 11683878"/>
                <a:gd name="connsiteY4238" fmla="*/ 1860898 h 6246035"/>
                <a:gd name="connsiteX4239" fmla="*/ 9745670 w 11683878"/>
                <a:gd name="connsiteY4239" fmla="*/ 1903297 h 6246035"/>
                <a:gd name="connsiteX4240" fmla="*/ 9751499 w 11683878"/>
                <a:gd name="connsiteY4240" fmla="*/ 1900711 h 6246035"/>
                <a:gd name="connsiteX4241" fmla="*/ 2497750 w 11683878"/>
                <a:gd name="connsiteY4241" fmla="*/ 1860404 h 6246035"/>
                <a:gd name="connsiteX4242" fmla="*/ 2482802 w 11683878"/>
                <a:gd name="connsiteY4242" fmla="*/ 1896564 h 6246035"/>
                <a:gd name="connsiteX4243" fmla="*/ 2486943 w 11683878"/>
                <a:gd name="connsiteY4243" fmla="*/ 1908931 h 6246035"/>
                <a:gd name="connsiteX4244" fmla="*/ 9779129 w 11683878"/>
                <a:gd name="connsiteY4244" fmla="*/ 1823805 h 6246035"/>
                <a:gd name="connsiteX4245" fmla="*/ 9745826 w 11683878"/>
                <a:gd name="connsiteY4245" fmla="*/ 1859291 h 6246035"/>
                <a:gd name="connsiteX4246" fmla="*/ 9745825 w 11683878"/>
                <a:gd name="connsiteY4246" fmla="*/ 1859486 h 6246035"/>
                <a:gd name="connsiteX4247" fmla="*/ 9779343 w 11683878"/>
                <a:gd name="connsiteY4247" fmla="*/ 1824026 h 6246035"/>
                <a:gd name="connsiteX4248" fmla="*/ 9916945 w 11683878"/>
                <a:gd name="connsiteY4248" fmla="*/ 1807528 h 6246035"/>
                <a:gd name="connsiteX4249" fmla="*/ 9839348 w 11683878"/>
                <a:gd name="connsiteY4249" fmla="*/ 1841057 h 6246035"/>
                <a:gd name="connsiteX4250" fmla="*/ 9839349 w 11683878"/>
                <a:gd name="connsiteY4250" fmla="*/ 1841058 h 6246035"/>
                <a:gd name="connsiteX4251" fmla="*/ 9916947 w 11683878"/>
                <a:gd name="connsiteY4251" fmla="*/ 1807528 h 6246035"/>
                <a:gd name="connsiteX4252" fmla="*/ 10011365 w 11683878"/>
                <a:gd name="connsiteY4252" fmla="*/ 1781511 h 6246035"/>
                <a:gd name="connsiteX4253" fmla="*/ 9972889 w 11683878"/>
                <a:gd name="connsiteY4253" fmla="*/ 1819952 h 6246035"/>
                <a:gd name="connsiteX4254" fmla="*/ 9972892 w 11683878"/>
                <a:gd name="connsiteY4254" fmla="*/ 1819953 h 6246035"/>
                <a:gd name="connsiteX4255" fmla="*/ 10013634 w 11683878"/>
                <a:gd name="connsiteY4255" fmla="*/ 1781740 h 6246035"/>
                <a:gd name="connsiteX4256" fmla="*/ 9791104 w 11683878"/>
                <a:gd name="connsiteY4256" fmla="*/ 1775790 h 6246035"/>
                <a:gd name="connsiteX4257" fmla="*/ 9734824 w 11683878"/>
                <a:gd name="connsiteY4257" fmla="*/ 1795004 h 6246035"/>
                <a:gd name="connsiteX4258" fmla="*/ 9777939 w 11683878"/>
                <a:gd name="connsiteY4258" fmla="*/ 1822575 h 6246035"/>
                <a:gd name="connsiteX4259" fmla="*/ 9753150 w 11683878"/>
                <a:gd name="connsiteY4259" fmla="*/ 1796959 h 6246035"/>
                <a:gd name="connsiteX4260" fmla="*/ 9794589 w 11683878"/>
                <a:gd name="connsiteY4260" fmla="*/ 1774600 h 6246035"/>
                <a:gd name="connsiteX4261" fmla="*/ 9793896 w 11683878"/>
                <a:gd name="connsiteY4261" fmla="*/ 1774837 h 6246035"/>
                <a:gd name="connsiteX4262" fmla="*/ 9839001 w 11683878"/>
                <a:gd name="connsiteY4262" fmla="*/ 1840551 h 6246035"/>
                <a:gd name="connsiteX4263" fmla="*/ 2996344 w 11683878"/>
                <a:gd name="connsiteY4263" fmla="*/ 1756161 h 6246035"/>
                <a:gd name="connsiteX4264" fmla="*/ 2997380 w 11683878"/>
                <a:gd name="connsiteY4264" fmla="*/ 1756747 h 6246035"/>
                <a:gd name="connsiteX4265" fmla="*/ 3217180 w 11683878"/>
                <a:gd name="connsiteY4265" fmla="*/ 1781403 h 6246035"/>
                <a:gd name="connsiteX4266" fmla="*/ 3239920 w 11683878"/>
                <a:gd name="connsiteY4266" fmla="*/ 1776493 h 6246035"/>
                <a:gd name="connsiteX4267" fmla="*/ 10131311 w 11683878"/>
                <a:gd name="connsiteY4267" fmla="*/ 1754287 h 6246035"/>
                <a:gd name="connsiteX4268" fmla="*/ 10130890 w 11683878"/>
                <a:gd name="connsiteY4268" fmla="*/ 1755005 h 6246035"/>
                <a:gd name="connsiteX4269" fmla="*/ 10070873 w 11683878"/>
                <a:gd name="connsiteY4269" fmla="*/ 1786646 h 6246035"/>
                <a:gd name="connsiteX4270" fmla="*/ 10072006 w 11683878"/>
                <a:gd name="connsiteY4270" fmla="*/ 1786768 h 6246035"/>
                <a:gd name="connsiteX4271" fmla="*/ 10130895 w 11683878"/>
                <a:gd name="connsiteY4271" fmla="*/ 1755004 h 6246035"/>
                <a:gd name="connsiteX4272" fmla="*/ 3735492 w 11683878"/>
                <a:gd name="connsiteY4272" fmla="*/ 1735909 h 6246035"/>
                <a:gd name="connsiteX4273" fmla="*/ 3804428 w 11683878"/>
                <a:gd name="connsiteY4273" fmla="*/ 1740665 h 6246035"/>
                <a:gd name="connsiteX4274" fmla="*/ 3833530 w 11683878"/>
                <a:gd name="connsiteY4274" fmla="*/ 1774295 h 6246035"/>
                <a:gd name="connsiteX4275" fmla="*/ 3845053 w 11683878"/>
                <a:gd name="connsiteY4275" fmla="*/ 1838372 h 6246035"/>
                <a:gd name="connsiteX4276" fmla="*/ 3835754 w 11683878"/>
                <a:gd name="connsiteY4276" fmla="*/ 1876618 h 6246035"/>
                <a:gd name="connsiteX4277" fmla="*/ 3790783 w 11683878"/>
                <a:gd name="connsiteY4277" fmla="*/ 1904031 h 6246035"/>
                <a:gd name="connsiteX4278" fmla="*/ 3709270 w 11683878"/>
                <a:gd name="connsiteY4278" fmla="*/ 1910908 h 6246035"/>
                <a:gd name="connsiteX4279" fmla="*/ 3651787 w 11683878"/>
                <a:gd name="connsiteY4279" fmla="*/ 1840195 h 6246035"/>
                <a:gd name="connsiteX4280" fmla="*/ 3672762 w 11683878"/>
                <a:gd name="connsiteY4280" fmla="*/ 1781762 h 6246035"/>
                <a:gd name="connsiteX4281" fmla="*/ 9721870 w 11683878"/>
                <a:gd name="connsiteY4281" fmla="*/ 1734286 h 6246035"/>
                <a:gd name="connsiteX4282" fmla="*/ 9734568 w 11683878"/>
                <a:gd name="connsiteY4282" fmla="*/ 1794840 h 6246035"/>
                <a:gd name="connsiteX4283" fmla="*/ 9734768 w 11683878"/>
                <a:gd name="connsiteY4283" fmla="*/ 1794968 h 6246035"/>
                <a:gd name="connsiteX4284" fmla="*/ 10152613 w 11683878"/>
                <a:gd name="connsiteY4284" fmla="*/ 1729802 h 6246035"/>
                <a:gd name="connsiteX4285" fmla="*/ 10164723 w 11683878"/>
                <a:gd name="connsiteY4285" fmla="*/ 1743839 h 6246035"/>
                <a:gd name="connsiteX4286" fmla="*/ 10199346 w 11683878"/>
                <a:gd name="connsiteY4286" fmla="*/ 1744844 h 6246035"/>
                <a:gd name="connsiteX4287" fmla="*/ 9678938 w 11683878"/>
                <a:gd name="connsiteY4287" fmla="*/ 1715458 h 6246035"/>
                <a:gd name="connsiteX4288" fmla="*/ 9614446 w 11683878"/>
                <a:gd name="connsiteY4288" fmla="*/ 1729360 h 6246035"/>
                <a:gd name="connsiteX4289" fmla="*/ 9679020 w 11683878"/>
                <a:gd name="connsiteY4289" fmla="*/ 1715492 h 6246035"/>
                <a:gd name="connsiteX4290" fmla="*/ 10130976 w 11683878"/>
                <a:gd name="connsiteY4290" fmla="*/ 1705568 h 6246035"/>
                <a:gd name="connsiteX4291" fmla="*/ 10130597 w 11683878"/>
                <a:gd name="connsiteY4291" fmla="*/ 1722603 h 6246035"/>
                <a:gd name="connsiteX4292" fmla="*/ 10130813 w 11683878"/>
                <a:gd name="connsiteY4292" fmla="*/ 1722629 h 6246035"/>
                <a:gd name="connsiteX4293" fmla="*/ 1627528 w 11683878"/>
                <a:gd name="connsiteY4293" fmla="*/ 1697498 h 6246035"/>
                <a:gd name="connsiteX4294" fmla="*/ 1618647 w 11683878"/>
                <a:gd name="connsiteY4294" fmla="*/ 1733536 h 6246035"/>
                <a:gd name="connsiteX4295" fmla="*/ 1650810 w 11683878"/>
                <a:gd name="connsiteY4295" fmla="*/ 1783103 h 6246035"/>
                <a:gd name="connsiteX4296" fmla="*/ 1627410 w 11683878"/>
                <a:gd name="connsiteY4296" fmla="*/ 1825775 h 6246035"/>
                <a:gd name="connsiteX4297" fmla="*/ 1650812 w 11683878"/>
                <a:gd name="connsiteY4297" fmla="*/ 1783103 h 6246035"/>
                <a:gd name="connsiteX4298" fmla="*/ 1618647 w 11683878"/>
                <a:gd name="connsiteY4298" fmla="*/ 1733536 h 6246035"/>
                <a:gd name="connsiteX4299" fmla="*/ 1633761 w 11683878"/>
                <a:gd name="connsiteY4299" fmla="*/ 1705529 h 6246035"/>
                <a:gd name="connsiteX4300" fmla="*/ 9568087 w 11683878"/>
                <a:gd name="connsiteY4300" fmla="*/ 1678708 h 6246035"/>
                <a:gd name="connsiteX4301" fmla="*/ 9568077 w 11683878"/>
                <a:gd name="connsiteY4301" fmla="*/ 1678720 h 6246035"/>
                <a:gd name="connsiteX4302" fmla="*/ 9580588 w 11683878"/>
                <a:gd name="connsiteY4302" fmla="*/ 1704991 h 6246035"/>
                <a:gd name="connsiteX4303" fmla="*/ 10156226 w 11683878"/>
                <a:gd name="connsiteY4303" fmla="*/ 1675719 h 6246035"/>
                <a:gd name="connsiteX4304" fmla="*/ 10131380 w 11683878"/>
                <a:gd name="connsiteY4304" fmla="*/ 1687446 h 6246035"/>
                <a:gd name="connsiteX4305" fmla="*/ 10131332 w 11683878"/>
                <a:gd name="connsiteY4305" fmla="*/ 1689586 h 6246035"/>
                <a:gd name="connsiteX4306" fmla="*/ 10156208 w 11683878"/>
                <a:gd name="connsiteY4306" fmla="*/ 1675945 h 6246035"/>
                <a:gd name="connsiteX4307" fmla="*/ 10159582 w 11683878"/>
                <a:gd name="connsiteY4307" fmla="*/ 1650324 h 6246035"/>
                <a:gd name="connsiteX4308" fmla="*/ 10158140 w 11683878"/>
                <a:gd name="connsiteY4308" fmla="*/ 1650604 h 6246035"/>
                <a:gd name="connsiteX4309" fmla="*/ 10157220 w 11683878"/>
                <a:gd name="connsiteY4309" fmla="*/ 1663613 h 6246035"/>
                <a:gd name="connsiteX4310" fmla="*/ 10158289 w 11683878"/>
                <a:gd name="connsiteY4310" fmla="*/ 1650579 h 6246035"/>
                <a:gd name="connsiteX4311" fmla="*/ 9551136 w 11683878"/>
                <a:gd name="connsiteY4311" fmla="*/ 1613479 h 6246035"/>
                <a:gd name="connsiteX4312" fmla="*/ 9544929 w 11683878"/>
                <a:gd name="connsiteY4312" fmla="*/ 1626125 h 6246035"/>
                <a:gd name="connsiteX4313" fmla="*/ 9555564 w 11683878"/>
                <a:gd name="connsiteY4313" fmla="*/ 1657709 h 6246035"/>
                <a:gd name="connsiteX4314" fmla="*/ 9584818 w 11683878"/>
                <a:gd name="connsiteY4314" fmla="*/ 1659617 h 6246035"/>
                <a:gd name="connsiteX4315" fmla="*/ 9555560 w 11683878"/>
                <a:gd name="connsiteY4315" fmla="*/ 1657636 h 6246035"/>
                <a:gd name="connsiteX4316" fmla="*/ 10208793 w 11683878"/>
                <a:gd name="connsiteY4316" fmla="*/ 1607611 h 6246035"/>
                <a:gd name="connsiteX4317" fmla="*/ 10205322 w 11683878"/>
                <a:gd name="connsiteY4317" fmla="*/ 1609591 h 6246035"/>
                <a:gd name="connsiteX4318" fmla="*/ 10218791 w 11683878"/>
                <a:gd name="connsiteY4318" fmla="*/ 1638624 h 6246035"/>
                <a:gd name="connsiteX4319" fmla="*/ 10218996 w 11683878"/>
                <a:gd name="connsiteY4319" fmla="*/ 1638583 h 6246035"/>
                <a:gd name="connsiteX4320" fmla="*/ 8019676 w 11683878"/>
                <a:gd name="connsiteY4320" fmla="*/ 1598999 h 6246035"/>
                <a:gd name="connsiteX4321" fmla="*/ 8080704 w 11683878"/>
                <a:gd name="connsiteY4321" fmla="*/ 1622063 h 6246035"/>
                <a:gd name="connsiteX4322" fmla="*/ 8099089 w 11683878"/>
                <a:gd name="connsiteY4322" fmla="*/ 1655416 h 6246035"/>
                <a:gd name="connsiteX4323" fmla="*/ 8087413 w 11683878"/>
                <a:gd name="connsiteY4323" fmla="*/ 1684891 h 6246035"/>
                <a:gd name="connsiteX4324" fmla="*/ 8059105 w 11683878"/>
                <a:gd name="connsiteY4324" fmla="*/ 1695744 h 6246035"/>
                <a:gd name="connsiteX4325" fmla="*/ 7993728 w 11683878"/>
                <a:gd name="connsiteY4325" fmla="*/ 1670329 h 6246035"/>
                <a:gd name="connsiteX4326" fmla="*/ 7976454 w 11683878"/>
                <a:gd name="connsiteY4326" fmla="*/ 1648235 h 6246035"/>
                <a:gd name="connsiteX4327" fmla="*/ 7981133 w 11683878"/>
                <a:gd name="connsiteY4327" fmla="*/ 1612446 h 6246035"/>
                <a:gd name="connsiteX4328" fmla="*/ 10240300 w 11683878"/>
                <a:gd name="connsiteY4328" fmla="*/ 1589641 h 6246035"/>
                <a:gd name="connsiteX4329" fmla="*/ 10240062 w 11683878"/>
                <a:gd name="connsiteY4329" fmla="*/ 1589777 h 6246035"/>
                <a:gd name="connsiteX4330" fmla="*/ 10259581 w 11683878"/>
                <a:gd name="connsiteY4330" fmla="*/ 1595503 h 6246035"/>
                <a:gd name="connsiteX4331" fmla="*/ 2830168 w 11683878"/>
                <a:gd name="connsiteY4331" fmla="*/ 1582282 h 6246035"/>
                <a:gd name="connsiteX4332" fmla="*/ 2830168 w 11683878"/>
                <a:gd name="connsiteY4332" fmla="*/ 1582355 h 6246035"/>
                <a:gd name="connsiteX4333" fmla="*/ 2910516 w 11683878"/>
                <a:gd name="connsiteY4333" fmla="*/ 1707595 h 6246035"/>
                <a:gd name="connsiteX4334" fmla="*/ 2910664 w 11683878"/>
                <a:gd name="connsiteY4334" fmla="*/ 1707679 h 6246035"/>
                <a:gd name="connsiteX4335" fmla="*/ 2910520 w 11683878"/>
                <a:gd name="connsiteY4335" fmla="*/ 1707595 h 6246035"/>
                <a:gd name="connsiteX4336" fmla="*/ 2830170 w 11683878"/>
                <a:gd name="connsiteY4336" fmla="*/ 1582355 h 6246035"/>
                <a:gd name="connsiteX4337" fmla="*/ 10275960 w 11683878"/>
                <a:gd name="connsiteY4337" fmla="*/ 1578060 h 6246035"/>
                <a:gd name="connsiteX4338" fmla="*/ 10272322 w 11683878"/>
                <a:gd name="connsiteY4338" fmla="*/ 1599241 h 6246035"/>
                <a:gd name="connsiteX4339" fmla="*/ 10272414 w 11683878"/>
                <a:gd name="connsiteY4339" fmla="*/ 1599268 h 6246035"/>
                <a:gd name="connsiteX4340" fmla="*/ 10313173 w 11683878"/>
                <a:gd name="connsiteY4340" fmla="*/ 1550202 h 6246035"/>
                <a:gd name="connsiteX4341" fmla="*/ 10282149 w 11683878"/>
                <a:gd name="connsiteY4341" fmla="*/ 1570626 h 6246035"/>
                <a:gd name="connsiteX4342" fmla="*/ 10313164 w 11683878"/>
                <a:gd name="connsiteY4342" fmla="*/ 1550281 h 6246035"/>
                <a:gd name="connsiteX4343" fmla="*/ 10722820 w 11683878"/>
                <a:gd name="connsiteY4343" fmla="*/ 1537685 h 6246035"/>
                <a:gd name="connsiteX4344" fmla="*/ 10737778 w 11683878"/>
                <a:gd name="connsiteY4344" fmla="*/ 1543286 h 6246035"/>
                <a:gd name="connsiteX4345" fmla="*/ 10737976 w 11683878"/>
                <a:gd name="connsiteY4345" fmla="*/ 1543042 h 6246035"/>
                <a:gd name="connsiteX4346" fmla="*/ 3385268 w 11683878"/>
                <a:gd name="connsiteY4346" fmla="*/ 1536026 h 6246035"/>
                <a:gd name="connsiteX4347" fmla="*/ 3385261 w 11683878"/>
                <a:gd name="connsiteY4347" fmla="*/ 1536037 h 6246035"/>
                <a:gd name="connsiteX4348" fmla="*/ 3267322 w 11683878"/>
                <a:gd name="connsiteY4348" fmla="*/ 1810410 h 6246035"/>
                <a:gd name="connsiteX4349" fmla="*/ 3253320 w 11683878"/>
                <a:gd name="connsiteY4349" fmla="*/ 1915563 h 6246035"/>
                <a:gd name="connsiteX4350" fmla="*/ 3257673 w 11683878"/>
                <a:gd name="connsiteY4350" fmla="*/ 1965583 h 6246035"/>
                <a:gd name="connsiteX4351" fmla="*/ 3272340 w 11683878"/>
                <a:gd name="connsiteY4351" fmla="*/ 1993002 h 6246035"/>
                <a:gd name="connsiteX4352" fmla="*/ 3253320 w 11683878"/>
                <a:gd name="connsiteY4352" fmla="*/ 1915563 h 6246035"/>
                <a:gd name="connsiteX4353" fmla="*/ 3267323 w 11683878"/>
                <a:gd name="connsiteY4353" fmla="*/ 1810410 h 6246035"/>
                <a:gd name="connsiteX4354" fmla="*/ 10678904 w 11683878"/>
                <a:gd name="connsiteY4354" fmla="*/ 1522162 h 6246035"/>
                <a:gd name="connsiteX4355" fmla="*/ 10563457 w 11683878"/>
                <a:gd name="connsiteY4355" fmla="*/ 1581561 h 6246035"/>
                <a:gd name="connsiteX4356" fmla="*/ 10563477 w 11683878"/>
                <a:gd name="connsiteY4356" fmla="*/ 1581645 h 6246035"/>
                <a:gd name="connsiteX4357" fmla="*/ 10679681 w 11683878"/>
                <a:gd name="connsiteY4357" fmla="*/ 1522437 h 6246035"/>
                <a:gd name="connsiteX4358" fmla="*/ 10317434 w 11683878"/>
                <a:gd name="connsiteY4358" fmla="*/ 1516165 h 6246035"/>
                <a:gd name="connsiteX4359" fmla="*/ 10317412 w 11683878"/>
                <a:gd name="connsiteY4359" fmla="*/ 1516343 h 6246035"/>
                <a:gd name="connsiteX4360" fmla="*/ 10373836 w 11683878"/>
                <a:gd name="connsiteY4360" fmla="*/ 1517955 h 6246035"/>
                <a:gd name="connsiteX4361" fmla="*/ 10373937 w 11683878"/>
                <a:gd name="connsiteY4361" fmla="*/ 1517819 h 6246035"/>
                <a:gd name="connsiteX4362" fmla="*/ 10765315 w 11683878"/>
                <a:gd name="connsiteY4362" fmla="*/ 1509147 h 6246035"/>
                <a:gd name="connsiteX4363" fmla="*/ 10759686 w 11683878"/>
                <a:gd name="connsiteY4363" fmla="*/ 1516218 h 6246035"/>
                <a:gd name="connsiteX4364" fmla="*/ 10765322 w 11683878"/>
                <a:gd name="connsiteY4364" fmla="*/ 1509254 h 6246035"/>
                <a:gd name="connsiteX4365" fmla="*/ 10408047 w 11683878"/>
                <a:gd name="connsiteY4365" fmla="*/ 1471810 h 6246035"/>
                <a:gd name="connsiteX4366" fmla="*/ 10408046 w 11683878"/>
                <a:gd name="connsiteY4366" fmla="*/ 1471812 h 6246035"/>
                <a:gd name="connsiteX4367" fmla="*/ 10462785 w 11683878"/>
                <a:gd name="connsiteY4367" fmla="*/ 1479572 h 6246035"/>
                <a:gd name="connsiteX4368" fmla="*/ 8205952 w 11683878"/>
                <a:gd name="connsiteY4368" fmla="*/ 1469758 h 6246035"/>
                <a:gd name="connsiteX4369" fmla="*/ 8388315 w 11683878"/>
                <a:gd name="connsiteY4369" fmla="*/ 1491258 h 6246035"/>
                <a:gd name="connsiteX4370" fmla="*/ 8448503 w 11683878"/>
                <a:gd name="connsiteY4370" fmla="*/ 1544909 h 6246035"/>
                <a:gd name="connsiteX4371" fmla="*/ 8448503 w 11683878"/>
                <a:gd name="connsiteY4371" fmla="*/ 1571490 h 6246035"/>
                <a:gd name="connsiteX4372" fmla="*/ 8420467 w 11683878"/>
                <a:gd name="connsiteY4372" fmla="*/ 1602354 h 6246035"/>
                <a:gd name="connsiteX4373" fmla="*/ 8309557 w 11683878"/>
                <a:gd name="connsiteY4373" fmla="*/ 1639707 h 6246035"/>
                <a:gd name="connsiteX4374" fmla="*/ 8263545 w 11683878"/>
                <a:gd name="connsiteY4374" fmla="*/ 1675191 h 6246035"/>
                <a:gd name="connsiteX4375" fmla="*/ 8219361 w 11683878"/>
                <a:gd name="connsiteY4375" fmla="*/ 1655677 h 6246035"/>
                <a:gd name="connsiteX4376" fmla="*/ 8219372 w 11683878"/>
                <a:gd name="connsiteY4376" fmla="*/ 1655678 h 6246035"/>
                <a:gd name="connsiteX4377" fmla="*/ 8217874 w 11683878"/>
                <a:gd name="connsiteY4377" fmla="*/ 1625295 h 6246035"/>
                <a:gd name="connsiteX4378" fmla="*/ 8239351 w 11683878"/>
                <a:gd name="connsiteY4378" fmla="*/ 1594994 h 6246035"/>
                <a:gd name="connsiteX4379" fmla="*/ 8186220 w 11683878"/>
                <a:gd name="connsiteY4379" fmla="*/ 1566954 h 6246035"/>
                <a:gd name="connsiteX4380" fmla="*/ 8165039 w 11683878"/>
                <a:gd name="connsiteY4380" fmla="*/ 1528172 h 6246035"/>
                <a:gd name="connsiteX4381" fmla="*/ 8174994 w 11683878"/>
                <a:gd name="connsiteY4381" fmla="*/ 1495046 h 6246035"/>
                <a:gd name="connsiteX4382" fmla="*/ 10784303 w 11683878"/>
                <a:gd name="connsiteY4382" fmla="*/ 1465500 h 6246035"/>
                <a:gd name="connsiteX4383" fmla="*/ 10762620 w 11683878"/>
                <a:gd name="connsiteY4383" fmla="*/ 1471478 h 6246035"/>
                <a:gd name="connsiteX4384" fmla="*/ 10763302 w 11683878"/>
                <a:gd name="connsiteY4384" fmla="*/ 1479912 h 6246035"/>
                <a:gd name="connsiteX4385" fmla="*/ 10762720 w 11683878"/>
                <a:gd name="connsiteY4385" fmla="*/ 1471452 h 6246035"/>
                <a:gd name="connsiteX4386" fmla="*/ 10784304 w 11683878"/>
                <a:gd name="connsiteY4386" fmla="*/ 1465701 h 6246035"/>
                <a:gd name="connsiteX4387" fmla="*/ 10488058 w 11683878"/>
                <a:gd name="connsiteY4387" fmla="*/ 1453958 h 6246035"/>
                <a:gd name="connsiteX4388" fmla="*/ 10488056 w 11683878"/>
                <a:gd name="connsiteY4388" fmla="*/ 1453960 h 6246035"/>
                <a:gd name="connsiteX4389" fmla="*/ 10534977 w 11683878"/>
                <a:gd name="connsiteY4389" fmla="*/ 1463501 h 6246035"/>
                <a:gd name="connsiteX4390" fmla="*/ 10539439 w 11683878"/>
                <a:gd name="connsiteY4390" fmla="*/ 1481996 h 6246035"/>
                <a:gd name="connsiteX4391" fmla="*/ 10534995 w 11683878"/>
                <a:gd name="connsiteY4391" fmla="*/ 1463502 h 6246035"/>
                <a:gd name="connsiteX4392" fmla="*/ 9629857 w 11683878"/>
                <a:gd name="connsiteY4392" fmla="*/ 1453079 h 6246035"/>
                <a:gd name="connsiteX4393" fmla="*/ 9572804 w 11683878"/>
                <a:gd name="connsiteY4393" fmla="*/ 1569327 h 6246035"/>
                <a:gd name="connsiteX4394" fmla="*/ 9617931 w 11683878"/>
                <a:gd name="connsiteY4394" fmla="*/ 1498766 h 6246035"/>
                <a:gd name="connsiteX4395" fmla="*/ 10784097 w 11683878"/>
                <a:gd name="connsiteY4395" fmla="*/ 1414855 h 6246035"/>
                <a:gd name="connsiteX4396" fmla="*/ 10784028 w 11683878"/>
                <a:gd name="connsiteY4396" fmla="*/ 1414916 h 6246035"/>
                <a:gd name="connsiteX4397" fmla="*/ 10784261 w 11683878"/>
                <a:gd name="connsiteY4397" fmla="*/ 1455232 h 6246035"/>
                <a:gd name="connsiteX4398" fmla="*/ 9677250 w 11683878"/>
                <a:gd name="connsiteY4398" fmla="*/ 1413952 h 6246035"/>
                <a:gd name="connsiteX4399" fmla="*/ 9677600 w 11683878"/>
                <a:gd name="connsiteY4399" fmla="*/ 1417326 h 6246035"/>
                <a:gd name="connsiteX4400" fmla="*/ 9678722 w 11683878"/>
                <a:gd name="connsiteY4400" fmla="*/ 1416486 h 6246035"/>
                <a:gd name="connsiteX4401" fmla="*/ 767999 w 11683878"/>
                <a:gd name="connsiteY4401" fmla="*/ 1362617 h 6246035"/>
                <a:gd name="connsiteX4402" fmla="*/ 803866 w 11683878"/>
                <a:gd name="connsiteY4402" fmla="*/ 1411518 h 6246035"/>
                <a:gd name="connsiteX4403" fmla="*/ 842036 w 11683878"/>
                <a:gd name="connsiteY4403" fmla="*/ 1418386 h 6246035"/>
                <a:gd name="connsiteX4404" fmla="*/ 840815 w 11683878"/>
                <a:gd name="connsiteY4404" fmla="*/ 1462388 h 6246035"/>
                <a:gd name="connsiteX4405" fmla="*/ 857070 w 11683878"/>
                <a:gd name="connsiteY4405" fmla="*/ 1482580 h 6246035"/>
                <a:gd name="connsiteX4406" fmla="*/ 846170 w 11683878"/>
                <a:gd name="connsiteY4406" fmla="*/ 1556112 h 6246035"/>
                <a:gd name="connsiteX4407" fmla="*/ 872832 w 11683878"/>
                <a:gd name="connsiteY4407" fmla="*/ 1593889 h 6246035"/>
                <a:gd name="connsiteX4408" fmla="*/ 849213 w 11683878"/>
                <a:gd name="connsiteY4408" fmla="*/ 1635118 h 6246035"/>
                <a:gd name="connsiteX4409" fmla="*/ 808811 w 11683878"/>
                <a:gd name="connsiteY4409" fmla="*/ 1635597 h 6246035"/>
                <a:gd name="connsiteX4410" fmla="*/ 782640 w 11683878"/>
                <a:gd name="connsiteY4410" fmla="*/ 1659761 h 6246035"/>
                <a:gd name="connsiteX4411" fmla="*/ 775178 w 11683878"/>
                <a:gd name="connsiteY4411" fmla="*/ 1648277 h 6246035"/>
                <a:gd name="connsiteX4412" fmla="*/ 697513 w 11683878"/>
                <a:gd name="connsiteY4412" fmla="*/ 1483775 h 6246035"/>
                <a:gd name="connsiteX4413" fmla="*/ 672751 w 11683878"/>
                <a:gd name="connsiteY4413" fmla="*/ 1397359 h 6246035"/>
                <a:gd name="connsiteX4414" fmla="*/ 686495 w 11683878"/>
                <a:gd name="connsiteY4414" fmla="*/ 1368123 h 6246035"/>
                <a:gd name="connsiteX4415" fmla="*/ 9626380 w 11683878"/>
                <a:gd name="connsiteY4415" fmla="*/ 1344238 h 6246035"/>
                <a:gd name="connsiteX4416" fmla="*/ 9624157 w 11683878"/>
                <a:gd name="connsiteY4416" fmla="*/ 1361560 h 6246035"/>
                <a:gd name="connsiteX4417" fmla="*/ 9627237 w 11683878"/>
                <a:gd name="connsiteY4417" fmla="*/ 1344393 h 6246035"/>
                <a:gd name="connsiteX4418" fmla="*/ 10830750 w 11683878"/>
                <a:gd name="connsiteY4418" fmla="*/ 1322917 h 6246035"/>
                <a:gd name="connsiteX4419" fmla="*/ 10828414 w 11683878"/>
                <a:gd name="connsiteY4419" fmla="*/ 1375893 h 6246035"/>
                <a:gd name="connsiteX4420" fmla="*/ 10828517 w 11683878"/>
                <a:gd name="connsiteY4420" fmla="*/ 1375803 h 6246035"/>
                <a:gd name="connsiteX4421" fmla="*/ 2746402 w 11683878"/>
                <a:gd name="connsiteY4421" fmla="*/ 1318250 h 6246035"/>
                <a:gd name="connsiteX4422" fmla="*/ 2760330 w 11683878"/>
                <a:gd name="connsiteY4422" fmla="*/ 1340084 h 6246035"/>
                <a:gd name="connsiteX4423" fmla="*/ 2799512 w 11683878"/>
                <a:gd name="connsiteY4423" fmla="*/ 1331809 h 6246035"/>
                <a:gd name="connsiteX4424" fmla="*/ 2822328 w 11683878"/>
                <a:gd name="connsiteY4424" fmla="*/ 1378544 h 6246035"/>
                <a:gd name="connsiteX4425" fmla="*/ 2822331 w 11683878"/>
                <a:gd name="connsiteY4425" fmla="*/ 1378583 h 6246035"/>
                <a:gd name="connsiteX4426" fmla="*/ 2822329 w 11683878"/>
                <a:gd name="connsiteY4426" fmla="*/ 1378543 h 6246035"/>
                <a:gd name="connsiteX4427" fmla="*/ 2799512 w 11683878"/>
                <a:gd name="connsiteY4427" fmla="*/ 1331808 h 6246035"/>
                <a:gd name="connsiteX4428" fmla="*/ 2760330 w 11683878"/>
                <a:gd name="connsiteY4428" fmla="*/ 1340083 h 6246035"/>
                <a:gd name="connsiteX4429" fmla="*/ 10907230 w 11683878"/>
                <a:gd name="connsiteY4429" fmla="*/ 1304891 h 6246035"/>
                <a:gd name="connsiteX4430" fmla="*/ 10879009 w 11683878"/>
                <a:gd name="connsiteY4430" fmla="*/ 1308609 h 6246035"/>
                <a:gd name="connsiteX4431" fmla="*/ 10879078 w 11683878"/>
                <a:gd name="connsiteY4431" fmla="*/ 1308690 h 6246035"/>
                <a:gd name="connsiteX4432" fmla="*/ 10865349 w 11683878"/>
                <a:gd name="connsiteY4432" fmla="*/ 1287711 h 6246035"/>
                <a:gd name="connsiteX4433" fmla="*/ 10862704 w 11683878"/>
                <a:gd name="connsiteY4433" fmla="*/ 1289365 h 6246035"/>
                <a:gd name="connsiteX4434" fmla="*/ 10878314 w 11683878"/>
                <a:gd name="connsiteY4434" fmla="*/ 1307789 h 6246035"/>
                <a:gd name="connsiteX4435" fmla="*/ 9490636 w 11683878"/>
                <a:gd name="connsiteY4435" fmla="*/ 1258440 h 6246035"/>
                <a:gd name="connsiteX4436" fmla="*/ 9538833 w 11683878"/>
                <a:gd name="connsiteY4436" fmla="*/ 1310859 h 6246035"/>
                <a:gd name="connsiteX4437" fmla="*/ 9539009 w 11683878"/>
                <a:gd name="connsiteY4437" fmla="*/ 1310861 h 6246035"/>
                <a:gd name="connsiteX4438" fmla="*/ 8489145 w 11683878"/>
                <a:gd name="connsiteY4438" fmla="*/ 1082933 h 6246035"/>
                <a:gd name="connsiteX4439" fmla="*/ 8526932 w 11683878"/>
                <a:gd name="connsiteY4439" fmla="*/ 1094556 h 6246035"/>
                <a:gd name="connsiteX4440" fmla="*/ 8547645 w 11683878"/>
                <a:gd name="connsiteY4440" fmla="*/ 1155803 h 6246035"/>
                <a:gd name="connsiteX4441" fmla="*/ 8512818 w 11683878"/>
                <a:gd name="connsiteY4441" fmla="*/ 1225025 h 6246035"/>
                <a:gd name="connsiteX4442" fmla="*/ 8449211 w 11683878"/>
                <a:gd name="connsiteY4442" fmla="*/ 1265731 h 6246035"/>
                <a:gd name="connsiteX4443" fmla="*/ 8335598 w 11683878"/>
                <a:gd name="connsiteY4443" fmla="*/ 1273174 h 6246035"/>
                <a:gd name="connsiteX4444" fmla="*/ 8260401 w 11683878"/>
                <a:gd name="connsiteY4444" fmla="*/ 1405441 h 6246035"/>
                <a:gd name="connsiteX4445" fmla="*/ 8200131 w 11683878"/>
                <a:gd name="connsiteY4445" fmla="*/ 1426596 h 6246035"/>
                <a:gd name="connsiteX4446" fmla="*/ 8135027 w 11683878"/>
                <a:gd name="connsiteY4446" fmla="*/ 1520632 h 6246035"/>
                <a:gd name="connsiteX4447" fmla="*/ 8066038 w 11683878"/>
                <a:gd name="connsiteY4447" fmla="*/ 1531004 h 6246035"/>
                <a:gd name="connsiteX4448" fmla="*/ 7978103 w 11683878"/>
                <a:gd name="connsiteY4448" fmla="*/ 1493295 h 6246035"/>
                <a:gd name="connsiteX4449" fmla="*/ 7912330 w 11683878"/>
                <a:gd name="connsiteY4449" fmla="*/ 1506325 h 6246035"/>
                <a:gd name="connsiteX4450" fmla="*/ 7887083 w 11683878"/>
                <a:gd name="connsiteY4450" fmla="*/ 1483327 h 6246035"/>
                <a:gd name="connsiteX4451" fmla="*/ 7862067 w 11683878"/>
                <a:gd name="connsiteY4451" fmla="*/ 1394559 h 6246035"/>
                <a:gd name="connsiteX4452" fmla="*/ 7882701 w 11683878"/>
                <a:gd name="connsiteY4452" fmla="*/ 1374387 h 6246035"/>
                <a:gd name="connsiteX4453" fmla="*/ 7920257 w 11683878"/>
                <a:gd name="connsiteY4453" fmla="*/ 1368810 h 6246035"/>
                <a:gd name="connsiteX4454" fmla="*/ 7948662 w 11683878"/>
                <a:gd name="connsiteY4454" fmla="*/ 1282311 h 6246035"/>
                <a:gd name="connsiteX4455" fmla="*/ 8008552 w 11683878"/>
                <a:gd name="connsiteY4455" fmla="*/ 1219434 h 6246035"/>
                <a:gd name="connsiteX4456" fmla="*/ 8252087 w 11683878"/>
                <a:gd name="connsiteY4456" fmla="*/ 1187270 h 6246035"/>
                <a:gd name="connsiteX4457" fmla="*/ 8290196 w 11683878"/>
                <a:gd name="connsiteY4457" fmla="*/ 1155767 h 6246035"/>
                <a:gd name="connsiteX4458" fmla="*/ 6132089 w 11683878"/>
                <a:gd name="connsiteY4458" fmla="*/ 904999 h 6246035"/>
                <a:gd name="connsiteX4459" fmla="*/ 6228495 w 11683878"/>
                <a:gd name="connsiteY4459" fmla="*/ 928772 h 6246035"/>
                <a:gd name="connsiteX4460" fmla="*/ 6297448 w 11683878"/>
                <a:gd name="connsiteY4460" fmla="*/ 909163 h 6246035"/>
                <a:gd name="connsiteX4461" fmla="*/ 6338312 w 11683878"/>
                <a:gd name="connsiteY4461" fmla="*/ 919915 h 6246035"/>
                <a:gd name="connsiteX4462" fmla="*/ 6414954 w 11683878"/>
                <a:gd name="connsiteY4462" fmla="*/ 1014981 h 6246035"/>
                <a:gd name="connsiteX4463" fmla="*/ 6389532 w 11683878"/>
                <a:gd name="connsiteY4463" fmla="*/ 1078530 h 6246035"/>
                <a:gd name="connsiteX4464" fmla="*/ 6398577 w 11683878"/>
                <a:gd name="connsiteY4464" fmla="*/ 1098242 h 6246035"/>
                <a:gd name="connsiteX4465" fmla="*/ 6444831 w 11683878"/>
                <a:gd name="connsiteY4465" fmla="*/ 1113450 h 6246035"/>
                <a:gd name="connsiteX4466" fmla="*/ 6487730 w 11683878"/>
                <a:gd name="connsiteY4466" fmla="*/ 1195133 h 6246035"/>
                <a:gd name="connsiteX4467" fmla="*/ 6556088 w 11683878"/>
                <a:gd name="connsiteY4467" fmla="*/ 1208444 h 6246035"/>
                <a:gd name="connsiteX4468" fmla="*/ 6619651 w 11683878"/>
                <a:gd name="connsiteY4468" fmla="*/ 1261396 h 6246035"/>
                <a:gd name="connsiteX4469" fmla="*/ 6670174 w 11683878"/>
                <a:gd name="connsiteY4469" fmla="*/ 1338127 h 6246035"/>
                <a:gd name="connsiteX4470" fmla="*/ 6754976 w 11683878"/>
                <a:gd name="connsiteY4470" fmla="*/ 1393034 h 6246035"/>
                <a:gd name="connsiteX4471" fmla="*/ 6755926 w 11683878"/>
                <a:gd name="connsiteY4471" fmla="*/ 1442952 h 6246035"/>
                <a:gd name="connsiteX4472" fmla="*/ 6716657 w 11683878"/>
                <a:gd name="connsiteY4472" fmla="*/ 1463238 h 6246035"/>
                <a:gd name="connsiteX4473" fmla="*/ 6614944 w 11683878"/>
                <a:gd name="connsiteY4473" fmla="*/ 1431455 h 6246035"/>
                <a:gd name="connsiteX4474" fmla="*/ 6556124 w 11683878"/>
                <a:gd name="connsiteY4474" fmla="*/ 1460078 h 6246035"/>
                <a:gd name="connsiteX4475" fmla="*/ 6507109 w 11683878"/>
                <a:gd name="connsiteY4475" fmla="*/ 1455278 h 6246035"/>
                <a:gd name="connsiteX4476" fmla="*/ 6447241 w 11683878"/>
                <a:gd name="connsiteY4476" fmla="*/ 1490537 h 6246035"/>
                <a:gd name="connsiteX4477" fmla="*/ 6395269 w 11683878"/>
                <a:gd name="connsiteY4477" fmla="*/ 1486519 h 6246035"/>
                <a:gd name="connsiteX4478" fmla="*/ 6377547 w 11683878"/>
                <a:gd name="connsiteY4478" fmla="*/ 1454273 h 6246035"/>
                <a:gd name="connsiteX4479" fmla="*/ 6383565 w 11683878"/>
                <a:gd name="connsiteY4479" fmla="*/ 1427049 h 6246035"/>
                <a:gd name="connsiteX4480" fmla="*/ 6328799 w 11683878"/>
                <a:gd name="connsiteY4480" fmla="*/ 1352214 h 6246035"/>
                <a:gd name="connsiteX4481" fmla="*/ 6234640 w 11683878"/>
                <a:gd name="connsiteY4481" fmla="*/ 1308638 h 6246035"/>
                <a:gd name="connsiteX4482" fmla="*/ 6156218 w 11683878"/>
                <a:gd name="connsiteY4482" fmla="*/ 1300253 h 6246035"/>
                <a:gd name="connsiteX4483" fmla="*/ 6131104 w 11683878"/>
                <a:gd name="connsiteY4483" fmla="*/ 1278218 h 6246035"/>
                <a:gd name="connsiteX4484" fmla="*/ 6121048 w 11683878"/>
                <a:gd name="connsiteY4484" fmla="*/ 1232730 h 6246035"/>
                <a:gd name="connsiteX4485" fmla="*/ 6081866 w 11683878"/>
                <a:gd name="connsiteY4485" fmla="*/ 1201400 h 6246035"/>
                <a:gd name="connsiteX4486" fmla="*/ 6079966 w 11683878"/>
                <a:gd name="connsiteY4486" fmla="*/ 1176832 h 6246035"/>
                <a:gd name="connsiteX4487" fmla="*/ 6103412 w 11683878"/>
                <a:gd name="connsiteY4487" fmla="*/ 1150662 h 6246035"/>
                <a:gd name="connsiteX4488" fmla="*/ 6101732 w 11683878"/>
                <a:gd name="connsiteY4488" fmla="*/ 1100803 h 6246035"/>
                <a:gd name="connsiteX4489" fmla="*/ 6158387 w 11683878"/>
                <a:gd name="connsiteY4489" fmla="*/ 1014226 h 6246035"/>
                <a:gd name="connsiteX4490" fmla="*/ 6101951 w 11683878"/>
                <a:gd name="connsiteY4490" fmla="*/ 970408 h 6246035"/>
                <a:gd name="connsiteX4491" fmla="*/ 6091409 w 11683878"/>
                <a:gd name="connsiteY4491" fmla="*/ 941227 h 6246035"/>
                <a:gd name="connsiteX4492" fmla="*/ 6091411 w 11683878"/>
                <a:gd name="connsiteY4492" fmla="*/ 941227 h 6246035"/>
                <a:gd name="connsiteX4493" fmla="*/ 6105345 w 11683878"/>
                <a:gd name="connsiteY4493" fmla="*/ 915249 h 6246035"/>
                <a:gd name="connsiteX4494" fmla="*/ 4846225 w 11683878"/>
                <a:gd name="connsiteY4494" fmla="*/ 351528 h 6246035"/>
                <a:gd name="connsiteX4495" fmla="*/ 4927125 w 11683878"/>
                <a:gd name="connsiteY4495" fmla="*/ 376806 h 6246035"/>
                <a:gd name="connsiteX4496" fmla="*/ 4989012 w 11683878"/>
                <a:gd name="connsiteY4496" fmla="*/ 421195 h 6246035"/>
                <a:gd name="connsiteX4497" fmla="*/ 5023298 w 11683878"/>
                <a:gd name="connsiteY4497" fmla="*/ 404821 h 6246035"/>
                <a:gd name="connsiteX4498" fmla="*/ 5056911 w 11683878"/>
                <a:gd name="connsiteY4498" fmla="*/ 415201 h 6246035"/>
                <a:gd name="connsiteX4499" fmla="*/ 5081536 w 11683878"/>
                <a:gd name="connsiteY4499" fmla="*/ 457538 h 6246035"/>
                <a:gd name="connsiteX4500" fmla="*/ 5053604 w 11683878"/>
                <a:gd name="connsiteY4500" fmla="*/ 499243 h 6246035"/>
                <a:gd name="connsiteX4501" fmla="*/ 5059136 w 11683878"/>
                <a:gd name="connsiteY4501" fmla="*/ 519859 h 6246035"/>
                <a:gd name="connsiteX4502" fmla="*/ 5126453 w 11683878"/>
                <a:gd name="connsiteY4502" fmla="*/ 456376 h 6246035"/>
                <a:gd name="connsiteX4503" fmla="*/ 5214748 w 11683878"/>
                <a:gd name="connsiteY4503" fmla="*/ 477753 h 6246035"/>
                <a:gd name="connsiteX4504" fmla="*/ 5270967 w 11683878"/>
                <a:gd name="connsiteY4504" fmla="*/ 462950 h 6246035"/>
                <a:gd name="connsiteX4505" fmla="*/ 5316352 w 11683878"/>
                <a:gd name="connsiteY4505" fmla="*/ 480214 h 6246035"/>
                <a:gd name="connsiteX4506" fmla="*/ 5442817 w 11683878"/>
                <a:gd name="connsiteY4506" fmla="*/ 598977 h 6246035"/>
                <a:gd name="connsiteX4507" fmla="*/ 5442920 w 11683878"/>
                <a:gd name="connsiteY4507" fmla="*/ 718462 h 6246035"/>
                <a:gd name="connsiteX4508" fmla="*/ 5427656 w 11683878"/>
                <a:gd name="connsiteY4508" fmla="*/ 754767 h 6246035"/>
                <a:gd name="connsiteX4509" fmla="*/ 5380077 w 11683878"/>
                <a:gd name="connsiteY4509" fmla="*/ 780528 h 6246035"/>
                <a:gd name="connsiteX4510" fmla="*/ 5284486 w 11683878"/>
                <a:gd name="connsiteY4510" fmla="*/ 762524 h 6246035"/>
                <a:gd name="connsiteX4511" fmla="*/ 5212160 w 11683878"/>
                <a:gd name="connsiteY4511" fmla="*/ 784725 h 6246035"/>
                <a:gd name="connsiteX4512" fmla="*/ 5175517 w 11683878"/>
                <a:gd name="connsiteY4512" fmla="*/ 815034 h 6246035"/>
                <a:gd name="connsiteX4513" fmla="*/ 5097881 w 11683878"/>
                <a:gd name="connsiteY4513" fmla="*/ 799235 h 6246035"/>
                <a:gd name="connsiteX4514" fmla="*/ 5079337 w 11683878"/>
                <a:gd name="connsiteY4514" fmla="*/ 775234 h 6246035"/>
                <a:gd name="connsiteX4515" fmla="*/ 5081283 w 11683878"/>
                <a:gd name="connsiteY4515" fmla="*/ 745181 h 6246035"/>
                <a:gd name="connsiteX4516" fmla="*/ 5008740 w 11683878"/>
                <a:gd name="connsiteY4516" fmla="*/ 661622 h 6246035"/>
                <a:gd name="connsiteX4517" fmla="*/ 4910982 w 11683878"/>
                <a:gd name="connsiteY4517" fmla="*/ 633884 h 6246035"/>
                <a:gd name="connsiteX4518" fmla="*/ 4824195 w 11683878"/>
                <a:gd name="connsiteY4518" fmla="*/ 526132 h 6246035"/>
                <a:gd name="connsiteX4519" fmla="*/ 4817494 w 11683878"/>
                <a:gd name="connsiteY4519" fmla="*/ 358386 h 6246035"/>
                <a:gd name="connsiteX4520" fmla="*/ 4817446 w 11683878"/>
                <a:gd name="connsiteY4520" fmla="*/ 358386 h 6246035"/>
                <a:gd name="connsiteX4521" fmla="*/ 9859176 w 11683878"/>
                <a:gd name="connsiteY4521" fmla="*/ 183091 h 6246035"/>
                <a:gd name="connsiteX4522" fmla="*/ 9896015 w 11683878"/>
                <a:gd name="connsiteY4522" fmla="*/ 198914 h 6246035"/>
                <a:gd name="connsiteX4523" fmla="*/ 9913817 w 11683878"/>
                <a:gd name="connsiteY4523" fmla="*/ 243665 h 6246035"/>
                <a:gd name="connsiteX4524" fmla="*/ 9885878 w 11683878"/>
                <a:gd name="connsiteY4524" fmla="*/ 374951 h 6246035"/>
                <a:gd name="connsiteX4525" fmla="*/ 9858929 w 11683878"/>
                <a:gd name="connsiteY4525" fmla="*/ 453327 h 6246035"/>
                <a:gd name="connsiteX4526" fmla="*/ 9786240 w 11683878"/>
                <a:gd name="connsiteY4526" fmla="*/ 445909 h 6246035"/>
                <a:gd name="connsiteX4527" fmla="*/ 9756076 w 11683878"/>
                <a:gd name="connsiteY4527" fmla="*/ 404867 h 6246035"/>
                <a:gd name="connsiteX4528" fmla="*/ 9735308 w 11683878"/>
                <a:gd name="connsiteY4528" fmla="*/ 306217 h 6246035"/>
                <a:gd name="connsiteX4529" fmla="*/ 9745692 w 11683878"/>
                <a:gd name="connsiteY4529" fmla="*/ 261961 h 6246035"/>
                <a:gd name="connsiteX4530" fmla="*/ 9783273 w 11683878"/>
                <a:gd name="connsiteY4530" fmla="*/ 213502 h 6246035"/>
                <a:gd name="connsiteX4531" fmla="*/ 10757853 w 11683878"/>
                <a:gd name="connsiteY4531" fmla="*/ 0 h 6246035"/>
                <a:gd name="connsiteX4532" fmla="*/ 10870332 w 11683878"/>
                <a:gd name="connsiteY4532" fmla="*/ 35373 h 6246035"/>
                <a:gd name="connsiteX4533" fmla="*/ 10809961 w 11683878"/>
                <a:gd name="connsiteY4533" fmla="*/ 75723 h 6246035"/>
                <a:gd name="connsiteX4534" fmla="*/ 10847252 w 11683878"/>
                <a:gd name="connsiteY4534" fmla="*/ 106069 h 6246035"/>
                <a:gd name="connsiteX4535" fmla="*/ 10865702 w 11683878"/>
                <a:gd name="connsiteY4535" fmla="*/ 154070 h 6246035"/>
                <a:gd name="connsiteX4536" fmla="*/ 10849458 w 11683878"/>
                <a:gd name="connsiteY4536" fmla="*/ 202956 h 6246035"/>
                <a:gd name="connsiteX4537" fmla="*/ 10989696 w 11683878"/>
                <a:gd name="connsiteY4537" fmla="*/ 265245 h 6246035"/>
                <a:gd name="connsiteX4538" fmla="*/ 11006327 w 11683878"/>
                <a:gd name="connsiteY4538" fmla="*/ 344256 h 6246035"/>
                <a:gd name="connsiteX4539" fmla="*/ 10971122 w 11683878"/>
                <a:gd name="connsiteY4539" fmla="*/ 407601 h 6246035"/>
                <a:gd name="connsiteX4540" fmla="*/ 10899926 w 11683878"/>
                <a:gd name="connsiteY4540" fmla="*/ 444261 h 6246035"/>
                <a:gd name="connsiteX4541" fmla="*/ 10858418 w 11683878"/>
                <a:gd name="connsiteY4541" fmla="*/ 501059 h 6246035"/>
                <a:gd name="connsiteX4542" fmla="*/ 10801340 w 11683878"/>
                <a:gd name="connsiteY4542" fmla="*/ 521726 h 6246035"/>
                <a:gd name="connsiteX4543" fmla="*/ 10750013 w 11683878"/>
                <a:gd name="connsiteY4543" fmla="*/ 506971 h 6246035"/>
                <a:gd name="connsiteX4544" fmla="*/ 10726823 w 11683878"/>
                <a:gd name="connsiteY4544" fmla="*/ 523087 h 6246035"/>
                <a:gd name="connsiteX4545" fmla="*/ 10723430 w 11683878"/>
                <a:gd name="connsiteY4545" fmla="*/ 575331 h 6246035"/>
                <a:gd name="connsiteX4546" fmla="*/ 10687256 w 11683878"/>
                <a:gd name="connsiteY4546" fmla="*/ 673277 h 6246035"/>
                <a:gd name="connsiteX4547" fmla="*/ 10728056 w 11683878"/>
                <a:gd name="connsiteY4547" fmla="*/ 759738 h 6246035"/>
                <a:gd name="connsiteX4548" fmla="*/ 10754702 w 11683878"/>
                <a:gd name="connsiteY4548" fmla="*/ 858584 h 6246035"/>
                <a:gd name="connsiteX4549" fmla="*/ 10879979 w 11683878"/>
                <a:gd name="connsiteY4549" fmla="*/ 883799 h 6246035"/>
                <a:gd name="connsiteX4550" fmla="*/ 10941561 w 11683878"/>
                <a:gd name="connsiteY4550" fmla="*/ 869396 h 6246035"/>
                <a:gd name="connsiteX4551" fmla="*/ 10993225 w 11683878"/>
                <a:gd name="connsiteY4551" fmla="*/ 880867 h 6246035"/>
                <a:gd name="connsiteX4552" fmla="*/ 11038782 w 11683878"/>
                <a:gd name="connsiteY4552" fmla="*/ 901678 h 6246035"/>
                <a:gd name="connsiteX4553" fmla="*/ 11078754 w 11683878"/>
                <a:gd name="connsiteY4553" fmla="*/ 961253 h 6246035"/>
                <a:gd name="connsiteX4554" fmla="*/ 11076951 w 11683878"/>
                <a:gd name="connsiteY4554" fmla="*/ 996309 h 6246035"/>
                <a:gd name="connsiteX4555" fmla="*/ 11000559 w 11683878"/>
                <a:gd name="connsiteY4555" fmla="*/ 1057881 h 6246035"/>
                <a:gd name="connsiteX4556" fmla="*/ 10980270 w 11683878"/>
                <a:gd name="connsiteY4556" fmla="*/ 1099645 h 6246035"/>
                <a:gd name="connsiteX4557" fmla="*/ 10988752 w 11683878"/>
                <a:gd name="connsiteY4557" fmla="*/ 1327750 h 6246035"/>
                <a:gd name="connsiteX4558" fmla="*/ 10938446 w 11683878"/>
                <a:gd name="connsiteY4558" fmla="*/ 1300779 h 6246035"/>
                <a:gd name="connsiteX4559" fmla="*/ 10938388 w 11683878"/>
                <a:gd name="connsiteY4559" fmla="*/ 1300787 h 6246035"/>
                <a:gd name="connsiteX4560" fmla="*/ 10988725 w 11683878"/>
                <a:gd name="connsiteY4560" fmla="*/ 1327749 h 6246035"/>
                <a:gd name="connsiteX4561" fmla="*/ 10991583 w 11683878"/>
                <a:gd name="connsiteY4561" fmla="*/ 1394042 h 6246035"/>
                <a:gd name="connsiteX4562" fmla="*/ 11032096 w 11683878"/>
                <a:gd name="connsiteY4562" fmla="*/ 1540083 h 6246035"/>
                <a:gd name="connsiteX4563" fmla="*/ 11034482 w 11683878"/>
                <a:gd name="connsiteY4563" fmla="*/ 1651748 h 6246035"/>
                <a:gd name="connsiteX4564" fmla="*/ 11082306 w 11683878"/>
                <a:gd name="connsiteY4564" fmla="*/ 1727548 h 6246035"/>
                <a:gd name="connsiteX4565" fmla="*/ 11064315 w 11683878"/>
                <a:gd name="connsiteY4565" fmla="*/ 1765709 h 6246035"/>
                <a:gd name="connsiteX4566" fmla="*/ 10951630 w 11683878"/>
                <a:gd name="connsiteY4566" fmla="*/ 1774254 h 6246035"/>
                <a:gd name="connsiteX4567" fmla="*/ 10906151 w 11683878"/>
                <a:gd name="connsiteY4567" fmla="*/ 1825653 h 6246035"/>
                <a:gd name="connsiteX4568" fmla="*/ 10892785 w 11683878"/>
                <a:gd name="connsiteY4568" fmla="*/ 1914512 h 6246035"/>
                <a:gd name="connsiteX4569" fmla="*/ 10920049 w 11683878"/>
                <a:gd name="connsiteY4569" fmla="*/ 2007216 h 6246035"/>
                <a:gd name="connsiteX4570" fmla="*/ 10893158 w 11683878"/>
                <a:gd name="connsiteY4570" fmla="*/ 2048131 h 6246035"/>
                <a:gd name="connsiteX4571" fmla="*/ 10897981 w 11683878"/>
                <a:gd name="connsiteY4571" fmla="*/ 2139966 h 6246035"/>
                <a:gd name="connsiteX4572" fmla="*/ 10954798 w 11683878"/>
                <a:gd name="connsiteY4572" fmla="*/ 2178534 h 6246035"/>
                <a:gd name="connsiteX4573" fmla="*/ 10946616 w 11683878"/>
                <a:gd name="connsiteY4573" fmla="*/ 2280316 h 6246035"/>
                <a:gd name="connsiteX4574" fmla="*/ 11031401 w 11683878"/>
                <a:gd name="connsiteY4574" fmla="*/ 2377801 h 6246035"/>
                <a:gd name="connsiteX4575" fmla="*/ 11057900 w 11683878"/>
                <a:gd name="connsiteY4575" fmla="*/ 2454593 h 6246035"/>
                <a:gd name="connsiteX4576" fmla="*/ 11140693 w 11683878"/>
                <a:gd name="connsiteY4576" fmla="*/ 2466759 h 6246035"/>
                <a:gd name="connsiteX4577" fmla="*/ 11222075 w 11683878"/>
                <a:gd name="connsiteY4577" fmla="*/ 2523470 h 6246035"/>
                <a:gd name="connsiteX4578" fmla="*/ 11228930 w 11683878"/>
                <a:gd name="connsiteY4578" fmla="*/ 2590230 h 6246035"/>
                <a:gd name="connsiteX4579" fmla="*/ 11173001 w 11683878"/>
                <a:gd name="connsiteY4579" fmla="*/ 2623664 h 6246035"/>
                <a:gd name="connsiteX4580" fmla="*/ 11202245 w 11683878"/>
                <a:gd name="connsiteY4580" fmla="*/ 2682930 h 6246035"/>
                <a:gd name="connsiteX4581" fmla="*/ 11243399 w 11683878"/>
                <a:gd name="connsiteY4581" fmla="*/ 2714878 h 6246035"/>
                <a:gd name="connsiteX4582" fmla="*/ 11305693 w 11683878"/>
                <a:gd name="connsiteY4582" fmla="*/ 2724441 h 6246035"/>
                <a:gd name="connsiteX4583" fmla="*/ 11330707 w 11683878"/>
                <a:gd name="connsiteY4583" fmla="*/ 2750222 h 6246035"/>
                <a:gd name="connsiteX4584" fmla="*/ 11338794 w 11683878"/>
                <a:gd name="connsiteY4584" fmla="*/ 2825857 h 6246035"/>
                <a:gd name="connsiteX4585" fmla="*/ 11279520 w 11683878"/>
                <a:gd name="connsiteY4585" fmla="*/ 2888793 h 6246035"/>
                <a:gd name="connsiteX4586" fmla="*/ 11281824 w 11683878"/>
                <a:gd name="connsiteY4586" fmla="*/ 2948991 h 6246035"/>
                <a:gd name="connsiteX4587" fmla="*/ 11299541 w 11683878"/>
                <a:gd name="connsiteY4587" fmla="*/ 2990221 h 6246035"/>
                <a:gd name="connsiteX4588" fmla="*/ 11405897 w 11683878"/>
                <a:gd name="connsiteY4588" fmla="*/ 3066855 h 6246035"/>
                <a:gd name="connsiteX4589" fmla="*/ 11402876 w 11683878"/>
                <a:gd name="connsiteY4589" fmla="*/ 3091965 h 6246035"/>
                <a:gd name="connsiteX4590" fmla="*/ 11372079 w 11683878"/>
                <a:gd name="connsiteY4590" fmla="*/ 3111011 h 6246035"/>
                <a:gd name="connsiteX4591" fmla="*/ 11346300 w 11683878"/>
                <a:gd name="connsiteY4591" fmla="*/ 3164775 h 6246035"/>
                <a:gd name="connsiteX4592" fmla="*/ 11428087 w 11683878"/>
                <a:gd name="connsiteY4592" fmla="*/ 3310461 h 6246035"/>
                <a:gd name="connsiteX4593" fmla="*/ 11443515 w 11683878"/>
                <a:gd name="connsiteY4593" fmla="*/ 3375513 h 6246035"/>
                <a:gd name="connsiteX4594" fmla="*/ 11447994 w 11683878"/>
                <a:gd name="connsiteY4594" fmla="*/ 3555927 h 6246035"/>
                <a:gd name="connsiteX4595" fmla="*/ 11448021 w 11683878"/>
                <a:gd name="connsiteY4595" fmla="*/ 3555929 h 6246035"/>
                <a:gd name="connsiteX4596" fmla="*/ 11463702 w 11683878"/>
                <a:gd name="connsiteY4596" fmla="*/ 3671670 h 6246035"/>
                <a:gd name="connsiteX4597" fmla="*/ 11450851 w 11683878"/>
                <a:gd name="connsiteY4597" fmla="*/ 3782748 h 6246035"/>
                <a:gd name="connsiteX4598" fmla="*/ 11489274 w 11683878"/>
                <a:gd name="connsiteY4598" fmla="*/ 3834331 h 6246035"/>
                <a:gd name="connsiteX4599" fmla="*/ 11499079 w 11683878"/>
                <a:gd name="connsiteY4599" fmla="*/ 3888775 h 6246035"/>
                <a:gd name="connsiteX4600" fmla="*/ 11505447 w 11683878"/>
                <a:gd name="connsiteY4600" fmla="*/ 4011333 h 6246035"/>
                <a:gd name="connsiteX4601" fmla="*/ 11480331 w 11683878"/>
                <a:gd name="connsiteY4601" fmla="*/ 4054263 h 6246035"/>
                <a:gd name="connsiteX4602" fmla="*/ 11513965 w 11683878"/>
                <a:gd name="connsiteY4602" fmla="*/ 4090309 h 6246035"/>
                <a:gd name="connsiteX4603" fmla="*/ 11538450 w 11683878"/>
                <a:gd name="connsiteY4603" fmla="*/ 4192050 h 6246035"/>
                <a:gd name="connsiteX4604" fmla="*/ 11534803 w 11683878"/>
                <a:gd name="connsiteY4604" fmla="*/ 4364566 h 6246035"/>
                <a:gd name="connsiteX4605" fmla="*/ 11506034 w 11683878"/>
                <a:gd name="connsiteY4605" fmla="*/ 4387431 h 6246035"/>
                <a:gd name="connsiteX4606" fmla="*/ 11467352 w 11683878"/>
                <a:gd name="connsiteY4606" fmla="*/ 4374360 h 6246035"/>
                <a:gd name="connsiteX4607" fmla="*/ 11460024 w 11683878"/>
                <a:gd name="connsiteY4607" fmla="*/ 4239714 h 6246035"/>
                <a:gd name="connsiteX4608" fmla="*/ 11471492 w 11683878"/>
                <a:gd name="connsiteY4608" fmla="*/ 4187237 h 6246035"/>
                <a:gd name="connsiteX4609" fmla="*/ 11423641 w 11683878"/>
                <a:gd name="connsiteY4609" fmla="*/ 4084284 h 6246035"/>
                <a:gd name="connsiteX4610" fmla="*/ 11435026 w 11683878"/>
                <a:gd name="connsiteY4610" fmla="*/ 4051048 h 6246035"/>
                <a:gd name="connsiteX4611" fmla="*/ 11366070 w 11683878"/>
                <a:gd name="connsiteY4611" fmla="*/ 3984434 h 6246035"/>
                <a:gd name="connsiteX4612" fmla="*/ 11411912 w 11683878"/>
                <a:gd name="connsiteY4612" fmla="*/ 3927940 h 6246035"/>
                <a:gd name="connsiteX4613" fmla="*/ 11418794 w 11683878"/>
                <a:gd name="connsiteY4613" fmla="*/ 3894808 h 6246035"/>
                <a:gd name="connsiteX4614" fmla="*/ 11412360 w 11683878"/>
                <a:gd name="connsiteY4614" fmla="*/ 3873984 h 6246035"/>
                <a:gd name="connsiteX4615" fmla="*/ 11365552 w 11683878"/>
                <a:gd name="connsiteY4615" fmla="*/ 3858903 h 6246035"/>
                <a:gd name="connsiteX4616" fmla="*/ 11346434 w 11683878"/>
                <a:gd name="connsiteY4616" fmla="*/ 3833942 h 6246035"/>
                <a:gd name="connsiteX4617" fmla="*/ 11359901 w 11683878"/>
                <a:gd name="connsiteY4617" fmla="*/ 3795297 h 6246035"/>
                <a:gd name="connsiteX4618" fmla="*/ 11341120 w 11683878"/>
                <a:gd name="connsiteY4618" fmla="*/ 3737809 h 6246035"/>
                <a:gd name="connsiteX4619" fmla="*/ 11363602 w 11683878"/>
                <a:gd name="connsiteY4619" fmla="*/ 3672339 h 6246035"/>
                <a:gd name="connsiteX4620" fmla="*/ 11314829 w 11683878"/>
                <a:gd name="connsiteY4620" fmla="*/ 3657834 h 6246035"/>
                <a:gd name="connsiteX4621" fmla="*/ 11298760 w 11683878"/>
                <a:gd name="connsiteY4621" fmla="*/ 3630106 h 6246035"/>
                <a:gd name="connsiteX4622" fmla="*/ 11316166 w 11683878"/>
                <a:gd name="connsiteY4622" fmla="*/ 3595622 h 6246035"/>
                <a:gd name="connsiteX4623" fmla="*/ 11367059 w 11683878"/>
                <a:gd name="connsiteY4623" fmla="*/ 3576650 h 6246035"/>
                <a:gd name="connsiteX4624" fmla="*/ 11369190 w 11683878"/>
                <a:gd name="connsiteY4624" fmla="*/ 3551554 h 6246035"/>
                <a:gd name="connsiteX4625" fmla="*/ 11447982 w 11683878"/>
                <a:gd name="connsiteY4625" fmla="*/ 3555927 h 6246035"/>
                <a:gd name="connsiteX4626" fmla="*/ 11343841 w 11683878"/>
                <a:gd name="connsiteY4626" fmla="*/ 3537623 h 6246035"/>
                <a:gd name="connsiteX4627" fmla="*/ 11242874 w 11683878"/>
                <a:gd name="connsiteY4627" fmla="*/ 3451551 h 6246035"/>
                <a:gd name="connsiteX4628" fmla="*/ 11138721 w 11683878"/>
                <a:gd name="connsiteY4628" fmla="*/ 3394028 h 6246035"/>
                <a:gd name="connsiteX4629" fmla="*/ 10834413 w 11683878"/>
                <a:gd name="connsiteY4629" fmla="*/ 3170871 h 6246035"/>
                <a:gd name="connsiteX4630" fmla="*/ 10834440 w 11683878"/>
                <a:gd name="connsiteY4630" fmla="*/ 3170871 h 6246035"/>
                <a:gd name="connsiteX4631" fmla="*/ 10755314 w 11683878"/>
                <a:gd name="connsiteY4631" fmla="*/ 3081914 h 6246035"/>
                <a:gd name="connsiteX4632" fmla="*/ 10692740 w 11683878"/>
                <a:gd name="connsiteY4632" fmla="*/ 2978120 h 6246035"/>
                <a:gd name="connsiteX4633" fmla="*/ 10686664 w 11683878"/>
                <a:gd name="connsiteY4633" fmla="*/ 2917150 h 6246035"/>
                <a:gd name="connsiteX4634" fmla="*/ 10657299 w 11683878"/>
                <a:gd name="connsiteY4634" fmla="*/ 2877202 h 6246035"/>
                <a:gd name="connsiteX4635" fmla="*/ 10666932 w 11683878"/>
                <a:gd name="connsiteY4635" fmla="*/ 2838163 h 6246035"/>
                <a:gd name="connsiteX4636" fmla="*/ 10630943 w 11683878"/>
                <a:gd name="connsiteY4636" fmla="*/ 2829304 h 6246035"/>
                <a:gd name="connsiteX4637" fmla="*/ 10615143 w 11683878"/>
                <a:gd name="connsiteY4637" fmla="*/ 2799418 h 6246035"/>
                <a:gd name="connsiteX4638" fmla="*/ 10637846 w 11683878"/>
                <a:gd name="connsiteY4638" fmla="*/ 2708015 h 6246035"/>
                <a:gd name="connsiteX4639" fmla="*/ 10665421 w 11683878"/>
                <a:gd name="connsiteY4639" fmla="*/ 2673674 h 6246035"/>
                <a:gd name="connsiteX4640" fmla="*/ 10665421 w 11683878"/>
                <a:gd name="connsiteY4640" fmla="*/ 2596233 h 6246035"/>
                <a:gd name="connsiteX4641" fmla="*/ 10608384 w 11683878"/>
                <a:gd name="connsiteY4641" fmla="*/ 2395066 h 6246035"/>
                <a:gd name="connsiteX4642" fmla="*/ 10605897 w 11683878"/>
                <a:gd name="connsiteY4642" fmla="*/ 2303888 h 6246035"/>
                <a:gd name="connsiteX4643" fmla="*/ 10601525 w 11683878"/>
                <a:gd name="connsiteY4643" fmla="*/ 2290462 h 6246035"/>
                <a:gd name="connsiteX4644" fmla="*/ 10570140 w 11683878"/>
                <a:gd name="connsiteY4644" fmla="*/ 2295191 h 6246035"/>
                <a:gd name="connsiteX4645" fmla="*/ 10570140 w 11683878"/>
                <a:gd name="connsiteY4645" fmla="*/ 2295194 h 6246035"/>
                <a:gd name="connsiteX4646" fmla="*/ 10534350 w 11683878"/>
                <a:gd name="connsiteY4646" fmla="*/ 2300056 h 6246035"/>
                <a:gd name="connsiteX4647" fmla="*/ 10518874 w 11683878"/>
                <a:gd name="connsiteY4647" fmla="*/ 2331785 h 6246035"/>
                <a:gd name="connsiteX4648" fmla="*/ 10430540 w 11683878"/>
                <a:gd name="connsiteY4648" fmla="*/ 2320195 h 6246035"/>
                <a:gd name="connsiteX4649" fmla="*/ 10368797 w 11683878"/>
                <a:gd name="connsiteY4649" fmla="*/ 2264180 h 6246035"/>
                <a:gd name="connsiteX4650" fmla="*/ 10334085 w 11683878"/>
                <a:gd name="connsiteY4650" fmla="*/ 2260789 h 6246035"/>
                <a:gd name="connsiteX4651" fmla="*/ 10310128 w 11683878"/>
                <a:gd name="connsiteY4651" fmla="*/ 2277657 h 6246035"/>
                <a:gd name="connsiteX4652" fmla="*/ 10255675 w 11683878"/>
                <a:gd name="connsiteY4652" fmla="*/ 2382539 h 6246035"/>
                <a:gd name="connsiteX4653" fmla="*/ 10280883 w 11683878"/>
                <a:gd name="connsiteY4653" fmla="*/ 2431779 h 6246035"/>
                <a:gd name="connsiteX4654" fmla="*/ 10273766 w 11683878"/>
                <a:gd name="connsiteY4654" fmla="*/ 2484368 h 6246035"/>
                <a:gd name="connsiteX4655" fmla="*/ 10297536 w 11683878"/>
                <a:gd name="connsiteY4655" fmla="*/ 2527803 h 6246035"/>
                <a:gd name="connsiteX4656" fmla="*/ 10293089 w 11683878"/>
                <a:gd name="connsiteY4656" fmla="*/ 2667135 h 6246035"/>
                <a:gd name="connsiteX4657" fmla="*/ 10327493 w 11683878"/>
                <a:gd name="connsiteY4657" fmla="*/ 2693364 h 6246035"/>
                <a:gd name="connsiteX4658" fmla="*/ 10414951 w 11683878"/>
                <a:gd name="connsiteY4658" fmla="*/ 2670824 h 6246035"/>
                <a:gd name="connsiteX4659" fmla="*/ 10443179 w 11683878"/>
                <a:gd name="connsiteY4659" fmla="*/ 2706495 h 6246035"/>
                <a:gd name="connsiteX4660" fmla="*/ 10440610 w 11683878"/>
                <a:gd name="connsiteY4660" fmla="*/ 2733560 h 6246035"/>
                <a:gd name="connsiteX4661" fmla="*/ 10369214 w 11683878"/>
                <a:gd name="connsiteY4661" fmla="*/ 2838447 h 6246035"/>
                <a:gd name="connsiteX4662" fmla="*/ 10327722 w 11683878"/>
                <a:gd name="connsiteY4662" fmla="*/ 2870184 h 6246035"/>
                <a:gd name="connsiteX4663" fmla="*/ 10320270 w 11683878"/>
                <a:gd name="connsiteY4663" fmla="*/ 2915371 h 6246035"/>
                <a:gd name="connsiteX4664" fmla="*/ 10230844 w 11683878"/>
                <a:gd name="connsiteY4664" fmla="*/ 3012941 h 6246035"/>
                <a:gd name="connsiteX4665" fmla="*/ 10173040 w 11683878"/>
                <a:gd name="connsiteY4665" fmla="*/ 3029275 h 6246035"/>
                <a:gd name="connsiteX4666" fmla="*/ 9907745 w 11683878"/>
                <a:gd name="connsiteY4666" fmla="*/ 3182094 h 6246035"/>
                <a:gd name="connsiteX4667" fmla="*/ 9907746 w 11683878"/>
                <a:gd name="connsiteY4667" fmla="*/ 3182095 h 6246035"/>
                <a:gd name="connsiteX4668" fmla="*/ 9873302 w 11683878"/>
                <a:gd name="connsiteY4668" fmla="*/ 3249586 h 6246035"/>
                <a:gd name="connsiteX4669" fmla="*/ 9799956 w 11683878"/>
                <a:gd name="connsiteY4669" fmla="*/ 3257841 h 6246035"/>
                <a:gd name="connsiteX4670" fmla="*/ 9711731 w 11683878"/>
                <a:gd name="connsiteY4670" fmla="*/ 3319743 h 6246035"/>
                <a:gd name="connsiteX4671" fmla="*/ 9645013 w 11683878"/>
                <a:gd name="connsiteY4671" fmla="*/ 3401397 h 6246035"/>
                <a:gd name="connsiteX4672" fmla="*/ 9640170 w 11683878"/>
                <a:gd name="connsiteY4672" fmla="*/ 3509351 h 6246035"/>
                <a:gd name="connsiteX4673" fmla="*/ 9614622 w 11683878"/>
                <a:gd name="connsiteY4673" fmla="*/ 3584035 h 6246035"/>
                <a:gd name="connsiteX4674" fmla="*/ 9633369 w 11683878"/>
                <a:gd name="connsiteY4674" fmla="*/ 3656709 h 6246035"/>
                <a:gd name="connsiteX4675" fmla="*/ 9577397 w 11683878"/>
                <a:gd name="connsiteY4675" fmla="*/ 3902068 h 6246035"/>
                <a:gd name="connsiteX4676" fmla="*/ 9590090 w 11683878"/>
                <a:gd name="connsiteY4676" fmla="*/ 3944989 h 6246035"/>
                <a:gd name="connsiteX4677" fmla="*/ 9506869 w 11683878"/>
                <a:gd name="connsiteY4677" fmla="*/ 4227667 h 6246035"/>
                <a:gd name="connsiteX4678" fmla="*/ 9549079 w 11683878"/>
                <a:gd name="connsiteY4678" fmla="*/ 4194610 h 6246035"/>
                <a:gd name="connsiteX4679" fmla="*/ 9593929 w 11683878"/>
                <a:gd name="connsiteY4679" fmla="*/ 4106900 h 6246035"/>
                <a:gd name="connsiteX4680" fmla="*/ 9680626 w 11683878"/>
                <a:gd name="connsiteY4680" fmla="*/ 4078184 h 6246035"/>
                <a:gd name="connsiteX4681" fmla="*/ 9709937 w 11683878"/>
                <a:gd name="connsiteY4681" fmla="*/ 4094277 h 6246035"/>
                <a:gd name="connsiteX4682" fmla="*/ 9727202 w 11683878"/>
                <a:gd name="connsiteY4682" fmla="*/ 4154342 h 6246035"/>
                <a:gd name="connsiteX4683" fmla="*/ 9757722 w 11683878"/>
                <a:gd name="connsiteY4683" fmla="*/ 4170178 h 6246035"/>
                <a:gd name="connsiteX4684" fmla="*/ 9803025 w 11683878"/>
                <a:gd name="connsiteY4684" fmla="*/ 4163911 h 6246035"/>
                <a:gd name="connsiteX4685" fmla="*/ 9821917 w 11683878"/>
                <a:gd name="connsiteY4685" fmla="*/ 4121334 h 6246035"/>
                <a:gd name="connsiteX4686" fmla="*/ 9848806 w 11683878"/>
                <a:gd name="connsiteY4686" fmla="*/ 4109569 h 6246035"/>
                <a:gd name="connsiteX4687" fmla="*/ 9985091 w 11683878"/>
                <a:gd name="connsiteY4687" fmla="*/ 4166576 h 6246035"/>
                <a:gd name="connsiteX4688" fmla="*/ 10040169 w 11683878"/>
                <a:gd name="connsiteY4688" fmla="*/ 4156896 h 6246035"/>
                <a:gd name="connsiteX4689" fmla="*/ 10089404 w 11683878"/>
                <a:gd name="connsiteY4689" fmla="*/ 4190114 h 6246035"/>
                <a:gd name="connsiteX4690" fmla="*/ 10212412 w 11683878"/>
                <a:gd name="connsiteY4690" fmla="*/ 4422302 h 6246035"/>
                <a:gd name="connsiteX4691" fmla="*/ 10212895 w 11683878"/>
                <a:gd name="connsiteY4691" fmla="*/ 4496448 h 6246035"/>
                <a:gd name="connsiteX4692" fmla="*/ 10233575 w 11683878"/>
                <a:gd name="connsiteY4692" fmla="*/ 4561543 h 6246035"/>
                <a:gd name="connsiteX4693" fmla="*/ 10305993 w 11683878"/>
                <a:gd name="connsiteY4693" fmla="*/ 4636385 h 6246035"/>
                <a:gd name="connsiteX4694" fmla="*/ 10379335 w 11683878"/>
                <a:gd name="connsiteY4694" fmla="*/ 4805754 h 6246035"/>
                <a:gd name="connsiteX4695" fmla="*/ 10406538 w 11683878"/>
                <a:gd name="connsiteY4695" fmla="*/ 4893296 h 6246035"/>
                <a:gd name="connsiteX4696" fmla="*/ 10382160 w 11683878"/>
                <a:gd name="connsiteY4696" fmla="*/ 5026326 h 6246035"/>
                <a:gd name="connsiteX4697" fmla="*/ 10394342 w 11683878"/>
                <a:gd name="connsiteY4697" fmla="*/ 5094070 h 6246035"/>
                <a:gd name="connsiteX4698" fmla="*/ 10394349 w 11683878"/>
                <a:gd name="connsiteY4698" fmla="*/ 5094069 h 6246035"/>
                <a:gd name="connsiteX4699" fmla="*/ 10396094 w 11683878"/>
                <a:gd name="connsiteY4699" fmla="*/ 5107083 h 6246035"/>
                <a:gd name="connsiteX4700" fmla="*/ 10380927 w 11683878"/>
                <a:gd name="connsiteY4700" fmla="*/ 5170462 h 6246035"/>
                <a:gd name="connsiteX4701" fmla="*/ 10400853 w 11683878"/>
                <a:gd name="connsiteY4701" fmla="*/ 5249195 h 6246035"/>
                <a:gd name="connsiteX4702" fmla="*/ 10398402 w 11683878"/>
                <a:gd name="connsiteY4702" fmla="*/ 5388685 h 6246035"/>
                <a:gd name="connsiteX4703" fmla="*/ 10336759 w 11683878"/>
                <a:gd name="connsiteY4703" fmla="*/ 5691400 h 6246035"/>
                <a:gd name="connsiteX4704" fmla="*/ 10328269 w 11683878"/>
                <a:gd name="connsiteY4704" fmla="*/ 5847665 h 6246035"/>
                <a:gd name="connsiteX4705" fmla="*/ 10228291 w 11683878"/>
                <a:gd name="connsiteY4705" fmla="*/ 6032756 h 6246035"/>
                <a:gd name="connsiteX4706" fmla="*/ 10156934 w 11683878"/>
                <a:gd name="connsiteY4706" fmla="*/ 6095201 h 6246035"/>
                <a:gd name="connsiteX4707" fmla="*/ 10019290 w 11683878"/>
                <a:gd name="connsiteY4707" fmla="*/ 6130486 h 6246035"/>
                <a:gd name="connsiteX4708" fmla="*/ 9956574 w 11683878"/>
                <a:gd name="connsiteY4708" fmla="*/ 6246035 h 6246035"/>
                <a:gd name="connsiteX4709" fmla="*/ 9916845 w 11683878"/>
                <a:gd name="connsiteY4709" fmla="*/ 6237238 h 6246035"/>
                <a:gd name="connsiteX4710" fmla="*/ 9887472 w 11683878"/>
                <a:gd name="connsiteY4710" fmla="*/ 6192523 h 6246035"/>
                <a:gd name="connsiteX4711" fmla="*/ 9863792 w 11683878"/>
                <a:gd name="connsiteY4711" fmla="*/ 6194071 h 6246035"/>
                <a:gd name="connsiteX4712" fmla="*/ 9926359 w 11683878"/>
                <a:gd name="connsiteY4712" fmla="*/ 6132333 h 6246035"/>
                <a:gd name="connsiteX4713" fmla="*/ 9915012 w 11683878"/>
                <a:gd name="connsiteY4713" fmla="*/ 6054232 h 6246035"/>
                <a:gd name="connsiteX4714" fmla="*/ 9891383 w 11683878"/>
                <a:gd name="connsiteY4714" fmla="*/ 6037744 h 6246035"/>
                <a:gd name="connsiteX4715" fmla="*/ 9870577 w 11683878"/>
                <a:gd name="connsiteY4715" fmla="*/ 5963608 h 6246035"/>
                <a:gd name="connsiteX4716" fmla="*/ 9781779 w 11683878"/>
                <a:gd name="connsiteY4716" fmla="*/ 5866023 h 6246035"/>
                <a:gd name="connsiteX4717" fmla="*/ 9826911 w 11683878"/>
                <a:gd name="connsiteY4717" fmla="*/ 5824927 h 6246035"/>
                <a:gd name="connsiteX4718" fmla="*/ 9840220 w 11683878"/>
                <a:gd name="connsiteY4718" fmla="*/ 5753582 h 6246035"/>
                <a:gd name="connsiteX4719" fmla="*/ 9971317 w 11683878"/>
                <a:gd name="connsiteY4719" fmla="*/ 5744046 h 6246035"/>
                <a:gd name="connsiteX4720" fmla="*/ 9979805 w 11683878"/>
                <a:gd name="connsiteY4720" fmla="*/ 5721442 h 6246035"/>
                <a:gd name="connsiteX4721" fmla="*/ 9958156 w 11683878"/>
                <a:gd name="connsiteY4721" fmla="*/ 5664451 h 6246035"/>
                <a:gd name="connsiteX4722" fmla="*/ 9977548 w 11683878"/>
                <a:gd name="connsiteY4722" fmla="*/ 5635939 h 6246035"/>
                <a:gd name="connsiteX4723" fmla="*/ 9961300 w 11683878"/>
                <a:gd name="connsiteY4723" fmla="*/ 5606397 h 6246035"/>
                <a:gd name="connsiteX4724" fmla="*/ 9973835 w 11683878"/>
                <a:gd name="connsiteY4724" fmla="*/ 5524647 h 6246035"/>
                <a:gd name="connsiteX4725" fmla="*/ 9949924 w 11683878"/>
                <a:gd name="connsiteY4725" fmla="*/ 5478634 h 6246035"/>
                <a:gd name="connsiteX4726" fmla="*/ 9991932 w 11683878"/>
                <a:gd name="connsiteY4726" fmla="*/ 5438460 h 6246035"/>
                <a:gd name="connsiteX4727" fmla="*/ 9991679 w 11683878"/>
                <a:gd name="connsiteY4727" fmla="*/ 5437988 h 6246035"/>
                <a:gd name="connsiteX4728" fmla="*/ 9991923 w 11683878"/>
                <a:gd name="connsiteY4728" fmla="*/ 5438460 h 6246035"/>
                <a:gd name="connsiteX4729" fmla="*/ 9956692 w 11683878"/>
                <a:gd name="connsiteY4729" fmla="*/ 5467635 h 6246035"/>
                <a:gd name="connsiteX4730" fmla="*/ 9935913 w 11683878"/>
                <a:gd name="connsiteY4730" fmla="*/ 5419258 h 6246035"/>
                <a:gd name="connsiteX4731" fmla="*/ 9941185 w 11683878"/>
                <a:gd name="connsiteY4731" fmla="*/ 5391249 h 6246035"/>
                <a:gd name="connsiteX4732" fmla="*/ 9921564 w 11683878"/>
                <a:gd name="connsiteY4732" fmla="*/ 5366305 h 6246035"/>
                <a:gd name="connsiteX4733" fmla="*/ 9946616 w 11683878"/>
                <a:gd name="connsiteY4733" fmla="*/ 5324635 h 6246035"/>
                <a:gd name="connsiteX4734" fmla="*/ 9948339 w 11683878"/>
                <a:gd name="connsiteY4734" fmla="*/ 5281782 h 6246035"/>
                <a:gd name="connsiteX4735" fmla="*/ 9904011 w 11683878"/>
                <a:gd name="connsiteY4735" fmla="*/ 5249510 h 6246035"/>
                <a:gd name="connsiteX4736" fmla="*/ 9902247 w 11683878"/>
                <a:gd name="connsiteY4736" fmla="*/ 5187055 h 6246035"/>
                <a:gd name="connsiteX4737" fmla="*/ 9901701 w 11683878"/>
                <a:gd name="connsiteY4737" fmla="*/ 5189692 h 6246035"/>
                <a:gd name="connsiteX4738" fmla="*/ 9845475 w 11683878"/>
                <a:gd name="connsiteY4738" fmla="*/ 5218711 h 6246035"/>
                <a:gd name="connsiteX4739" fmla="*/ 9804674 w 11683878"/>
                <a:gd name="connsiteY4739" fmla="*/ 5285405 h 6246035"/>
                <a:gd name="connsiteX4740" fmla="*/ 9760400 w 11683878"/>
                <a:gd name="connsiteY4740" fmla="*/ 5312003 h 6246035"/>
                <a:gd name="connsiteX4741" fmla="*/ 9750608 w 11683878"/>
                <a:gd name="connsiteY4741" fmla="*/ 5346680 h 6246035"/>
                <a:gd name="connsiteX4742" fmla="*/ 9735154 w 11683878"/>
                <a:gd name="connsiteY4742" fmla="*/ 5350837 h 6246035"/>
                <a:gd name="connsiteX4743" fmla="*/ 9741033 w 11683878"/>
                <a:gd name="connsiteY4743" fmla="*/ 5390018 h 6246035"/>
                <a:gd name="connsiteX4744" fmla="*/ 9654852 w 11683878"/>
                <a:gd name="connsiteY4744" fmla="*/ 5442539 h 6246035"/>
                <a:gd name="connsiteX4745" fmla="*/ 9642494 w 11683878"/>
                <a:gd name="connsiteY4745" fmla="*/ 5434667 h 6246035"/>
                <a:gd name="connsiteX4746" fmla="*/ 9590048 w 11683878"/>
                <a:gd name="connsiteY4746" fmla="*/ 5462545 h 6246035"/>
                <a:gd name="connsiteX4747" fmla="*/ 9536367 w 11683878"/>
                <a:gd name="connsiteY4747" fmla="*/ 5423100 h 6246035"/>
                <a:gd name="connsiteX4748" fmla="*/ 9539832 w 11683878"/>
                <a:gd name="connsiteY4748" fmla="*/ 5386052 h 6246035"/>
                <a:gd name="connsiteX4749" fmla="*/ 9518913 w 11683878"/>
                <a:gd name="connsiteY4749" fmla="*/ 5361247 h 6246035"/>
                <a:gd name="connsiteX4750" fmla="*/ 9489475 w 11683878"/>
                <a:gd name="connsiteY4750" fmla="*/ 5355399 h 6246035"/>
                <a:gd name="connsiteX4751" fmla="*/ 9487066 w 11683878"/>
                <a:gd name="connsiteY4751" fmla="*/ 5326277 h 6246035"/>
                <a:gd name="connsiteX4752" fmla="*/ 9482885 w 11683878"/>
                <a:gd name="connsiteY4752" fmla="*/ 5306124 h 6246035"/>
                <a:gd name="connsiteX4753" fmla="*/ 9487325 w 11683878"/>
                <a:gd name="connsiteY4753" fmla="*/ 5302661 h 6246035"/>
                <a:gd name="connsiteX4754" fmla="*/ 9447415 w 11683878"/>
                <a:gd name="connsiteY4754" fmla="*/ 5333041 h 6246035"/>
                <a:gd name="connsiteX4755" fmla="*/ 9342133 w 11683878"/>
                <a:gd name="connsiteY4755" fmla="*/ 5284274 h 6246035"/>
                <a:gd name="connsiteX4756" fmla="*/ 9306844 w 11683878"/>
                <a:gd name="connsiteY4756" fmla="*/ 5311839 h 6246035"/>
                <a:gd name="connsiteX4757" fmla="*/ 9268194 w 11683878"/>
                <a:gd name="connsiteY4757" fmla="*/ 5306971 h 6246035"/>
                <a:gd name="connsiteX4758" fmla="*/ 9262235 w 11683878"/>
                <a:gd name="connsiteY4758" fmla="*/ 5290757 h 6246035"/>
                <a:gd name="connsiteX4759" fmla="*/ 9211558 w 11683878"/>
                <a:gd name="connsiteY4759" fmla="*/ 5322352 h 6246035"/>
                <a:gd name="connsiteX4760" fmla="*/ 9158715 w 11683878"/>
                <a:gd name="connsiteY4760" fmla="*/ 5322467 h 6246035"/>
                <a:gd name="connsiteX4761" fmla="*/ 9121001 w 11683878"/>
                <a:gd name="connsiteY4761" fmla="*/ 5283556 h 6246035"/>
                <a:gd name="connsiteX4762" fmla="*/ 9117106 w 11683878"/>
                <a:gd name="connsiteY4762" fmla="*/ 5243877 h 6246035"/>
                <a:gd name="connsiteX4763" fmla="*/ 9085359 w 11683878"/>
                <a:gd name="connsiteY4763" fmla="*/ 5240142 h 6246035"/>
                <a:gd name="connsiteX4764" fmla="*/ 9058763 w 11683878"/>
                <a:gd name="connsiteY4764" fmla="*/ 5181965 h 6246035"/>
                <a:gd name="connsiteX4765" fmla="*/ 9006158 w 11683878"/>
                <a:gd name="connsiteY4765" fmla="*/ 5151550 h 6246035"/>
                <a:gd name="connsiteX4766" fmla="*/ 8995636 w 11683878"/>
                <a:gd name="connsiteY4766" fmla="*/ 5110941 h 6246035"/>
                <a:gd name="connsiteX4767" fmla="*/ 8987510 w 11683878"/>
                <a:gd name="connsiteY4767" fmla="*/ 5125562 h 6246035"/>
                <a:gd name="connsiteX4768" fmla="*/ 8970993 w 11683878"/>
                <a:gd name="connsiteY4768" fmla="*/ 5085886 h 6246035"/>
                <a:gd name="connsiteX4769" fmla="*/ 8912776 w 11683878"/>
                <a:gd name="connsiteY4769" fmla="*/ 5039417 h 6246035"/>
                <a:gd name="connsiteX4770" fmla="*/ 8910725 w 11683878"/>
                <a:gd name="connsiteY4770" fmla="*/ 5008989 h 6246035"/>
                <a:gd name="connsiteX4771" fmla="*/ 8883865 w 11683878"/>
                <a:gd name="connsiteY4771" fmla="*/ 5006914 h 6246035"/>
                <a:gd name="connsiteX4772" fmla="*/ 8890590 w 11683878"/>
                <a:gd name="connsiteY4772" fmla="*/ 4989934 h 6246035"/>
                <a:gd name="connsiteX4773" fmla="*/ 8830450 w 11683878"/>
                <a:gd name="connsiteY4773" fmla="*/ 4958150 h 6246035"/>
                <a:gd name="connsiteX4774" fmla="*/ 8835128 w 11683878"/>
                <a:gd name="connsiteY4774" fmla="*/ 4932340 h 6246035"/>
                <a:gd name="connsiteX4775" fmla="*/ 8820401 w 11683878"/>
                <a:gd name="connsiteY4775" fmla="*/ 4938518 h 6246035"/>
                <a:gd name="connsiteX4776" fmla="*/ 8803351 w 11683878"/>
                <a:gd name="connsiteY4776" fmla="*/ 4923035 h 6246035"/>
                <a:gd name="connsiteX4777" fmla="*/ 8790907 w 11683878"/>
                <a:gd name="connsiteY4777" fmla="*/ 4933540 h 6246035"/>
                <a:gd name="connsiteX4778" fmla="*/ 8774340 w 11683878"/>
                <a:gd name="connsiteY4778" fmla="*/ 4903690 h 6246035"/>
                <a:gd name="connsiteX4779" fmla="*/ 8727610 w 11683878"/>
                <a:gd name="connsiteY4779" fmla="*/ 4900457 h 6246035"/>
                <a:gd name="connsiteX4780" fmla="*/ 8707501 w 11683878"/>
                <a:gd name="connsiteY4780" fmla="*/ 4925383 h 6246035"/>
                <a:gd name="connsiteX4781" fmla="*/ 8574665 w 11683878"/>
                <a:gd name="connsiteY4781" fmla="*/ 4898935 h 6246035"/>
                <a:gd name="connsiteX4782" fmla="*/ 8448554 w 11683878"/>
                <a:gd name="connsiteY4782" fmla="*/ 4959571 h 6246035"/>
                <a:gd name="connsiteX4783" fmla="*/ 8449170 w 11683878"/>
                <a:gd name="connsiteY4783" fmla="*/ 4960560 h 6246035"/>
                <a:gd name="connsiteX4784" fmla="*/ 8346665 w 11683878"/>
                <a:gd name="connsiteY4784" fmla="*/ 5015611 h 6246035"/>
                <a:gd name="connsiteX4785" fmla="*/ 8293674 w 11683878"/>
                <a:gd name="connsiteY4785" fmla="*/ 5115721 h 6246035"/>
                <a:gd name="connsiteX4786" fmla="*/ 8305235 w 11683878"/>
                <a:gd name="connsiteY4786" fmla="*/ 5143220 h 6246035"/>
                <a:gd name="connsiteX4787" fmla="*/ 8338607 w 11683878"/>
                <a:gd name="connsiteY4787" fmla="*/ 5123883 h 6246035"/>
                <a:gd name="connsiteX4788" fmla="*/ 8366938 w 11683878"/>
                <a:gd name="connsiteY4788" fmla="*/ 5131483 h 6246035"/>
                <a:gd name="connsiteX4789" fmla="*/ 8365717 w 11683878"/>
                <a:gd name="connsiteY4789" fmla="*/ 5162981 h 6246035"/>
                <a:gd name="connsiteX4790" fmla="*/ 8389674 w 11683878"/>
                <a:gd name="connsiteY4790" fmla="*/ 5187475 h 6246035"/>
                <a:gd name="connsiteX4791" fmla="*/ 8388665 w 11683878"/>
                <a:gd name="connsiteY4791" fmla="*/ 5225392 h 6246035"/>
                <a:gd name="connsiteX4792" fmla="*/ 8346950 w 11683878"/>
                <a:gd name="connsiteY4792" fmla="*/ 5278684 h 6246035"/>
                <a:gd name="connsiteX4793" fmla="*/ 8342416 w 11683878"/>
                <a:gd name="connsiteY4793" fmla="*/ 5375187 h 6246035"/>
                <a:gd name="connsiteX4794" fmla="*/ 8311913 w 11683878"/>
                <a:gd name="connsiteY4794" fmla="*/ 5497502 h 6246035"/>
                <a:gd name="connsiteX4795" fmla="*/ 8339791 w 11683878"/>
                <a:gd name="connsiteY4795" fmla="*/ 5500791 h 6246035"/>
                <a:gd name="connsiteX4796" fmla="*/ 8330911 w 11683878"/>
                <a:gd name="connsiteY4796" fmla="*/ 5551767 h 6246035"/>
                <a:gd name="connsiteX4797" fmla="*/ 8277863 w 11683878"/>
                <a:gd name="connsiteY4797" fmla="*/ 5581166 h 6246035"/>
                <a:gd name="connsiteX4798" fmla="*/ 8226693 w 11683878"/>
                <a:gd name="connsiteY4798" fmla="*/ 5662804 h 6246035"/>
                <a:gd name="connsiteX4799" fmla="*/ 8140850 w 11683878"/>
                <a:gd name="connsiteY4799" fmla="*/ 5656153 h 6246035"/>
                <a:gd name="connsiteX4800" fmla="*/ 8047340 w 11683878"/>
                <a:gd name="connsiteY4800" fmla="*/ 5622683 h 6246035"/>
                <a:gd name="connsiteX4801" fmla="*/ 7980646 w 11683878"/>
                <a:gd name="connsiteY4801" fmla="*/ 5658614 h 6246035"/>
                <a:gd name="connsiteX4802" fmla="*/ 7906750 w 11683878"/>
                <a:gd name="connsiteY4802" fmla="*/ 5625431 h 6246035"/>
                <a:gd name="connsiteX4803" fmla="*/ 7854151 w 11683878"/>
                <a:gd name="connsiteY4803" fmla="*/ 5626090 h 6246035"/>
                <a:gd name="connsiteX4804" fmla="*/ 7758090 w 11683878"/>
                <a:gd name="connsiteY4804" fmla="*/ 5714943 h 6246035"/>
                <a:gd name="connsiteX4805" fmla="*/ 7727778 w 11683878"/>
                <a:gd name="connsiteY4805" fmla="*/ 5772158 h 6246035"/>
                <a:gd name="connsiteX4806" fmla="*/ 7587360 w 11683878"/>
                <a:gd name="connsiteY4806" fmla="*/ 5822227 h 6246035"/>
                <a:gd name="connsiteX4807" fmla="*/ 7534636 w 11683878"/>
                <a:gd name="connsiteY4807" fmla="*/ 5858663 h 6246035"/>
                <a:gd name="connsiteX4808" fmla="*/ 7490992 w 11683878"/>
                <a:gd name="connsiteY4808" fmla="*/ 5854077 h 6246035"/>
                <a:gd name="connsiteX4809" fmla="*/ 7473979 w 11683878"/>
                <a:gd name="connsiteY4809" fmla="*/ 5871927 h 6246035"/>
                <a:gd name="connsiteX4810" fmla="*/ 7368322 w 11683878"/>
                <a:gd name="connsiteY4810" fmla="*/ 5855477 h 6246035"/>
                <a:gd name="connsiteX4811" fmla="*/ 7300620 w 11683878"/>
                <a:gd name="connsiteY4811" fmla="*/ 5868735 h 6246035"/>
                <a:gd name="connsiteX4812" fmla="*/ 7236874 w 11683878"/>
                <a:gd name="connsiteY4812" fmla="*/ 5821663 h 6246035"/>
                <a:gd name="connsiteX4813" fmla="*/ 7234904 w 11683878"/>
                <a:gd name="connsiteY4813" fmla="*/ 5780096 h 6246035"/>
                <a:gd name="connsiteX4814" fmla="*/ 7216836 w 11683878"/>
                <a:gd name="connsiteY4814" fmla="*/ 5781998 h 6246035"/>
                <a:gd name="connsiteX4815" fmla="*/ 7209363 w 11683878"/>
                <a:gd name="connsiteY4815" fmla="*/ 5760223 h 6246035"/>
                <a:gd name="connsiteX4816" fmla="*/ 7212684 w 11683878"/>
                <a:gd name="connsiteY4816" fmla="*/ 5777092 h 6246035"/>
                <a:gd name="connsiteX4817" fmla="*/ 7160524 w 11683878"/>
                <a:gd name="connsiteY4817" fmla="*/ 5780083 h 6246035"/>
                <a:gd name="connsiteX4818" fmla="*/ 7107593 w 11683878"/>
                <a:gd name="connsiteY4818" fmla="*/ 5734261 h 6246035"/>
                <a:gd name="connsiteX4819" fmla="*/ 7059034 w 11683878"/>
                <a:gd name="connsiteY4819" fmla="*/ 5740744 h 6246035"/>
                <a:gd name="connsiteX4820" fmla="*/ 6966603 w 11683878"/>
                <a:gd name="connsiteY4820" fmla="*/ 5720730 h 6246035"/>
                <a:gd name="connsiteX4821" fmla="*/ 6872787 w 11683878"/>
                <a:gd name="connsiteY4821" fmla="*/ 5753840 h 6246035"/>
                <a:gd name="connsiteX4822" fmla="*/ 6849369 w 11683878"/>
                <a:gd name="connsiteY4822" fmla="*/ 5781062 h 6246035"/>
                <a:gd name="connsiteX4823" fmla="*/ 6762727 w 11683878"/>
                <a:gd name="connsiteY4823" fmla="*/ 5777891 h 6246035"/>
                <a:gd name="connsiteX4824" fmla="*/ 6758601 w 11683878"/>
                <a:gd name="connsiteY4824" fmla="*/ 5758657 h 6246035"/>
                <a:gd name="connsiteX4825" fmla="*/ 6700906 w 11683878"/>
                <a:gd name="connsiteY4825" fmla="*/ 5748235 h 6246035"/>
                <a:gd name="connsiteX4826" fmla="*/ 6663818 w 11683878"/>
                <a:gd name="connsiteY4826" fmla="*/ 5705601 h 6246035"/>
                <a:gd name="connsiteX4827" fmla="*/ 6641105 w 11683878"/>
                <a:gd name="connsiteY4827" fmla="*/ 5599936 h 6246035"/>
                <a:gd name="connsiteX4828" fmla="*/ 6568794 w 11683878"/>
                <a:gd name="connsiteY4828" fmla="*/ 5587821 h 6246035"/>
                <a:gd name="connsiteX4829" fmla="*/ 6492367 w 11683878"/>
                <a:gd name="connsiteY4829" fmla="*/ 5544363 h 6246035"/>
                <a:gd name="connsiteX4830" fmla="*/ 6424214 w 11683878"/>
                <a:gd name="connsiteY4830" fmla="*/ 5540639 h 6246035"/>
                <a:gd name="connsiteX4831" fmla="*/ 6412384 w 11683878"/>
                <a:gd name="connsiteY4831" fmla="*/ 5519021 h 6246035"/>
                <a:gd name="connsiteX4832" fmla="*/ 6343383 w 11683878"/>
                <a:gd name="connsiteY4832" fmla="*/ 5493524 h 6246035"/>
                <a:gd name="connsiteX4833" fmla="*/ 6337759 w 11683878"/>
                <a:gd name="connsiteY4833" fmla="*/ 5483079 h 6246035"/>
                <a:gd name="connsiteX4834" fmla="*/ 6317940 w 11683878"/>
                <a:gd name="connsiteY4834" fmla="*/ 5523286 h 6246035"/>
                <a:gd name="connsiteX4835" fmla="*/ 6278043 w 11683878"/>
                <a:gd name="connsiteY4835" fmla="*/ 5544041 h 6246035"/>
                <a:gd name="connsiteX4836" fmla="*/ 6264446 w 11683878"/>
                <a:gd name="connsiteY4836" fmla="*/ 5586552 h 6246035"/>
                <a:gd name="connsiteX4837" fmla="*/ 6247556 w 11683878"/>
                <a:gd name="connsiteY4837" fmla="*/ 5587115 h 6246035"/>
                <a:gd name="connsiteX4838" fmla="*/ 6224398 w 11683878"/>
                <a:gd name="connsiteY4838" fmla="*/ 5652080 h 6246035"/>
                <a:gd name="connsiteX4839" fmla="*/ 6243113 w 11683878"/>
                <a:gd name="connsiteY4839" fmla="*/ 5678860 h 6246035"/>
                <a:gd name="connsiteX4840" fmla="*/ 6240015 w 11683878"/>
                <a:gd name="connsiteY4840" fmla="*/ 5708678 h 6246035"/>
                <a:gd name="connsiteX4841" fmla="*/ 6271297 w 11683878"/>
                <a:gd name="connsiteY4841" fmla="*/ 5736173 h 6246035"/>
                <a:gd name="connsiteX4842" fmla="*/ 6268241 w 11683878"/>
                <a:gd name="connsiteY4842" fmla="*/ 5762915 h 6246035"/>
                <a:gd name="connsiteX4843" fmla="*/ 6224530 w 11683878"/>
                <a:gd name="connsiteY4843" fmla="*/ 5824500 h 6246035"/>
                <a:gd name="connsiteX4844" fmla="*/ 6212425 w 11683878"/>
                <a:gd name="connsiteY4844" fmla="*/ 5812116 h 6246035"/>
                <a:gd name="connsiteX4845" fmla="*/ 6166983 w 11683878"/>
                <a:gd name="connsiteY4845" fmla="*/ 5848995 h 6246035"/>
                <a:gd name="connsiteX4846" fmla="*/ 6133379 w 11683878"/>
                <a:gd name="connsiteY4846" fmla="*/ 5825587 h 6246035"/>
                <a:gd name="connsiteX4847" fmla="*/ 6087849 w 11683878"/>
                <a:gd name="connsiteY4847" fmla="*/ 5815750 h 6246035"/>
                <a:gd name="connsiteX4848" fmla="*/ 6076912 w 11683878"/>
                <a:gd name="connsiteY4848" fmla="*/ 5826355 h 6246035"/>
                <a:gd name="connsiteX4849" fmla="*/ 6021770 w 11683878"/>
                <a:gd name="connsiteY4849" fmla="*/ 5796305 h 6246035"/>
                <a:gd name="connsiteX4850" fmla="*/ 5987535 w 11683878"/>
                <a:gd name="connsiteY4850" fmla="*/ 5817712 h 6246035"/>
                <a:gd name="connsiteX4851" fmla="*/ 5934399 w 11683878"/>
                <a:gd name="connsiteY4851" fmla="*/ 5789968 h 6246035"/>
                <a:gd name="connsiteX4852" fmla="*/ 5897268 w 11683878"/>
                <a:gd name="connsiteY4852" fmla="*/ 5789233 h 6246035"/>
                <a:gd name="connsiteX4853" fmla="*/ 5877721 w 11683878"/>
                <a:gd name="connsiteY4853" fmla="*/ 5759116 h 6246035"/>
                <a:gd name="connsiteX4854" fmla="*/ 5871488 w 11683878"/>
                <a:gd name="connsiteY4854" fmla="*/ 5703332 h 6246035"/>
                <a:gd name="connsiteX4855" fmla="*/ 5758098 w 11683878"/>
                <a:gd name="connsiteY4855" fmla="*/ 5691343 h 6246035"/>
                <a:gd name="connsiteX4856" fmla="*/ 5742769 w 11683878"/>
                <a:gd name="connsiteY4856" fmla="*/ 5677707 h 6246035"/>
                <a:gd name="connsiteX4857" fmla="*/ 5749667 w 11683878"/>
                <a:gd name="connsiteY4857" fmla="*/ 5657833 h 6246035"/>
                <a:gd name="connsiteX4858" fmla="*/ 5712756 w 11683878"/>
                <a:gd name="connsiteY4858" fmla="*/ 5667780 h 6246035"/>
                <a:gd name="connsiteX4859" fmla="*/ 5687524 w 11683878"/>
                <a:gd name="connsiteY4859" fmla="*/ 5636915 h 6246035"/>
                <a:gd name="connsiteX4860" fmla="*/ 5676297 w 11683878"/>
                <a:gd name="connsiteY4860" fmla="*/ 5659324 h 6246035"/>
                <a:gd name="connsiteX4861" fmla="*/ 5629395 w 11683878"/>
                <a:gd name="connsiteY4861" fmla="*/ 5655579 h 6246035"/>
                <a:gd name="connsiteX4862" fmla="*/ 5586688 w 11683878"/>
                <a:gd name="connsiteY4862" fmla="*/ 5693354 h 6246035"/>
                <a:gd name="connsiteX4863" fmla="*/ 5537965 w 11683878"/>
                <a:gd name="connsiteY4863" fmla="*/ 5692218 h 6246035"/>
                <a:gd name="connsiteX4864" fmla="*/ 5509387 w 11683878"/>
                <a:gd name="connsiteY4864" fmla="*/ 5720544 h 6246035"/>
                <a:gd name="connsiteX4865" fmla="*/ 5400277 w 11683878"/>
                <a:gd name="connsiteY4865" fmla="*/ 5750832 h 6246035"/>
                <a:gd name="connsiteX4866" fmla="*/ 5404104 w 11683878"/>
                <a:gd name="connsiteY4866" fmla="*/ 5782205 h 6246035"/>
                <a:gd name="connsiteX4867" fmla="*/ 5364907 w 11683878"/>
                <a:gd name="connsiteY4867" fmla="*/ 5798987 h 6246035"/>
                <a:gd name="connsiteX4868" fmla="*/ 5352174 w 11683878"/>
                <a:gd name="connsiteY4868" fmla="*/ 5787941 h 6246035"/>
                <a:gd name="connsiteX4869" fmla="*/ 5347536 w 11683878"/>
                <a:gd name="connsiteY4869" fmla="*/ 5806022 h 6246035"/>
                <a:gd name="connsiteX4870" fmla="*/ 5324447 w 11683878"/>
                <a:gd name="connsiteY4870" fmla="*/ 5811721 h 6246035"/>
                <a:gd name="connsiteX4871" fmla="*/ 5318077 w 11683878"/>
                <a:gd name="connsiteY4871" fmla="*/ 5796140 h 6246035"/>
                <a:gd name="connsiteX4872" fmla="*/ 5309725 w 11683878"/>
                <a:gd name="connsiteY4872" fmla="*/ 5812859 h 6246035"/>
                <a:gd name="connsiteX4873" fmla="*/ 5248561 w 11683878"/>
                <a:gd name="connsiteY4873" fmla="*/ 5796741 h 6246035"/>
                <a:gd name="connsiteX4874" fmla="*/ 5217365 w 11683878"/>
                <a:gd name="connsiteY4874" fmla="*/ 5838300 h 6246035"/>
                <a:gd name="connsiteX4875" fmla="*/ 5157902 w 11683878"/>
                <a:gd name="connsiteY4875" fmla="*/ 5845436 h 6246035"/>
                <a:gd name="connsiteX4876" fmla="*/ 5144929 w 11683878"/>
                <a:gd name="connsiteY4876" fmla="*/ 5835952 h 6246035"/>
                <a:gd name="connsiteX4877" fmla="*/ 5151118 w 11683878"/>
                <a:gd name="connsiteY4877" fmla="*/ 5818937 h 6246035"/>
                <a:gd name="connsiteX4878" fmla="*/ 5122970 w 11683878"/>
                <a:gd name="connsiteY4878" fmla="*/ 5809820 h 6246035"/>
                <a:gd name="connsiteX4879" fmla="*/ 5110473 w 11683878"/>
                <a:gd name="connsiteY4879" fmla="*/ 5760634 h 6246035"/>
                <a:gd name="connsiteX4880" fmla="*/ 5091534 w 11683878"/>
                <a:gd name="connsiteY4880" fmla="*/ 5753205 h 6246035"/>
                <a:gd name="connsiteX4881" fmla="*/ 5113908 w 11683878"/>
                <a:gd name="connsiteY4881" fmla="*/ 5722764 h 6246035"/>
                <a:gd name="connsiteX4882" fmla="*/ 5096612 w 11683878"/>
                <a:gd name="connsiteY4882" fmla="*/ 5716945 h 6246035"/>
                <a:gd name="connsiteX4883" fmla="*/ 5046634 w 11683878"/>
                <a:gd name="connsiteY4883" fmla="*/ 5761154 h 6246035"/>
                <a:gd name="connsiteX4884" fmla="*/ 4991265 w 11683878"/>
                <a:gd name="connsiteY4884" fmla="*/ 5725878 h 6246035"/>
                <a:gd name="connsiteX4885" fmla="*/ 4957666 w 11683878"/>
                <a:gd name="connsiteY4885" fmla="*/ 5722941 h 6246035"/>
                <a:gd name="connsiteX4886" fmla="*/ 4941166 w 11683878"/>
                <a:gd name="connsiteY4886" fmla="*/ 5668903 h 6246035"/>
                <a:gd name="connsiteX4887" fmla="*/ 4950027 w 11683878"/>
                <a:gd name="connsiteY4887" fmla="*/ 5647623 h 6246035"/>
                <a:gd name="connsiteX4888" fmla="*/ 4882532 w 11683878"/>
                <a:gd name="connsiteY4888" fmla="*/ 5596606 h 6246035"/>
                <a:gd name="connsiteX4889" fmla="*/ 4889387 w 11683878"/>
                <a:gd name="connsiteY4889" fmla="*/ 5559833 h 6246035"/>
                <a:gd name="connsiteX4890" fmla="*/ 4876975 w 11683878"/>
                <a:gd name="connsiteY4890" fmla="*/ 5538709 h 6246035"/>
                <a:gd name="connsiteX4891" fmla="*/ 4916444 w 11683878"/>
                <a:gd name="connsiteY4891" fmla="*/ 5539838 h 6246035"/>
                <a:gd name="connsiteX4892" fmla="*/ 4876977 w 11683878"/>
                <a:gd name="connsiteY4892" fmla="*/ 5538709 h 6246035"/>
                <a:gd name="connsiteX4893" fmla="*/ 4861808 w 11683878"/>
                <a:gd name="connsiteY4893" fmla="*/ 5496762 h 6246035"/>
                <a:gd name="connsiteX4894" fmla="*/ 4827358 w 11683878"/>
                <a:gd name="connsiteY4894" fmla="*/ 5466316 h 6246035"/>
                <a:gd name="connsiteX4895" fmla="*/ 4799555 w 11683878"/>
                <a:gd name="connsiteY4895" fmla="*/ 5460089 h 6246035"/>
                <a:gd name="connsiteX4896" fmla="*/ 4781570 w 11683878"/>
                <a:gd name="connsiteY4896" fmla="*/ 5475894 h 6246035"/>
                <a:gd name="connsiteX4897" fmla="*/ 4758754 w 11683878"/>
                <a:gd name="connsiteY4897" fmla="*/ 5463655 h 6246035"/>
                <a:gd name="connsiteX4898" fmla="*/ 4735920 w 11683878"/>
                <a:gd name="connsiteY4898" fmla="*/ 5487556 h 6246035"/>
                <a:gd name="connsiteX4899" fmla="*/ 4664597 w 11683878"/>
                <a:gd name="connsiteY4899" fmla="*/ 5456435 h 6246035"/>
                <a:gd name="connsiteX4900" fmla="*/ 4631167 w 11683878"/>
                <a:gd name="connsiteY4900" fmla="*/ 5457911 h 6246035"/>
                <a:gd name="connsiteX4901" fmla="*/ 4636367 w 11683878"/>
                <a:gd name="connsiteY4901" fmla="*/ 5424051 h 6246035"/>
                <a:gd name="connsiteX4902" fmla="*/ 4601653 w 11683878"/>
                <a:gd name="connsiteY4902" fmla="*/ 5418386 h 6246035"/>
                <a:gd name="connsiteX4903" fmla="*/ 4621422 w 11683878"/>
                <a:gd name="connsiteY4903" fmla="*/ 5381386 h 6246035"/>
                <a:gd name="connsiteX4904" fmla="*/ 4581267 w 11683878"/>
                <a:gd name="connsiteY4904" fmla="*/ 5352592 h 6246035"/>
                <a:gd name="connsiteX4905" fmla="*/ 4572558 w 11683878"/>
                <a:gd name="connsiteY4905" fmla="*/ 5368590 h 6246035"/>
                <a:gd name="connsiteX4906" fmla="*/ 4552765 w 11683878"/>
                <a:gd name="connsiteY4906" fmla="*/ 5366833 h 6246035"/>
                <a:gd name="connsiteX4907" fmla="*/ 4548201 w 11683878"/>
                <a:gd name="connsiteY4907" fmla="*/ 5399347 h 6246035"/>
                <a:gd name="connsiteX4908" fmla="*/ 4504074 w 11683878"/>
                <a:gd name="connsiteY4908" fmla="*/ 5405855 h 6246035"/>
                <a:gd name="connsiteX4909" fmla="*/ 4499761 w 11683878"/>
                <a:gd name="connsiteY4909" fmla="*/ 5423089 h 6246035"/>
                <a:gd name="connsiteX4910" fmla="*/ 4420958 w 11683878"/>
                <a:gd name="connsiteY4910" fmla="*/ 4970108 h 6246035"/>
                <a:gd name="connsiteX4911" fmla="*/ 4432528 w 11683878"/>
                <a:gd name="connsiteY4911" fmla="*/ 4966175 h 6246035"/>
                <a:gd name="connsiteX4912" fmla="*/ 4412097 w 11683878"/>
                <a:gd name="connsiteY4912" fmla="*/ 4970379 h 6246035"/>
                <a:gd name="connsiteX4913" fmla="*/ 4332010 w 11683878"/>
                <a:gd name="connsiteY4913" fmla="*/ 4816027 h 6246035"/>
                <a:gd name="connsiteX4914" fmla="*/ 4362035 w 11683878"/>
                <a:gd name="connsiteY4914" fmla="*/ 4819159 h 6246035"/>
                <a:gd name="connsiteX4915" fmla="*/ 4391133 w 11683878"/>
                <a:gd name="connsiteY4915" fmla="*/ 4781293 h 6246035"/>
                <a:gd name="connsiteX4916" fmla="*/ 4362549 w 11683878"/>
                <a:gd name="connsiteY4916" fmla="*/ 4790661 h 6246035"/>
                <a:gd name="connsiteX4917" fmla="*/ 4329615 w 11683878"/>
                <a:gd name="connsiteY4917" fmla="*/ 4775820 h 6246035"/>
                <a:gd name="connsiteX4918" fmla="*/ 4320678 w 11683878"/>
                <a:gd name="connsiteY4918" fmla="*/ 4788649 h 6246035"/>
                <a:gd name="connsiteX4919" fmla="*/ 4268193 w 11683878"/>
                <a:gd name="connsiteY4919" fmla="*/ 4792926 h 6246035"/>
                <a:gd name="connsiteX4920" fmla="*/ 4238789 w 11683878"/>
                <a:gd name="connsiteY4920" fmla="*/ 4791137 h 6246035"/>
                <a:gd name="connsiteX4921" fmla="*/ 4238908 w 11683878"/>
                <a:gd name="connsiteY4921" fmla="*/ 4807167 h 6246035"/>
                <a:gd name="connsiteX4922" fmla="*/ 4195344 w 11683878"/>
                <a:gd name="connsiteY4922" fmla="*/ 4821060 h 6246035"/>
                <a:gd name="connsiteX4923" fmla="*/ 4175468 w 11683878"/>
                <a:gd name="connsiteY4923" fmla="*/ 4808348 h 6246035"/>
                <a:gd name="connsiteX4924" fmla="*/ 4154033 w 11683878"/>
                <a:gd name="connsiteY4924" fmla="*/ 4825595 h 6246035"/>
                <a:gd name="connsiteX4925" fmla="*/ 4139696 w 11683878"/>
                <a:gd name="connsiteY4925" fmla="*/ 4817410 h 6246035"/>
                <a:gd name="connsiteX4926" fmla="*/ 4120879 w 11683878"/>
                <a:gd name="connsiteY4926" fmla="*/ 4848344 h 6246035"/>
                <a:gd name="connsiteX4927" fmla="*/ 4089675 w 11683878"/>
                <a:gd name="connsiteY4927" fmla="*/ 4804538 h 6246035"/>
                <a:gd name="connsiteX4928" fmla="*/ 4037784 w 11683878"/>
                <a:gd name="connsiteY4928" fmla="*/ 4819780 h 6246035"/>
                <a:gd name="connsiteX4929" fmla="*/ 4028317 w 11683878"/>
                <a:gd name="connsiteY4929" fmla="*/ 4794526 h 6246035"/>
                <a:gd name="connsiteX4930" fmla="*/ 4049281 w 11683878"/>
                <a:gd name="connsiteY4930" fmla="*/ 4765452 h 6246035"/>
                <a:gd name="connsiteX4931" fmla="*/ 4083654 w 11683878"/>
                <a:gd name="connsiteY4931" fmla="*/ 4766897 h 6246035"/>
                <a:gd name="connsiteX4932" fmla="*/ 4100696 w 11683878"/>
                <a:gd name="connsiteY4932" fmla="*/ 4741291 h 6246035"/>
                <a:gd name="connsiteX4933" fmla="*/ 4054632 w 11683878"/>
                <a:gd name="connsiteY4933" fmla="*/ 4741571 h 6246035"/>
                <a:gd name="connsiteX4934" fmla="*/ 4007613 w 11683878"/>
                <a:gd name="connsiteY4934" fmla="*/ 4689857 h 6246035"/>
                <a:gd name="connsiteX4935" fmla="*/ 3995473 w 11683878"/>
                <a:gd name="connsiteY4935" fmla="*/ 4700667 h 6246035"/>
                <a:gd name="connsiteX4936" fmla="*/ 4004831 w 11683878"/>
                <a:gd name="connsiteY4936" fmla="*/ 4719377 h 6246035"/>
                <a:gd name="connsiteX4937" fmla="*/ 3979308 w 11683878"/>
                <a:gd name="connsiteY4937" fmla="*/ 4715715 h 6246035"/>
                <a:gd name="connsiteX4938" fmla="*/ 3986408 w 11683878"/>
                <a:gd name="connsiteY4938" fmla="*/ 4686376 h 6246035"/>
                <a:gd name="connsiteX4939" fmla="*/ 4000161 w 11683878"/>
                <a:gd name="connsiteY4939" fmla="*/ 4686144 h 6246035"/>
                <a:gd name="connsiteX4940" fmla="*/ 3971655 w 11683878"/>
                <a:gd name="connsiteY4940" fmla="*/ 4635589 h 6246035"/>
                <a:gd name="connsiteX4941" fmla="*/ 3970239 w 11683878"/>
                <a:gd name="connsiteY4941" fmla="*/ 4676764 h 6246035"/>
                <a:gd name="connsiteX4942" fmla="*/ 3958760 w 11683878"/>
                <a:gd name="connsiteY4942" fmla="*/ 4651798 h 6246035"/>
                <a:gd name="connsiteX4943" fmla="*/ 3943082 w 11683878"/>
                <a:gd name="connsiteY4943" fmla="*/ 4643288 h 6246035"/>
                <a:gd name="connsiteX4944" fmla="*/ 3926876 w 11683878"/>
                <a:gd name="connsiteY4944" fmla="*/ 4662567 h 6246035"/>
                <a:gd name="connsiteX4945" fmla="*/ 3900594 w 11683878"/>
                <a:gd name="connsiteY4945" fmla="*/ 4636788 h 6246035"/>
                <a:gd name="connsiteX4946" fmla="*/ 3884838 w 11683878"/>
                <a:gd name="connsiteY4946" fmla="*/ 4645397 h 6246035"/>
                <a:gd name="connsiteX4947" fmla="*/ 3880788 w 11683878"/>
                <a:gd name="connsiteY4947" fmla="*/ 4627241 h 6246035"/>
                <a:gd name="connsiteX4948" fmla="*/ 3885163 w 11683878"/>
                <a:gd name="connsiteY4948" fmla="*/ 4604345 h 6246035"/>
                <a:gd name="connsiteX4949" fmla="*/ 3900258 w 11683878"/>
                <a:gd name="connsiteY4949" fmla="*/ 4615394 h 6246035"/>
                <a:gd name="connsiteX4950" fmla="*/ 3930310 w 11683878"/>
                <a:gd name="connsiteY4950" fmla="*/ 4567534 h 6246035"/>
                <a:gd name="connsiteX4951" fmla="*/ 3915834 w 11683878"/>
                <a:gd name="connsiteY4951" fmla="*/ 4542845 h 6246035"/>
                <a:gd name="connsiteX4952" fmla="*/ 3934248 w 11683878"/>
                <a:gd name="connsiteY4952" fmla="*/ 4498451 h 6246035"/>
                <a:gd name="connsiteX4953" fmla="*/ 3930265 w 11683878"/>
                <a:gd name="connsiteY4953" fmla="*/ 4461692 h 6246035"/>
                <a:gd name="connsiteX4954" fmla="*/ 3901465 w 11683878"/>
                <a:gd name="connsiteY4954" fmla="*/ 4449227 h 6246035"/>
                <a:gd name="connsiteX4955" fmla="*/ 3903841 w 11683878"/>
                <a:gd name="connsiteY4955" fmla="*/ 4442102 h 6246035"/>
                <a:gd name="connsiteX4956" fmla="*/ 3873865 w 11683878"/>
                <a:gd name="connsiteY4956" fmla="*/ 4460503 h 6246035"/>
                <a:gd name="connsiteX4957" fmla="*/ 3843154 w 11683878"/>
                <a:gd name="connsiteY4957" fmla="*/ 4411560 h 6246035"/>
                <a:gd name="connsiteX4958" fmla="*/ 3851038 w 11683878"/>
                <a:gd name="connsiteY4958" fmla="*/ 4392935 h 6246035"/>
                <a:gd name="connsiteX4959" fmla="*/ 3830584 w 11683878"/>
                <a:gd name="connsiteY4959" fmla="*/ 4408198 h 6246035"/>
                <a:gd name="connsiteX4960" fmla="*/ 3789262 w 11683878"/>
                <a:gd name="connsiteY4960" fmla="*/ 4370968 h 6246035"/>
                <a:gd name="connsiteX4961" fmla="*/ 3783108 w 11683878"/>
                <a:gd name="connsiteY4961" fmla="*/ 4394980 h 6246035"/>
                <a:gd name="connsiteX4962" fmla="*/ 3761176 w 11683878"/>
                <a:gd name="connsiteY4962" fmla="*/ 4368162 h 6246035"/>
                <a:gd name="connsiteX4963" fmla="*/ 3765381 w 11683878"/>
                <a:gd name="connsiteY4963" fmla="*/ 4377535 h 6246035"/>
                <a:gd name="connsiteX4964" fmla="*/ 3747936 w 11683878"/>
                <a:gd name="connsiteY4964" fmla="*/ 4392941 h 6246035"/>
                <a:gd name="connsiteX4965" fmla="*/ 3712669 w 11683878"/>
                <a:gd name="connsiteY4965" fmla="*/ 4375746 h 6246035"/>
                <a:gd name="connsiteX4966" fmla="*/ 3701569 w 11683878"/>
                <a:gd name="connsiteY4966" fmla="*/ 4410188 h 6246035"/>
                <a:gd name="connsiteX4967" fmla="*/ 3498804 w 11683878"/>
                <a:gd name="connsiteY4967" fmla="*/ 4367408 h 6246035"/>
                <a:gd name="connsiteX4968" fmla="*/ 3504150 w 11683878"/>
                <a:gd name="connsiteY4968" fmla="*/ 4354035 h 6246035"/>
                <a:gd name="connsiteX4969" fmla="*/ 3477540 w 11683878"/>
                <a:gd name="connsiteY4969" fmla="*/ 4359268 h 6246035"/>
                <a:gd name="connsiteX4970" fmla="*/ 3460647 w 11683878"/>
                <a:gd name="connsiteY4970" fmla="*/ 4341733 h 6246035"/>
                <a:gd name="connsiteX4971" fmla="*/ 3455539 w 11683878"/>
                <a:gd name="connsiteY4971" fmla="*/ 4353961 h 6246035"/>
                <a:gd name="connsiteX4972" fmla="*/ 3430422 w 11683878"/>
                <a:gd name="connsiteY4972" fmla="*/ 4345641 h 6246035"/>
                <a:gd name="connsiteX4973" fmla="*/ 3415635 w 11683878"/>
                <a:gd name="connsiteY4973" fmla="*/ 4374344 h 6246035"/>
                <a:gd name="connsiteX4974" fmla="*/ 3372364 w 11683878"/>
                <a:gd name="connsiteY4974" fmla="*/ 4339731 h 6246035"/>
                <a:gd name="connsiteX4975" fmla="*/ 3315257 w 11683878"/>
                <a:gd name="connsiteY4975" fmla="*/ 4324688 h 6246035"/>
                <a:gd name="connsiteX4976" fmla="*/ 3305514 w 11683878"/>
                <a:gd name="connsiteY4976" fmla="*/ 4337244 h 6246035"/>
                <a:gd name="connsiteX4977" fmla="*/ 3297673 w 11683878"/>
                <a:gd name="connsiteY4977" fmla="*/ 4320049 h 6246035"/>
                <a:gd name="connsiteX4978" fmla="*/ 3257514 w 11683878"/>
                <a:gd name="connsiteY4978" fmla="*/ 4311743 h 6246035"/>
                <a:gd name="connsiteX4979" fmla="*/ 3256754 w 11683878"/>
                <a:gd name="connsiteY4979" fmla="*/ 4309407 h 6246035"/>
                <a:gd name="connsiteX4980" fmla="*/ 3188016 w 11683878"/>
                <a:gd name="connsiteY4980" fmla="*/ 4292162 h 6246035"/>
                <a:gd name="connsiteX4981" fmla="*/ 3169140 w 11683878"/>
                <a:gd name="connsiteY4981" fmla="*/ 4309926 h 6246035"/>
                <a:gd name="connsiteX4982" fmla="*/ 3172135 w 11683878"/>
                <a:gd name="connsiteY4982" fmla="*/ 4287471 h 6246035"/>
                <a:gd name="connsiteX4983" fmla="*/ 3139785 w 11683878"/>
                <a:gd name="connsiteY4983" fmla="*/ 4269438 h 6246035"/>
                <a:gd name="connsiteX4984" fmla="*/ 3126211 w 11683878"/>
                <a:gd name="connsiteY4984" fmla="*/ 4277561 h 6246035"/>
                <a:gd name="connsiteX4985" fmla="*/ 3126060 w 11683878"/>
                <a:gd name="connsiteY4985" fmla="*/ 4262628 h 6246035"/>
                <a:gd name="connsiteX4986" fmla="*/ 3099569 w 11683878"/>
                <a:gd name="connsiteY4986" fmla="*/ 4258038 h 6246035"/>
                <a:gd name="connsiteX4987" fmla="*/ 3096366 w 11683878"/>
                <a:gd name="connsiteY4987" fmla="*/ 4234488 h 6246035"/>
                <a:gd name="connsiteX4988" fmla="*/ 3079894 w 11683878"/>
                <a:gd name="connsiteY4988" fmla="*/ 4233271 h 6246035"/>
                <a:gd name="connsiteX4989" fmla="*/ 3073600 w 11683878"/>
                <a:gd name="connsiteY4989" fmla="*/ 4249338 h 6246035"/>
                <a:gd name="connsiteX4990" fmla="*/ 3052220 w 11683878"/>
                <a:gd name="connsiteY4990" fmla="*/ 4234773 h 6246035"/>
                <a:gd name="connsiteX4991" fmla="*/ 3058581 w 11683878"/>
                <a:gd name="connsiteY4991" fmla="*/ 4264462 h 6246035"/>
                <a:gd name="connsiteX4992" fmla="*/ 3019259 w 11683878"/>
                <a:gd name="connsiteY4992" fmla="*/ 4270834 h 6246035"/>
                <a:gd name="connsiteX4993" fmla="*/ 3065208 w 11683878"/>
                <a:gd name="connsiteY4993" fmla="*/ 4317867 h 6246035"/>
                <a:gd name="connsiteX4994" fmla="*/ 3037483 w 11683878"/>
                <a:gd name="connsiteY4994" fmla="*/ 4304124 h 6246035"/>
                <a:gd name="connsiteX4995" fmla="*/ 3014902 w 11683878"/>
                <a:gd name="connsiteY4995" fmla="*/ 4326276 h 6246035"/>
                <a:gd name="connsiteX4996" fmla="*/ 3050480 w 11683878"/>
                <a:gd name="connsiteY4996" fmla="*/ 4356370 h 6246035"/>
                <a:gd name="connsiteX4997" fmla="*/ 3073564 w 11683878"/>
                <a:gd name="connsiteY4997" fmla="*/ 4398378 h 6246035"/>
                <a:gd name="connsiteX4998" fmla="*/ 3064640 w 11683878"/>
                <a:gd name="connsiteY4998" fmla="*/ 4415308 h 6246035"/>
                <a:gd name="connsiteX4999" fmla="*/ 2974169 w 11683878"/>
                <a:gd name="connsiteY4999" fmla="*/ 4362020 h 6246035"/>
                <a:gd name="connsiteX5000" fmla="*/ 2924747 w 11683878"/>
                <a:gd name="connsiteY5000" fmla="*/ 4389143 h 6246035"/>
                <a:gd name="connsiteX5001" fmla="*/ 2927012 w 11683878"/>
                <a:gd name="connsiteY5001" fmla="*/ 4448451 h 6246035"/>
                <a:gd name="connsiteX5002" fmla="*/ 2882887 w 11683878"/>
                <a:gd name="connsiteY5002" fmla="*/ 4456085 h 6246035"/>
                <a:gd name="connsiteX5003" fmla="*/ 2811611 w 11683878"/>
                <a:gd name="connsiteY5003" fmla="*/ 4440854 h 6246035"/>
                <a:gd name="connsiteX5004" fmla="*/ 2811375 w 11683878"/>
                <a:gd name="connsiteY5004" fmla="*/ 4424241 h 6246035"/>
                <a:gd name="connsiteX5005" fmla="*/ 2805920 w 11683878"/>
                <a:gd name="connsiteY5005" fmla="*/ 4460027 h 6246035"/>
                <a:gd name="connsiteX5006" fmla="*/ 2837071 w 11683878"/>
                <a:gd name="connsiteY5006" fmla="*/ 4493184 h 6246035"/>
                <a:gd name="connsiteX5007" fmla="*/ 2816111 w 11683878"/>
                <a:gd name="connsiteY5007" fmla="*/ 4507752 h 6246035"/>
                <a:gd name="connsiteX5008" fmla="*/ 2855993 w 11683878"/>
                <a:gd name="connsiteY5008" fmla="*/ 4538643 h 6246035"/>
                <a:gd name="connsiteX5009" fmla="*/ 2847104 w 11683878"/>
                <a:gd name="connsiteY5009" fmla="*/ 4556031 h 6246035"/>
                <a:gd name="connsiteX5010" fmla="*/ 2885618 w 11683878"/>
                <a:gd name="connsiteY5010" fmla="*/ 4594750 h 6246035"/>
                <a:gd name="connsiteX5011" fmla="*/ 2888821 w 11683878"/>
                <a:gd name="connsiteY5011" fmla="*/ 4624757 h 6246035"/>
                <a:gd name="connsiteX5012" fmla="*/ 2877255 w 11683878"/>
                <a:gd name="connsiteY5012" fmla="*/ 4620976 h 6246035"/>
                <a:gd name="connsiteX5013" fmla="*/ 2832149 w 11683878"/>
                <a:gd name="connsiteY5013" fmla="*/ 4672237 h 6246035"/>
                <a:gd name="connsiteX5014" fmla="*/ 2735799 w 11683878"/>
                <a:gd name="connsiteY5014" fmla="*/ 4639018 h 6246035"/>
                <a:gd name="connsiteX5015" fmla="*/ 2717725 w 11683878"/>
                <a:gd name="connsiteY5015" fmla="*/ 4593186 h 6246035"/>
                <a:gd name="connsiteX5016" fmla="*/ 2673253 w 11683878"/>
                <a:gd name="connsiteY5016" fmla="*/ 4621396 h 6246035"/>
                <a:gd name="connsiteX5017" fmla="*/ 2644372 w 11683878"/>
                <a:gd name="connsiteY5017" fmla="*/ 4609811 h 6246035"/>
                <a:gd name="connsiteX5018" fmla="*/ 2654384 w 11683878"/>
                <a:gd name="connsiteY5018" fmla="*/ 4589487 h 6246035"/>
                <a:gd name="connsiteX5019" fmla="*/ 2601622 w 11683878"/>
                <a:gd name="connsiteY5019" fmla="*/ 4523486 h 6246035"/>
                <a:gd name="connsiteX5020" fmla="*/ 2616958 w 11683878"/>
                <a:gd name="connsiteY5020" fmla="*/ 4493666 h 6246035"/>
                <a:gd name="connsiteX5021" fmla="*/ 2605662 w 11683878"/>
                <a:gd name="connsiteY5021" fmla="*/ 4457765 h 6246035"/>
                <a:gd name="connsiteX5022" fmla="*/ 2583953 w 11683878"/>
                <a:gd name="connsiteY5022" fmla="*/ 4464233 h 6246035"/>
                <a:gd name="connsiteX5023" fmla="*/ 2558343 w 11683878"/>
                <a:gd name="connsiteY5023" fmla="*/ 4432334 h 6246035"/>
                <a:gd name="connsiteX5024" fmla="*/ 2538066 w 11683878"/>
                <a:gd name="connsiteY5024" fmla="*/ 4458354 h 6246035"/>
                <a:gd name="connsiteX5025" fmla="*/ 2514162 w 11683878"/>
                <a:gd name="connsiteY5025" fmla="*/ 4450617 h 6246035"/>
                <a:gd name="connsiteX5026" fmla="*/ 2508817 w 11683878"/>
                <a:gd name="connsiteY5026" fmla="*/ 4402458 h 6246035"/>
                <a:gd name="connsiteX5027" fmla="*/ 2467652 w 11683878"/>
                <a:gd name="connsiteY5027" fmla="*/ 4380129 h 6246035"/>
                <a:gd name="connsiteX5028" fmla="*/ 2459954 w 11683878"/>
                <a:gd name="connsiteY5028" fmla="*/ 4394927 h 6246035"/>
                <a:gd name="connsiteX5029" fmla="*/ 2453466 w 11683878"/>
                <a:gd name="connsiteY5029" fmla="*/ 4368414 h 6246035"/>
                <a:gd name="connsiteX5030" fmla="*/ 2340784 w 11683878"/>
                <a:gd name="connsiteY5030" fmla="*/ 4390215 h 6246035"/>
                <a:gd name="connsiteX5031" fmla="*/ 2313136 w 11683878"/>
                <a:gd name="connsiteY5031" fmla="*/ 4318052 h 6246035"/>
                <a:gd name="connsiteX5032" fmla="*/ 2324360 w 11683878"/>
                <a:gd name="connsiteY5032" fmla="*/ 4306047 h 6246035"/>
                <a:gd name="connsiteX5033" fmla="*/ 2297128 w 11683878"/>
                <a:gd name="connsiteY5033" fmla="*/ 4264328 h 6246035"/>
                <a:gd name="connsiteX5034" fmla="*/ 2268780 w 11683878"/>
                <a:gd name="connsiteY5034" fmla="*/ 4322500 h 6246035"/>
                <a:gd name="connsiteX5035" fmla="*/ 2243780 w 11683878"/>
                <a:gd name="connsiteY5035" fmla="*/ 4320113 h 6246035"/>
                <a:gd name="connsiteX5036" fmla="*/ 2243917 w 11683878"/>
                <a:gd name="connsiteY5036" fmla="*/ 4304237 h 6246035"/>
                <a:gd name="connsiteX5037" fmla="*/ 2274965 w 11683878"/>
                <a:gd name="connsiteY5037" fmla="*/ 4282614 h 6246035"/>
                <a:gd name="connsiteX5038" fmla="*/ 2261158 w 11683878"/>
                <a:gd name="connsiteY5038" fmla="*/ 4262223 h 6246035"/>
                <a:gd name="connsiteX5039" fmla="*/ 2265001 w 11683878"/>
                <a:gd name="connsiteY5039" fmla="*/ 4214329 h 6246035"/>
                <a:gd name="connsiteX5040" fmla="*/ 2244297 w 11683878"/>
                <a:gd name="connsiteY5040" fmla="*/ 4182618 h 6246035"/>
                <a:gd name="connsiteX5041" fmla="*/ 2256314 w 11683878"/>
                <a:gd name="connsiteY5041" fmla="*/ 4161988 h 6246035"/>
                <a:gd name="connsiteX5042" fmla="*/ 2246615 w 11683878"/>
                <a:gd name="connsiteY5042" fmla="*/ 4130805 h 6246035"/>
                <a:gd name="connsiteX5043" fmla="*/ 2181022 w 11683878"/>
                <a:gd name="connsiteY5043" fmla="*/ 4089987 h 6246035"/>
                <a:gd name="connsiteX5044" fmla="*/ 2197458 w 11683878"/>
                <a:gd name="connsiteY5044" fmla="*/ 4038856 h 6246035"/>
                <a:gd name="connsiteX5045" fmla="*/ 2150364 w 11683878"/>
                <a:gd name="connsiteY5045" fmla="*/ 4021005 h 6246035"/>
                <a:gd name="connsiteX5046" fmla="*/ 2112605 w 11683878"/>
                <a:gd name="connsiteY5046" fmla="*/ 4035324 h 6246035"/>
                <a:gd name="connsiteX5047" fmla="*/ 2118826 w 11683878"/>
                <a:gd name="connsiteY5047" fmla="*/ 4019915 h 6246035"/>
                <a:gd name="connsiteX5048" fmla="*/ 2090007 w 11683878"/>
                <a:gd name="connsiteY5048" fmla="*/ 4007429 h 6246035"/>
                <a:gd name="connsiteX5049" fmla="*/ 2109915 w 11683878"/>
                <a:gd name="connsiteY5049" fmla="*/ 3997623 h 6246035"/>
                <a:gd name="connsiteX5050" fmla="*/ 2107806 w 11683878"/>
                <a:gd name="connsiteY5050" fmla="*/ 3983243 h 6246035"/>
                <a:gd name="connsiteX5051" fmla="*/ 2079925 w 11683878"/>
                <a:gd name="connsiteY5051" fmla="*/ 3942667 h 6246035"/>
                <a:gd name="connsiteX5052" fmla="*/ 2072021 w 11683878"/>
                <a:gd name="connsiteY5052" fmla="*/ 3960792 h 6246035"/>
                <a:gd name="connsiteX5053" fmla="*/ 2052995 w 11683878"/>
                <a:gd name="connsiteY5053" fmla="*/ 3959785 h 6246035"/>
                <a:gd name="connsiteX5054" fmla="*/ 2053107 w 11683878"/>
                <a:gd name="connsiteY5054" fmla="*/ 3945578 h 6246035"/>
                <a:gd name="connsiteX5055" fmla="*/ 2032654 w 11683878"/>
                <a:gd name="connsiteY5055" fmla="*/ 3963164 h 6246035"/>
                <a:gd name="connsiteX5056" fmla="*/ 1991863 w 11683878"/>
                <a:gd name="connsiteY5056" fmla="*/ 3966765 h 6246035"/>
                <a:gd name="connsiteX5057" fmla="*/ 1939415 w 11683878"/>
                <a:gd name="connsiteY5057" fmla="*/ 3957345 h 6246035"/>
                <a:gd name="connsiteX5058" fmla="*/ 1908823 w 11683878"/>
                <a:gd name="connsiteY5058" fmla="*/ 3934108 h 6246035"/>
                <a:gd name="connsiteX5059" fmla="*/ 1886132 w 11683878"/>
                <a:gd name="connsiteY5059" fmla="*/ 3964448 h 6246035"/>
                <a:gd name="connsiteX5060" fmla="*/ 1816245 w 11683878"/>
                <a:gd name="connsiteY5060" fmla="*/ 3955499 h 6246035"/>
                <a:gd name="connsiteX5061" fmla="*/ 1801800 w 11683878"/>
                <a:gd name="connsiteY5061" fmla="*/ 3934101 h 6246035"/>
                <a:gd name="connsiteX5062" fmla="*/ 1761921 w 11683878"/>
                <a:gd name="connsiteY5062" fmla="*/ 4026941 h 6246035"/>
                <a:gd name="connsiteX5063" fmla="*/ 1704896 w 11683878"/>
                <a:gd name="connsiteY5063" fmla="*/ 4021682 h 6246035"/>
                <a:gd name="connsiteX5064" fmla="*/ 1695884 w 11683878"/>
                <a:gd name="connsiteY5064" fmla="*/ 3999232 h 6246035"/>
                <a:gd name="connsiteX5065" fmla="*/ 1714098 w 11683878"/>
                <a:gd name="connsiteY5065" fmla="*/ 3892337 h 6246035"/>
                <a:gd name="connsiteX5066" fmla="*/ 1676004 w 11683878"/>
                <a:gd name="connsiteY5066" fmla="*/ 3874658 h 6246035"/>
                <a:gd name="connsiteX5067" fmla="*/ 1688557 w 11683878"/>
                <a:gd name="connsiteY5067" fmla="*/ 3856945 h 6246035"/>
                <a:gd name="connsiteX5068" fmla="*/ 1665328 w 11683878"/>
                <a:gd name="connsiteY5068" fmla="*/ 3839144 h 6246035"/>
                <a:gd name="connsiteX5069" fmla="*/ 1675357 w 11683878"/>
                <a:gd name="connsiteY5069" fmla="*/ 3801357 h 6246035"/>
                <a:gd name="connsiteX5070" fmla="*/ 1675245 w 11683878"/>
                <a:gd name="connsiteY5070" fmla="*/ 3801336 h 6246035"/>
                <a:gd name="connsiteX5071" fmla="*/ 1665323 w 11683878"/>
                <a:gd name="connsiteY5071" fmla="*/ 3839144 h 6246035"/>
                <a:gd name="connsiteX5072" fmla="*/ 1688553 w 11683878"/>
                <a:gd name="connsiteY5072" fmla="*/ 3856945 h 6246035"/>
                <a:gd name="connsiteX5073" fmla="*/ 1676000 w 11683878"/>
                <a:gd name="connsiteY5073" fmla="*/ 3874658 h 6246035"/>
                <a:gd name="connsiteX5074" fmla="*/ 1690809 w 11683878"/>
                <a:gd name="connsiteY5074" fmla="*/ 3887275 h 6246035"/>
                <a:gd name="connsiteX5075" fmla="*/ 1658481 w 11683878"/>
                <a:gd name="connsiteY5075" fmla="*/ 3896568 h 6246035"/>
                <a:gd name="connsiteX5076" fmla="*/ 1655032 w 11683878"/>
                <a:gd name="connsiteY5076" fmla="*/ 3914179 h 6246035"/>
                <a:gd name="connsiteX5077" fmla="*/ 1595830 w 11683878"/>
                <a:gd name="connsiteY5077" fmla="*/ 3910510 h 6246035"/>
                <a:gd name="connsiteX5078" fmla="*/ 1532172 w 11683878"/>
                <a:gd name="connsiteY5078" fmla="*/ 3960306 h 6246035"/>
                <a:gd name="connsiteX5079" fmla="*/ 1523890 w 11683878"/>
                <a:gd name="connsiteY5079" fmla="*/ 4006033 h 6246035"/>
                <a:gd name="connsiteX5080" fmla="*/ 1450044 w 11683878"/>
                <a:gd name="connsiteY5080" fmla="*/ 4023886 h 6246035"/>
                <a:gd name="connsiteX5081" fmla="*/ 1450044 w 11683878"/>
                <a:gd name="connsiteY5081" fmla="*/ 4023884 h 6246035"/>
                <a:gd name="connsiteX5082" fmla="*/ 1450044 w 11683878"/>
                <a:gd name="connsiteY5082" fmla="*/ 4023886 h 6246035"/>
                <a:gd name="connsiteX5083" fmla="*/ 1413618 w 11683878"/>
                <a:gd name="connsiteY5083" fmla="*/ 4042006 h 6246035"/>
                <a:gd name="connsiteX5084" fmla="*/ 1443550 w 11683878"/>
                <a:gd name="connsiteY5084" fmla="*/ 4105654 h 6246035"/>
                <a:gd name="connsiteX5085" fmla="*/ 1423669 w 11683878"/>
                <a:gd name="connsiteY5085" fmla="*/ 4122470 h 6246035"/>
                <a:gd name="connsiteX5086" fmla="*/ 1430434 w 11683878"/>
                <a:gd name="connsiteY5086" fmla="*/ 4132959 h 6246035"/>
                <a:gd name="connsiteX5087" fmla="*/ 1408185 w 11683878"/>
                <a:gd name="connsiteY5087" fmla="*/ 4132165 h 6246035"/>
                <a:gd name="connsiteX5088" fmla="*/ 1394637 w 11683878"/>
                <a:gd name="connsiteY5088" fmla="*/ 4168470 h 6246035"/>
                <a:gd name="connsiteX5089" fmla="*/ 1400299 w 11683878"/>
                <a:gd name="connsiteY5089" fmla="*/ 4191219 h 6246035"/>
                <a:gd name="connsiteX5090" fmla="*/ 1418981 w 11683878"/>
                <a:gd name="connsiteY5090" fmla="*/ 4176187 h 6246035"/>
                <a:gd name="connsiteX5091" fmla="*/ 1464584 w 11683878"/>
                <a:gd name="connsiteY5091" fmla="*/ 4235568 h 6246035"/>
                <a:gd name="connsiteX5092" fmla="*/ 1460398 w 11683878"/>
                <a:gd name="connsiteY5092" fmla="*/ 4302967 h 6246035"/>
                <a:gd name="connsiteX5093" fmla="*/ 1432557 w 11683878"/>
                <a:gd name="connsiteY5093" fmla="*/ 4414011 h 6246035"/>
                <a:gd name="connsiteX5094" fmla="*/ 1403188 w 11683878"/>
                <a:gd name="connsiteY5094" fmla="*/ 4403671 h 6246035"/>
                <a:gd name="connsiteX5095" fmla="*/ 1392934 w 11683878"/>
                <a:gd name="connsiteY5095" fmla="*/ 4381007 h 6246035"/>
                <a:gd name="connsiteX5096" fmla="*/ 1373538 w 11683878"/>
                <a:gd name="connsiteY5096" fmla="*/ 4404344 h 6246035"/>
                <a:gd name="connsiteX5097" fmla="*/ 1404165 w 11683878"/>
                <a:gd name="connsiteY5097" fmla="*/ 4465856 h 6246035"/>
                <a:gd name="connsiteX5098" fmla="*/ 1404290 w 11683878"/>
                <a:gd name="connsiteY5098" fmla="*/ 4548920 h 6246035"/>
                <a:gd name="connsiteX5099" fmla="*/ 1325531 w 11683878"/>
                <a:gd name="connsiteY5099" fmla="*/ 4542842 h 6246035"/>
                <a:gd name="connsiteX5100" fmla="*/ 1283659 w 11683878"/>
                <a:gd name="connsiteY5100" fmla="*/ 4556724 h 6246035"/>
                <a:gd name="connsiteX5101" fmla="*/ 1232944 w 11683878"/>
                <a:gd name="connsiteY5101" fmla="*/ 4509468 h 6246035"/>
                <a:gd name="connsiteX5102" fmla="*/ 1188559 w 11683878"/>
                <a:gd name="connsiteY5102" fmla="*/ 4507337 h 6246035"/>
                <a:gd name="connsiteX5103" fmla="*/ 1171497 w 11683878"/>
                <a:gd name="connsiteY5103" fmla="*/ 4462193 h 6246035"/>
                <a:gd name="connsiteX5104" fmla="*/ 1179221 w 11683878"/>
                <a:gd name="connsiteY5104" fmla="*/ 4500025 h 6246035"/>
                <a:gd name="connsiteX5105" fmla="*/ 1156129 w 11683878"/>
                <a:gd name="connsiteY5105" fmla="*/ 4490512 h 6246035"/>
                <a:gd name="connsiteX5106" fmla="*/ 1078090 w 11683878"/>
                <a:gd name="connsiteY5106" fmla="*/ 4521650 h 6246035"/>
                <a:gd name="connsiteX5107" fmla="*/ 1078091 w 11683878"/>
                <a:gd name="connsiteY5107" fmla="*/ 4521651 h 6246035"/>
                <a:gd name="connsiteX5108" fmla="*/ 1078086 w 11683878"/>
                <a:gd name="connsiteY5108" fmla="*/ 4521652 h 6246035"/>
                <a:gd name="connsiteX5109" fmla="*/ 1078085 w 11683878"/>
                <a:gd name="connsiteY5109" fmla="*/ 4521652 h 6246035"/>
                <a:gd name="connsiteX5110" fmla="*/ 1078085 w 11683878"/>
                <a:gd name="connsiteY5110" fmla="*/ 4521652 h 6246035"/>
                <a:gd name="connsiteX5111" fmla="*/ 1055444 w 11683878"/>
                <a:gd name="connsiteY5111" fmla="*/ 4524691 h 6246035"/>
                <a:gd name="connsiteX5112" fmla="*/ 1094768 w 11683878"/>
                <a:gd name="connsiteY5112" fmla="*/ 4542355 h 6246035"/>
                <a:gd name="connsiteX5113" fmla="*/ 1104888 w 11683878"/>
                <a:gd name="connsiteY5113" fmla="*/ 4573151 h 6246035"/>
                <a:gd name="connsiteX5114" fmla="*/ 1086329 w 11683878"/>
                <a:gd name="connsiteY5114" fmla="*/ 4602103 h 6246035"/>
                <a:gd name="connsiteX5115" fmla="*/ 1054527 w 11683878"/>
                <a:gd name="connsiteY5115" fmla="*/ 4608017 h 6246035"/>
                <a:gd name="connsiteX5116" fmla="*/ 1078142 w 11683878"/>
                <a:gd name="connsiteY5116" fmla="*/ 4641468 h 6246035"/>
                <a:gd name="connsiteX5117" fmla="*/ 1069571 w 11683878"/>
                <a:gd name="connsiteY5117" fmla="*/ 4671955 h 6246035"/>
                <a:gd name="connsiteX5118" fmla="*/ 1008902 w 11683878"/>
                <a:gd name="connsiteY5118" fmla="*/ 4687800 h 6246035"/>
                <a:gd name="connsiteX5119" fmla="*/ 950538 w 11683878"/>
                <a:gd name="connsiteY5119" fmla="*/ 4739570 h 6246035"/>
                <a:gd name="connsiteX5120" fmla="*/ 915533 w 11683878"/>
                <a:gd name="connsiteY5120" fmla="*/ 4957934 h 6246035"/>
                <a:gd name="connsiteX5121" fmla="*/ 841675 w 11683878"/>
                <a:gd name="connsiteY5121" fmla="*/ 4964361 h 6246035"/>
                <a:gd name="connsiteX5122" fmla="*/ 803616 w 11683878"/>
                <a:gd name="connsiteY5122" fmla="*/ 4950725 h 6246035"/>
                <a:gd name="connsiteX5123" fmla="*/ 756227 w 11683878"/>
                <a:gd name="connsiteY5123" fmla="*/ 4967505 h 6246035"/>
                <a:gd name="connsiteX5124" fmla="*/ 717573 w 11683878"/>
                <a:gd name="connsiteY5124" fmla="*/ 4918078 h 6246035"/>
                <a:gd name="connsiteX5125" fmla="*/ 727780 w 11683878"/>
                <a:gd name="connsiteY5125" fmla="*/ 4803376 h 6246035"/>
                <a:gd name="connsiteX5126" fmla="*/ 706484 w 11683878"/>
                <a:gd name="connsiteY5126" fmla="*/ 4795767 h 6246035"/>
                <a:gd name="connsiteX5127" fmla="*/ 668233 w 11683878"/>
                <a:gd name="connsiteY5127" fmla="*/ 4669592 h 6246035"/>
                <a:gd name="connsiteX5128" fmla="*/ 712249 w 11683878"/>
                <a:gd name="connsiteY5128" fmla="*/ 4652718 h 6246035"/>
                <a:gd name="connsiteX5129" fmla="*/ 715144 w 11683878"/>
                <a:gd name="connsiteY5129" fmla="*/ 4652954 h 6246035"/>
                <a:gd name="connsiteX5130" fmla="*/ 679845 w 11683878"/>
                <a:gd name="connsiteY5130" fmla="*/ 4613346 h 6246035"/>
                <a:gd name="connsiteX5131" fmla="*/ 679604 w 11683878"/>
                <a:gd name="connsiteY5131" fmla="*/ 4571433 h 6246035"/>
                <a:gd name="connsiteX5132" fmla="*/ 714021 w 11683878"/>
                <a:gd name="connsiteY5132" fmla="*/ 4563571 h 6246035"/>
                <a:gd name="connsiteX5133" fmla="*/ 762354 w 11683878"/>
                <a:gd name="connsiteY5133" fmla="*/ 4500131 h 6246035"/>
                <a:gd name="connsiteX5134" fmla="*/ 762354 w 11683878"/>
                <a:gd name="connsiteY5134" fmla="*/ 4500130 h 6246035"/>
                <a:gd name="connsiteX5135" fmla="*/ 714020 w 11683878"/>
                <a:gd name="connsiteY5135" fmla="*/ 4563571 h 6246035"/>
                <a:gd name="connsiteX5136" fmla="*/ 675994 w 11683878"/>
                <a:gd name="connsiteY5136" fmla="*/ 4571386 h 6246035"/>
                <a:gd name="connsiteX5137" fmla="*/ 667042 w 11683878"/>
                <a:gd name="connsiteY5137" fmla="*/ 4551193 h 6246035"/>
                <a:gd name="connsiteX5138" fmla="*/ 647619 w 11683878"/>
                <a:gd name="connsiteY5138" fmla="*/ 4560655 h 6246035"/>
                <a:gd name="connsiteX5139" fmla="*/ 664643 w 11683878"/>
                <a:gd name="connsiteY5139" fmla="*/ 4512063 h 6246035"/>
                <a:gd name="connsiteX5140" fmla="*/ 649639 w 11683878"/>
                <a:gd name="connsiteY5140" fmla="*/ 4532917 h 6246035"/>
                <a:gd name="connsiteX5141" fmla="*/ 617316 w 11683878"/>
                <a:gd name="connsiteY5141" fmla="*/ 4506527 h 6246035"/>
                <a:gd name="connsiteX5142" fmla="*/ 569367 w 11683878"/>
                <a:gd name="connsiteY5142" fmla="*/ 4496387 h 6246035"/>
                <a:gd name="connsiteX5143" fmla="*/ 558641 w 11683878"/>
                <a:gd name="connsiteY5143" fmla="*/ 4466505 h 6246035"/>
                <a:gd name="connsiteX5144" fmla="*/ 578329 w 11683878"/>
                <a:gd name="connsiteY5144" fmla="*/ 4461688 h 6246035"/>
                <a:gd name="connsiteX5145" fmla="*/ 562957 w 11683878"/>
                <a:gd name="connsiteY5145" fmla="*/ 4411100 h 6246035"/>
                <a:gd name="connsiteX5146" fmla="*/ 582094 w 11683878"/>
                <a:gd name="connsiteY5146" fmla="*/ 4420676 h 6246035"/>
                <a:gd name="connsiteX5147" fmla="*/ 645398 w 11683878"/>
                <a:gd name="connsiteY5147" fmla="*/ 4400974 h 6246035"/>
                <a:gd name="connsiteX5148" fmla="*/ 646876 w 11683878"/>
                <a:gd name="connsiteY5148" fmla="*/ 4427322 h 6246035"/>
                <a:gd name="connsiteX5149" fmla="*/ 679533 w 11683878"/>
                <a:gd name="connsiteY5149" fmla="*/ 4412009 h 6246035"/>
                <a:gd name="connsiteX5150" fmla="*/ 679533 w 11683878"/>
                <a:gd name="connsiteY5150" fmla="*/ 4412008 h 6246035"/>
                <a:gd name="connsiteX5151" fmla="*/ 646876 w 11683878"/>
                <a:gd name="connsiteY5151" fmla="*/ 4427321 h 6246035"/>
                <a:gd name="connsiteX5152" fmla="*/ 645398 w 11683878"/>
                <a:gd name="connsiteY5152" fmla="*/ 4400973 h 6246035"/>
                <a:gd name="connsiteX5153" fmla="*/ 582094 w 11683878"/>
                <a:gd name="connsiteY5153" fmla="*/ 4420675 h 6246035"/>
                <a:gd name="connsiteX5154" fmla="*/ 557090 w 11683878"/>
                <a:gd name="connsiteY5154" fmla="*/ 4406487 h 6246035"/>
                <a:gd name="connsiteX5155" fmla="*/ 554240 w 11683878"/>
                <a:gd name="connsiteY5155" fmla="*/ 4344972 h 6246035"/>
                <a:gd name="connsiteX5156" fmla="*/ 531659 w 11683878"/>
                <a:gd name="connsiteY5156" fmla="*/ 4324280 h 6246035"/>
                <a:gd name="connsiteX5157" fmla="*/ 528520 w 11683878"/>
                <a:gd name="connsiteY5157" fmla="*/ 4284624 h 6246035"/>
                <a:gd name="connsiteX5158" fmla="*/ 568507 w 11683878"/>
                <a:gd name="connsiteY5158" fmla="*/ 4255963 h 6246035"/>
                <a:gd name="connsiteX5159" fmla="*/ 516009 w 11683878"/>
                <a:gd name="connsiteY5159" fmla="*/ 4287463 h 6246035"/>
                <a:gd name="connsiteX5160" fmla="*/ 459834 w 11683878"/>
                <a:gd name="connsiteY5160" fmla="*/ 4225977 h 6246035"/>
                <a:gd name="connsiteX5161" fmla="*/ 458979 w 11683878"/>
                <a:gd name="connsiteY5161" fmla="*/ 4191542 h 6246035"/>
                <a:gd name="connsiteX5162" fmla="*/ 431165 w 11683878"/>
                <a:gd name="connsiteY5162" fmla="*/ 4148359 h 6246035"/>
                <a:gd name="connsiteX5163" fmla="*/ 426571 w 11683878"/>
                <a:gd name="connsiteY5163" fmla="*/ 4116197 h 6246035"/>
                <a:gd name="connsiteX5164" fmla="*/ 444861 w 11683878"/>
                <a:gd name="connsiteY5164" fmla="*/ 4094063 h 6246035"/>
                <a:gd name="connsiteX5165" fmla="*/ 444862 w 11683878"/>
                <a:gd name="connsiteY5165" fmla="*/ 4094063 h 6246035"/>
                <a:gd name="connsiteX5166" fmla="*/ 499701 w 11683878"/>
                <a:gd name="connsiteY5166" fmla="*/ 4084981 h 6246035"/>
                <a:gd name="connsiteX5167" fmla="*/ 510998 w 11683878"/>
                <a:gd name="connsiteY5167" fmla="*/ 4068228 h 6246035"/>
                <a:gd name="connsiteX5168" fmla="*/ 510997 w 11683878"/>
                <a:gd name="connsiteY5168" fmla="*/ 4068222 h 6246035"/>
                <a:gd name="connsiteX5169" fmla="*/ 499697 w 11683878"/>
                <a:gd name="connsiteY5169" fmla="*/ 4084981 h 6246035"/>
                <a:gd name="connsiteX5170" fmla="*/ 444857 w 11683878"/>
                <a:gd name="connsiteY5170" fmla="*/ 4094062 h 6246035"/>
                <a:gd name="connsiteX5171" fmla="*/ 426241 w 11683878"/>
                <a:gd name="connsiteY5171" fmla="*/ 4116069 h 6246035"/>
                <a:gd name="connsiteX5172" fmla="*/ 384518 w 11683878"/>
                <a:gd name="connsiteY5172" fmla="*/ 4060039 h 6246035"/>
                <a:gd name="connsiteX5173" fmla="*/ 324421 w 11683878"/>
                <a:gd name="connsiteY5173" fmla="*/ 4070902 h 6246035"/>
                <a:gd name="connsiteX5174" fmla="*/ 340650 w 11683878"/>
                <a:gd name="connsiteY5174" fmla="*/ 3876064 h 6246035"/>
                <a:gd name="connsiteX5175" fmla="*/ 300109 w 11683878"/>
                <a:gd name="connsiteY5175" fmla="*/ 3721235 h 6246035"/>
                <a:gd name="connsiteX5176" fmla="*/ 315676 w 11683878"/>
                <a:gd name="connsiteY5176" fmla="*/ 3666041 h 6246035"/>
                <a:gd name="connsiteX5177" fmla="*/ 297940 w 11683878"/>
                <a:gd name="connsiteY5177" fmla="*/ 3619561 h 6246035"/>
                <a:gd name="connsiteX5178" fmla="*/ 297940 w 11683878"/>
                <a:gd name="connsiteY5178" fmla="*/ 3619561 h 6246035"/>
                <a:gd name="connsiteX5179" fmla="*/ 259041 w 11683878"/>
                <a:gd name="connsiteY5179" fmla="*/ 3599843 h 6246035"/>
                <a:gd name="connsiteX5180" fmla="*/ 219920 w 11683878"/>
                <a:gd name="connsiteY5180" fmla="*/ 3542071 h 6246035"/>
                <a:gd name="connsiteX5181" fmla="*/ 157895 w 11683878"/>
                <a:gd name="connsiteY5181" fmla="*/ 3525196 h 6246035"/>
                <a:gd name="connsiteX5182" fmla="*/ 126650 w 11683878"/>
                <a:gd name="connsiteY5182" fmla="*/ 3486672 h 6246035"/>
                <a:gd name="connsiteX5183" fmla="*/ 49113 w 11683878"/>
                <a:gd name="connsiteY5183" fmla="*/ 3474122 h 6246035"/>
                <a:gd name="connsiteX5184" fmla="*/ 9931 w 11683878"/>
                <a:gd name="connsiteY5184" fmla="*/ 3432458 h 6246035"/>
                <a:gd name="connsiteX5185" fmla="*/ 37398 w 11683878"/>
                <a:gd name="connsiteY5185" fmla="*/ 3416283 h 6246035"/>
                <a:gd name="connsiteX5186" fmla="*/ 7994 w 11683878"/>
                <a:gd name="connsiteY5186" fmla="*/ 3428395 h 6246035"/>
                <a:gd name="connsiteX5187" fmla="*/ 0 w 11683878"/>
                <a:gd name="connsiteY5187" fmla="*/ 3376271 h 6246035"/>
                <a:gd name="connsiteX5188" fmla="*/ 17122 w 11683878"/>
                <a:gd name="connsiteY5188" fmla="*/ 3338078 h 6246035"/>
                <a:gd name="connsiteX5189" fmla="*/ 76754 w 11683878"/>
                <a:gd name="connsiteY5189" fmla="*/ 3323758 h 6246035"/>
                <a:gd name="connsiteX5190" fmla="*/ 81271 w 11683878"/>
                <a:gd name="connsiteY5190" fmla="*/ 3363096 h 6246035"/>
                <a:gd name="connsiteX5191" fmla="*/ 73765 w 11683878"/>
                <a:gd name="connsiteY5191" fmla="*/ 3262728 h 6246035"/>
                <a:gd name="connsiteX5192" fmla="*/ 46625 w 11683878"/>
                <a:gd name="connsiteY5192" fmla="*/ 3218215 h 6246035"/>
                <a:gd name="connsiteX5193" fmla="*/ 65480 w 11683878"/>
                <a:gd name="connsiteY5193" fmla="*/ 3183577 h 6246035"/>
                <a:gd name="connsiteX5194" fmla="*/ 98670 w 11683878"/>
                <a:gd name="connsiteY5194" fmla="*/ 3176788 h 6246035"/>
                <a:gd name="connsiteX5195" fmla="*/ 156311 w 11683878"/>
                <a:gd name="connsiteY5195" fmla="*/ 3196967 h 6246035"/>
                <a:gd name="connsiteX5196" fmla="*/ 228399 w 11683878"/>
                <a:gd name="connsiteY5196" fmla="*/ 3248741 h 6246035"/>
                <a:gd name="connsiteX5197" fmla="*/ 228402 w 11683878"/>
                <a:gd name="connsiteY5197" fmla="*/ 3248740 h 6246035"/>
                <a:gd name="connsiteX5198" fmla="*/ 188938 w 11683878"/>
                <a:gd name="connsiteY5198" fmla="*/ 3220396 h 6246035"/>
                <a:gd name="connsiteX5199" fmla="*/ 156573 w 11683878"/>
                <a:gd name="connsiteY5199" fmla="*/ 3191078 h 6246035"/>
                <a:gd name="connsiteX5200" fmla="*/ 159924 w 11683878"/>
                <a:gd name="connsiteY5200" fmla="*/ 3113929 h 6246035"/>
                <a:gd name="connsiteX5201" fmla="*/ 113740 w 11683878"/>
                <a:gd name="connsiteY5201" fmla="*/ 3077748 h 6246035"/>
                <a:gd name="connsiteX5202" fmla="*/ 135329 w 11683878"/>
                <a:gd name="connsiteY5202" fmla="*/ 3066817 h 6246035"/>
                <a:gd name="connsiteX5203" fmla="*/ 115741 w 11683878"/>
                <a:gd name="connsiteY5203" fmla="*/ 3031364 h 6246035"/>
                <a:gd name="connsiteX5204" fmla="*/ 164043 w 11683878"/>
                <a:gd name="connsiteY5204" fmla="*/ 3014121 h 6246035"/>
                <a:gd name="connsiteX5205" fmla="*/ 162048 w 11683878"/>
                <a:gd name="connsiteY5205" fmla="*/ 3022320 h 6246035"/>
                <a:gd name="connsiteX5206" fmla="*/ 167171 w 11683878"/>
                <a:gd name="connsiteY5206" fmla="*/ 3054086 h 6246035"/>
                <a:gd name="connsiteX5207" fmla="*/ 192727 w 11683878"/>
                <a:gd name="connsiteY5207" fmla="*/ 3038428 h 6246035"/>
                <a:gd name="connsiteX5208" fmla="*/ 222672 w 11683878"/>
                <a:gd name="connsiteY5208" fmla="*/ 3053936 h 6246035"/>
                <a:gd name="connsiteX5209" fmla="*/ 231454 w 11683878"/>
                <a:gd name="connsiteY5209" fmla="*/ 3064244 h 6246035"/>
                <a:gd name="connsiteX5210" fmla="*/ 245702 w 11683878"/>
                <a:gd name="connsiteY5210" fmla="*/ 3063974 h 6246035"/>
                <a:gd name="connsiteX5211" fmla="*/ 249331 w 11683878"/>
                <a:gd name="connsiteY5211" fmla="*/ 3074283 h 6246035"/>
                <a:gd name="connsiteX5212" fmla="*/ 258593 w 11683878"/>
                <a:gd name="connsiteY5212" fmla="*/ 3075151 h 6246035"/>
                <a:gd name="connsiteX5213" fmla="*/ 263639 w 11683878"/>
                <a:gd name="connsiteY5213" fmla="*/ 3083139 h 6246035"/>
                <a:gd name="connsiteX5214" fmla="*/ 273456 w 11683878"/>
                <a:gd name="connsiteY5214" fmla="*/ 3087221 h 6246035"/>
                <a:gd name="connsiteX5215" fmla="*/ 287777 w 11683878"/>
                <a:gd name="connsiteY5215" fmla="*/ 3114680 h 6246035"/>
                <a:gd name="connsiteX5216" fmla="*/ 315178 w 11683878"/>
                <a:gd name="connsiteY5216" fmla="*/ 3110502 h 6246035"/>
                <a:gd name="connsiteX5217" fmla="*/ 325869 w 11683878"/>
                <a:gd name="connsiteY5217" fmla="*/ 3116840 h 6246035"/>
                <a:gd name="connsiteX5218" fmla="*/ 326550 w 11683878"/>
                <a:gd name="connsiteY5218" fmla="*/ 3095212 h 6246035"/>
                <a:gd name="connsiteX5219" fmla="*/ 341090 w 11683878"/>
                <a:gd name="connsiteY5219" fmla="*/ 3090470 h 6246035"/>
                <a:gd name="connsiteX5220" fmla="*/ 355759 w 11683878"/>
                <a:gd name="connsiteY5220" fmla="*/ 3102313 h 6246035"/>
                <a:gd name="connsiteX5221" fmla="*/ 371545 w 11683878"/>
                <a:gd name="connsiteY5221" fmla="*/ 3090656 h 6246035"/>
                <a:gd name="connsiteX5222" fmla="*/ 373658 w 11683878"/>
                <a:gd name="connsiteY5222" fmla="*/ 3073213 h 6246035"/>
                <a:gd name="connsiteX5223" fmla="*/ 381755 w 11683878"/>
                <a:gd name="connsiteY5223" fmla="*/ 3070732 h 6246035"/>
                <a:gd name="connsiteX5224" fmla="*/ 381379 w 11683878"/>
                <a:gd name="connsiteY5224" fmla="*/ 3079127 h 6246035"/>
                <a:gd name="connsiteX5225" fmla="*/ 401737 w 11683878"/>
                <a:gd name="connsiteY5225" fmla="*/ 3061077 h 6246035"/>
                <a:gd name="connsiteX5226" fmla="*/ 406413 w 11683878"/>
                <a:gd name="connsiteY5226" fmla="*/ 3092357 h 6246035"/>
                <a:gd name="connsiteX5227" fmla="*/ 426781 w 11683878"/>
                <a:gd name="connsiteY5227" fmla="*/ 3099601 h 6246035"/>
                <a:gd name="connsiteX5228" fmla="*/ 430833 w 11683878"/>
                <a:gd name="connsiteY5228" fmla="*/ 3105815 h 6246035"/>
                <a:gd name="connsiteX5229" fmla="*/ 426334 w 11683878"/>
                <a:gd name="connsiteY5229" fmla="*/ 3117046 h 6246035"/>
                <a:gd name="connsiteX5230" fmla="*/ 446591 w 11683878"/>
                <a:gd name="connsiteY5230" fmla="*/ 3143768 h 6246035"/>
                <a:gd name="connsiteX5231" fmla="*/ 449330 w 11683878"/>
                <a:gd name="connsiteY5231" fmla="*/ 3164711 h 6246035"/>
                <a:gd name="connsiteX5232" fmla="*/ 439945 w 11683878"/>
                <a:gd name="connsiteY5232" fmla="*/ 3178838 h 6246035"/>
                <a:gd name="connsiteX5233" fmla="*/ 456254 w 11683878"/>
                <a:gd name="connsiteY5233" fmla="*/ 3172386 h 6246035"/>
                <a:gd name="connsiteX5234" fmla="*/ 511378 w 11683878"/>
                <a:gd name="connsiteY5234" fmla="*/ 3222617 h 6246035"/>
                <a:gd name="connsiteX5235" fmla="*/ 510910 w 11683878"/>
                <a:gd name="connsiteY5235" fmla="*/ 3212113 h 6246035"/>
                <a:gd name="connsiteX5236" fmla="*/ 534782 w 11683878"/>
                <a:gd name="connsiteY5236" fmla="*/ 3199479 h 6246035"/>
                <a:gd name="connsiteX5237" fmla="*/ 534506 w 11683878"/>
                <a:gd name="connsiteY5237" fmla="*/ 3190934 h 6246035"/>
                <a:gd name="connsiteX5238" fmla="*/ 539588 w 11683878"/>
                <a:gd name="connsiteY5238" fmla="*/ 3186145 h 6246035"/>
                <a:gd name="connsiteX5239" fmla="*/ 542419 w 11683878"/>
                <a:gd name="connsiteY5239" fmla="*/ 3171779 h 6246035"/>
                <a:gd name="connsiteX5240" fmla="*/ 555449 w 11683878"/>
                <a:gd name="connsiteY5240" fmla="*/ 3172234 h 6246035"/>
                <a:gd name="connsiteX5241" fmla="*/ 559285 w 11683878"/>
                <a:gd name="connsiteY5241" fmla="*/ 3156582 h 6246035"/>
                <a:gd name="connsiteX5242" fmla="*/ 574337 w 11683878"/>
                <a:gd name="connsiteY5242" fmla="*/ 3146382 h 6246035"/>
                <a:gd name="connsiteX5243" fmla="*/ 586389 w 11683878"/>
                <a:gd name="connsiteY5243" fmla="*/ 3163169 h 6246035"/>
                <a:gd name="connsiteX5244" fmla="*/ 605909 w 11683878"/>
                <a:gd name="connsiteY5244" fmla="*/ 3187254 h 6246035"/>
                <a:gd name="connsiteX5245" fmla="*/ 617833 w 11683878"/>
                <a:gd name="connsiteY5245" fmla="*/ 3216832 h 6246035"/>
                <a:gd name="connsiteX5246" fmla="*/ 627262 w 11683878"/>
                <a:gd name="connsiteY5246" fmla="*/ 3218103 h 6246035"/>
                <a:gd name="connsiteX5247" fmla="*/ 635167 w 11683878"/>
                <a:gd name="connsiteY5247" fmla="*/ 3233613 h 6246035"/>
                <a:gd name="connsiteX5248" fmla="*/ 643079 w 11683878"/>
                <a:gd name="connsiteY5248" fmla="*/ 3246642 h 6246035"/>
                <a:gd name="connsiteX5249" fmla="*/ 652103 w 11683878"/>
                <a:gd name="connsiteY5249" fmla="*/ 3256885 h 6246035"/>
                <a:gd name="connsiteX5250" fmla="*/ 650307 w 11683878"/>
                <a:gd name="connsiteY5250" fmla="*/ 3269430 h 6246035"/>
                <a:gd name="connsiteX5251" fmla="*/ 639598 w 11683878"/>
                <a:gd name="connsiteY5251" fmla="*/ 3281399 h 6246035"/>
                <a:gd name="connsiteX5252" fmla="*/ 634418 w 11683878"/>
                <a:gd name="connsiteY5252" fmla="*/ 3292846 h 6246035"/>
                <a:gd name="connsiteX5253" fmla="*/ 629224 w 11683878"/>
                <a:gd name="connsiteY5253" fmla="*/ 3298829 h 6246035"/>
                <a:gd name="connsiteX5254" fmla="*/ 639436 w 11683878"/>
                <a:gd name="connsiteY5254" fmla="*/ 3304131 h 6246035"/>
                <a:gd name="connsiteX5255" fmla="*/ 638222 w 11683878"/>
                <a:gd name="connsiteY5255" fmla="*/ 3314969 h 6246035"/>
                <a:gd name="connsiteX5256" fmla="*/ 648711 w 11683878"/>
                <a:gd name="connsiteY5256" fmla="*/ 3331033 h 6246035"/>
                <a:gd name="connsiteX5257" fmla="*/ 669515 w 11683878"/>
                <a:gd name="connsiteY5257" fmla="*/ 3342894 h 6246035"/>
                <a:gd name="connsiteX5258" fmla="*/ 669029 w 11683878"/>
                <a:gd name="connsiteY5258" fmla="*/ 3345272 h 6246035"/>
                <a:gd name="connsiteX5259" fmla="*/ 669515 w 11683878"/>
                <a:gd name="connsiteY5259" fmla="*/ 3342894 h 6246035"/>
                <a:gd name="connsiteX5260" fmla="*/ 676501 w 11683878"/>
                <a:gd name="connsiteY5260" fmla="*/ 3346743 h 6246035"/>
                <a:gd name="connsiteX5261" fmla="*/ 678456 w 11683878"/>
                <a:gd name="connsiteY5261" fmla="*/ 3340704 h 6246035"/>
                <a:gd name="connsiteX5262" fmla="*/ 689189 w 11683878"/>
                <a:gd name="connsiteY5262" fmla="*/ 3327520 h 6246035"/>
                <a:gd name="connsiteX5263" fmla="*/ 697949 w 11683878"/>
                <a:gd name="connsiteY5263" fmla="*/ 3331432 h 6246035"/>
                <a:gd name="connsiteX5264" fmla="*/ 703901 w 11683878"/>
                <a:gd name="connsiteY5264" fmla="*/ 3350932 h 6246035"/>
                <a:gd name="connsiteX5265" fmla="*/ 709740 w 11683878"/>
                <a:gd name="connsiteY5265" fmla="*/ 3352491 h 6246035"/>
                <a:gd name="connsiteX5266" fmla="*/ 720811 w 11683878"/>
                <a:gd name="connsiteY5266" fmla="*/ 3339791 h 6246035"/>
                <a:gd name="connsiteX5267" fmla="*/ 727254 w 11683878"/>
                <a:gd name="connsiteY5267" fmla="*/ 3344415 h 6246035"/>
                <a:gd name="connsiteX5268" fmla="*/ 737096 w 11683878"/>
                <a:gd name="connsiteY5268" fmla="*/ 3331819 h 6246035"/>
                <a:gd name="connsiteX5269" fmla="*/ 731992 w 11683878"/>
                <a:gd name="connsiteY5269" fmla="*/ 3321071 h 6246035"/>
                <a:gd name="connsiteX5270" fmla="*/ 747799 w 11683878"/>
                <a:gd name="connsiteY5270" fmla="*/ 3310846 h 6246035"/>
                <a:gd name="connsiteX5271" fmla="*/ 761322 w 11683878"/>
                <a:gd name="connsiteY5271" fmla="*/ 3309318 h 6246035"/>
                <a:gd name="connsiteX5272" fmla="*/ 761322 w 11683878"/>
                <a:gd name="connsiteY5272" fmla="*/ 3309320 h 6246035"/>
                <a:gd name="connsiteX5273" fmla="*/ 761322 w 11683878"/>
                <a:gd name="connsiteY5273" fmla="*/ 3309318 h 6246035"/>
                <a:gd name="connsiteX5274" fmla="*/ 761322 w 11683878"/>
                <a:gd name="connsiteY5274" fmla="*/ 3309318 h 6246035"/>
                <a:gd name="connsiteX5275" fmla="*/ 757030 w 11683878"/>
                <a:gd name="connsiteY5275" fmla="*/ 3291797 h 6246035"/>
                <a:gd name="connsiteX5276" fmla="*/ 768239 w 11683878"/>
                <a:gd name="connsiteY5276" fmla="*/ 3280888 h 6246035"/>
                <a:gd name="connsiteX5277" fmla="*/ 772444 w 11683878"/>
                <a:gd name="connsiteY5277" fmla="*/ 3272834 h 6246035"/>
                <a:gd name="connsiteX5278" fmla="*/ 776907 w 11683878"/>
                <a:gd name="connsiteY5278" fmla="*/ 3268711 h 6246035"/>
                <a:gd name="connsiteX5279" fmla="*/ 780702 w 11683878"/>
                <a:gd name="connsiteY5279" fmla="*/ 3276129 h 6246035"/>
                <a:gd name="connsiteX5280" fmla="*/ 780920 w 11683878"/>
                <a:gd name="connsiteY5280" fmla="*/ 3282067 h 6246035"/>
                <a:gd name="connsiteX5281" fmla="*/ 786126 w 11683878"/>
                <a:gd name="connsiteY5281" fmla="*/ 3279567 h 6246035"/>
                <a:gd name="connsiteX5282" fmla="*/ 789544 w 11683878"/>
                <a:gd name="connsiteY5282" fmla="*/ 3285446 h 6246035"/>
                <a:gd name="connsiteX5283" fmla="*/ 794647 w 11683878"/>
                <a:gd name="connsiteY5283" fmla="*/ 3290731 h 6246035"/>
                <a:gd name="connsiteX5284" fmla="*/ 800053 w 11683878"/>
                <a:gd name="connsiteY5284" fmla="*/ 3293201 h 6246035"/>
                <a:gd name="connsiteX5285" fmla="*/ 807830 w 11683878"/>
                <a:gd name="connsiteY5285" fmla="*/ 3291855 h 6246035"/>
                <a:gd name="connsiteX5286" fmla="*/ 809178 w 11683878"/>
                <a:gd name="connsiteY5286" fmla="*/ 3302744 h 6246035"/>
                <a:gd name="connsiteX5287" fmla="*/ 814453 w 11683878"/>
                <a:gd name="connsiteY5287" fmla="*/ 3297600 h 6246035"/>
                <a:gd name="connsiteX5288" fmla="*/ 822218 w 11683878"/>
                <a:gd name="connsiteY5288" fmla="*/ 3296965 h 6246035"/>
                <a:gd name="connsiteX5289" fmla="*/ 829686 w 11683878"/>
                <a:gd name="connsiteY5289" fmla="*/ 3301729 h 6246035"/>
                <a:gd name="connsiteX5290" fmla="*/ 833161 w 11683878"/>
                <a:gd name="connsiteY5290" fmla="*/ 3294599 h 6246035"/>
                <a:gd name="connsiteX5291" fmla="*/ 851324 w 11683878"/>
                <a:gd name="connsiteY5291" fmla="*/ 3295216 h 6246035"/>
                <a:gd name="connsiteX5292" fmla="*/ 856738 w 11683878"/>
                <a:gd name="connsiteY5292" fmla="*/ 3298876 h 6246035"/>
                <a:gd name="connsiteX5293" fmla="*/ 861234 w 11683878"/>
                <a:gd name="connsiteY5293" fmla="*/ 3294853 h 6246035"/>
                <a:gd name="connsiteX5294" fmla="*/ 869696 w 11683878"/>
                <a:gd name="connsiteY5294" fmla="*/ 3299589 h 6246035"/>
                <a:gd name="connsiteX5295" fmla="*/ 871716 w 11683878"/>
                <a:gd name="connsiteY5295" fmla="*/ 3285802 h 6246035"/>
                <a:gd name="connsiteX5296" fmla="*/ 881105 w 11683878"/>
                <a:gd name="connsiteY5296" fmla="*/ 3291436 h 6246035"/>
                <a:gd name="connsiteX5297" fmla="*/ 891647 w 11683878"/>
                <a:gd name="connsiteY5297" fmla="*/ 3306187 h 6246035"/>
                <a:gd name="connsiteX5298" fmla="*/ 901114 w 11683878"/>
                <a:gd name="connsiteY5298" fmla="*/ 3308294 h 6246035"/>
                <a:gd name="connsiteX5299" fmla="*/ 900394 w 11683878"/>
                <a:gd name="connsiteY5299" fmla="*/ 3315843 h 6246035"/>
                <a:gd name="connsiteX5300" fmla="*/ 900393 w 11683878"/>
                <a:gd name="connsiteY5300" fmla="*/ 3315844 h 6246035"/>
                <a:gd name="connsiteX5301" fmla="*/ 906136 w 11683878"/>
                <a:gd name="connsiteY5301" fmla="*/ 3316138 h 6246035"/>
                <a:gd name="connsiteX5302" fmla="*/ 904507 w 11683878"/>
                <a:gd name="connsiteY5302" fmla="*/ 3306694 h 6246035"/>
                <a:gd name="connsiteX5303" fmla="*/ 917354 w 11683878"/>
                <a:gd name="connsiteY5303" fmla="*/ 3301442 h 6246035"/>
                <a:gd name="connsiteX5304" fmla="*/ 917042 w 11683878"/>
                <a:gd name="connsiteY5304" fmla="*/ 3291632 h 6246035"/>
                <a:gd name="connsiteX5305" fmla="*/ 922796 w 11683878"/>
                <a:gd name="connsiteY5305" fmla="*/ 3284617 h 6246035"/>
                <a:gd name="connsiteX5306" fmla="*/ 925704 w 11683878"/>
                <a:gd name="connsiteY5306" fmla="*/ 3284249 h 6246035"/>
                <a:gd name="connsiteX5307" fmla="*/ 929854 w 11683878"/>
                <a:gd name="connsiteY5307" fmla="*/ 3285072 h 6246035"/>
                <a:gd name="connsiteX5308" fmla="*/ 929856 w 11683878"/>
                <a:gd name="connsiteY5308" fmla="*/ 3285072 h 6246035"/>
                <a:gd name="connsiteX5309" fmla="*/ 932521 w 11683878"/>
                <a:gd name="connsiteY5309" fmla="*/ 3285391 h 6246035"/>
                <a:gd name="connsiteX5310" fmla="*/ 932784 w 11683878"/>
                <a:gd name="connsiteY5310" fmla="*/ 3284337 h 6246035"/>
                <a:gd name="connsiteX5311" fmla="*/ 932767 w 11683878"/>
                <a:gd name="connsiteY5311" fmla="*/ 3283322 h 6246035"/>
                <a:gd name="connsiteX5312" fmla="*/ 932921 w 11683878"/>
                <a:gd name="connsiteY5312" fmla="*/ 3282483 h 6246035"/>
                <a:gd name="connsiteX5313" fmla="*/ 933848 w 11683878"/>
                <a:gd name="connsiteY5313" fmla="*/ 3281918 h 6246035"/>
                <a:gd name="connsiteX5314" fmla="*/ 935791 w 11683878"/>
                <a:gd name="connsiteY5314" fmla="*/ 3282223 h 6246035"/>
                <a:gd name="connsiteX5315" fmla="*/ 936721 w 11683878"/>
                <a:gd name="connsiteY5315" fmla="*/ 3283954 h 6246035"/>
                <a:gd name="connsiteX5316" fmla="*/ 937106 w 11683878"/>
                <a:gd name="connsiteY5316" fmla="*/ 3285613 h 6246035"/>
                <a:gd name="connsiteX5317" fmla="*/ 939139 w 11683878"/>
                <a:gd name="connsiteY5317" fmla="*/ 3286358 h 6246035"/>
                <a:gd name="connsiteX5318" fmla="*/ 940862 w 11683878"/>
                <a:gd name="connsiteY5318" fmla="*/ 3285803 h 6246035"/>
                <a:gd name="connsiteX5319" fmla="*/ 943380 w 11683878"/>
                <a:gd name="connsiteY5319" fmla="*/ 3283379 h 6246035"/>
                <a:gd name="connsiteX5320" fmla="*/ 945642 w 11683878"/>
                <a:gd name="connsiteY5320" fmla="*/ 3281618 h 6246035"/>
                <a:gd name="connsiteX5321" fmla="*/ 949420 w 11683878"/>
                <a:gd name="connsiteY5321" fmla="*/ 3280267 h 6246035"/>
                <a:gd name="connsiteX5322" fmla="*/ 956599 w 11683878"/>
                <a:gd name="connsiteY5322" fmla="*/ 3283656 h 6246035"/>
                <a:gd name="connsiteX5323" fmla="*/ 957271 w 11683878"/>
                <a:gd name="connsiteY5323" fmla="*/ 3275669 h 6246035"/>
                <a:gd name="connsiteX5324" fmla="*/ 956229 w 11683878"/>
                <a:gd name="connsiteY5324" fmla="*/ 3269039 h 6246035"/>
                <a:gd name="connsiteX5325" fmla="*/ 962704 w 11683878"/>
                <a:gd name="connsiteY5325" fmla="*/ 3267530 h 6246035"/>
                <a:gd name="connsiteX5326" fmla="*/ 969493 w 11683878"/>
                <a:gd name="connsiteY5326" fmla="*/ 3269617 h 6246035"/>
                <a:gd name="connsiteX5327" fmla="*/ 972508 w 11683878"/>
                <a:gd name="connsiteY5327" fmla="*/ 3261181 h 6246035"/>
                <a:gd name="connsiteX5328" fmla="*/ 979816 w 11683878"/>
                <a:gd name="connsiteY5328" fmla="*/ 3257710 h 6246035"/>
                <a:gd name="connsiteX5329" fmla="*/ 990214 w 11683878"/>
                <a:gd name="connsiteY5329" fmla="*/ 3239478 h 6246035"/>
                <a:gd name="connsiteX5330" fmla="*/ 989276 w 11683878"/>
                <a:gd name="connsiteY5330" fmla="*/ 3254967 h 6246035"/>
                <a:gd name="connsiteX5331" fmla="*/ 991327 w 11683878"/>
                <a:gd name="connsiteY5331" fmla="*/ 3254705 h 6246035"/>
                <a:gd name="connsiteX5332" fmla="*/ 1000230 w 11683878"/>
                <a:gd name="connsiteY5332" fmla="*/ 3253568 h 6246035"/>
                <a:gd name="connsiteX5333" fmla="*/ 1016207 w 11683878"/>
                <a:gd name="connsiteY5333" fmla="*/ 3255233 h 6246035"/>
                <a:gd name="connsiteX5334" fmla="*/ 1033467 w 11683878"/>
                <a:gd name="connsiteY5334" fmla="*/ 3256631 h 6246035"/>
                <a:gd name="connsiteX5335" fmla="*/ 1035032 w 11683878"/>
                <a:gd name="connsiteY5335" fmla="*/ 3261383 h 6246035"/>
                <a:gd name="connsiteX5336" fmla="*/ 1035707 w 11683878"/>
                <a:gd name="connsiteY5336" fmla="*/ 3256687 h 6246035"/>
                <a:gd name="connsiteX5337" fmla="*/ 993184 w 11683878"/>
                <a:gd name="connsiteY5337" fmla="*/ 3251173 h 6246035"/>
                <a:gd name="connsiteX5338" fmla="*/ 1027990 w 11683878"/>
                <a:gd name="connsiteY5338" fmla="*/ 3155645 h 6246035"/>
                <a:gd name="connsiteX5339" fmla="*/ 947226 w 11683878"/>
                <a:gd name="connsiteY5339" fmla="*/ 3114671 h 6246035"/>
                <a:gd name="connsiteX5340" fmla="*/ 941220 w 11683878"/>
                <a:gd name="connsiteY5340" fmla="*/ 3048485 h 6246035"/>
                <a:gd name="connsiteX5341" fmla="*/ 901459 w 11683878"/>
                <a:gd name="connsiteY5341" fmla="*/ 3021444 h 6246035"/>
                <a:gd name="connsiteX5342" fmla="*/ 915637 w 11683878"/>
                <a:gd name="connsiteY5342" fmla="*/ 2981394 h 6246035"/>
                <a:gd name="connsiteX5343" fmla="*/ 945906 w 11683878"/>
                <a:gd name="connsiteY5343" fmla="*/ 2970446 h 6246035"/>
                <a:gd name="connsiteX5344" fmla="*/ 957373 w 11683878"/>
                <a:gd name="connsiteY5344" fmla="*/ 2941707 h 6246035"/>
                <a:gd name="connsiteX5345" fmla="*/ 963927 w 11683878"/>
                <a:gd name="connsiteY5345" fmla="*/ 2950687 h 6246035"/>
                <a:gd name="connsiteX5346" fmla="*/ 962350 w 11683878"/>
                <a:gd name="connsiteY5346" fmla="*/ 2941001 h 6246035"/>
                <a:gd name="connsiteX5347" fmla="*/ 975215 w 11683878"/>
                <a:gd name="connsiteY5347" fmla="*/ 2934251 h 6246035"/>
                <a:gd name="connsiteX5348" fmla="*/ 963764 w 11683878"/>
                <a:gd name="connsiteY5348" fmla="*/ 2915068 h 6246035"/>
                <a:gd name="connsiteX5349" fmla="*/ 981461 w 11683878"/>
                <a:gd name="connsiteY5349" fmla="*/ 2902039 h 6246035"/>
                <a:gd name="connsiteX5350" fmla="*/ 955190 w 11683878"/>
                <a:gd name="connsiteY5350" fmla="*/ 2881117 h 6246035"/>
                <a:gd name="connsiteX5351" fmla="*/ 933369 w 11683878"/>
                <a:gd name="connsiteY5351" fmla="*/ 2826254 h 6246035"/>
                <a:gd name="connsiteX5352" fmla="*/ 969800 w 11683878"/>
                <a:gd name="connsiteY5352" fmla="*/ 2808721 h 6246035"/>
                <a:gd name="connsiteX5353" fmla="*/ 975151 w 11683878"/>
                <a:gd name="connsiteY5353" fmla="*/ 2777655 h 6246035"/>
                <a:gd name="connsiteX5354" fmla="*/ 1003283 w 11683878"/>
                <a:gd name="connsiteY5354" fmla="*/ 2799145 h 6246035"/>
                <a:gd name="connsiteX5355" fmla="*/ 1014886 w 11683878"/>
                <a:gd name="connsiteY5355" fmla="*/ 2784745 h 6246035"/>
                <a:gd name="connsiteX5356" fmla="*/ 1047868 w 11683878"/>
                <a:gd name="connsiteY5356" fmla="*/ 2692000 h 6246035"/>
                <a:gd name="connsiteX5357" fmla="*/ 1026334 w 11683878"/>
                <a:gd name="connsiteY5357" fmla="*/ 2679186 h 6246035"/>
                <a:gd name="connsiteX5358" fmla="*/ 1015628 w 11683878"/>
                <a:gd name="connsiteY5358" fmla="*/ 2643444 h 6246035"/>
                <a:gd name="connsiteX5359" fmla="*/ 982056 w 11683878"/>
                <a:gd name="connsiteY5359" fmla="*/ 2632114 h 6246035"/>
                <a:gd name="connsiteX5360" fmla="*/ 966071 w 11683878"/>
                <a:gd name="connsiteY5360" fmla="*/ 2584058 h 6246035"/>
                <a:gd name="connsiteX5361" fmla="*/ 939861 w 11683878"/>
                <a:gd name="connsiteY5361" fmla="*/ 2600253 h 6246035"/>
                <a:gd name="connsiteX5362" fmla="*/ 903730 w 11683878"/>
                <a:gd name="connsiteY5362" fmla="*/ 2573949 h 6246035"/>
                <a:gd name="connsiteX5363" fmla="*/ 921377 w 11683878"/>
                <a:gd name="connsiteY5363" fmla="*/ 2523527 h 6246035"/>
                <a:gd name="connsiteX5364" fmla="*/ 982695 w 11683878"/>
                <a:gd name="connsiteY5364" fmla="*/ 2482306 h 6246035"/>
                <a:gd name="connsiteX5365" fmla="*/ 994763 w 11683878"/>
                <a:gd name="connsiteY5365" fmla="*/ 2435134 h 6246035"/>
                <a:gd name="connsiteX5366" fmla="*/ 1027077 w 11683878"/>
                <a:gd name="connsiteY5366" fmla="*/ 2431551 h 6246035"/>
                <a:gd name="connsiteX5367" fmla="*/ 1041337 w 11683878"/>
                <a:gd name="connsiteY5367" fmla="*/ 2447350 h 6246035"/>
                <a:gd name="connsiteX5368" fmla="*/ 1038289 w 11683878"/>
                <a:gd name="connsiteY5368" fmla="*/ 2483919 h 6246035"/>
                <a:gd name="connsiteX5369" fmla="*/ 1063420 w 11683878"/>
                <a:gd name="connsiteY5369" fmla="*/ 2508250 h 6246035"/>
                <a:gd name="connsiteX5370" fmla="*/ 1133559 w 11683878"/>
                <a:gd name="connsiteY5370" fmla="*/ 2525010 h 6246035"/>
                <a:gd name="connsiteX5371" fmla="*/ 1139538 w 11683878"/>
                <a:gd name="connsiteY5371" fmla="*/ 2523947 h 6246035"/>
                <a:gd name="connsiteX5372" fmla="*/ 1131432 w 11683878"/>
                <a:gd name="connsiteY5372" fmla="*/ 2523877 h 6246035"/>
                <a:gd name="connsiteX5373" fmla="*/ 1126678 w 11683878"/>
                <a:gd name="connsiteY5373" fmla="*/ 2484288 h 6246035"/>
                <a:gd name="connsiteX5374" fmla="*/ 1149948 w 11683878"/>
                <a:gd name="connsiteY5374" fmla="*/ 2466213 h 6246035"/>
                <a:gd name="connsiteX5375" fmla="*/ 1121141 w 11683878"/>
                <a:gd name="connsiteY5375" fmla="*/ 2408099 h 6246035"/>
                <a:gd name="connsiteX5376" fmla="*/ 1161260 w 11683878"/>
                <a:gd name="connsiteY5376" fmla="*/ 2396059 h 6246035"/>
                <a:gd name="connsiteX5377" fmla="*/ 1156408 w 11683878"/>
                <a:gd name="connsiteY5377" fmla="*/ 2335531 h 6246035"/>
                <a:gd name="connsiteX5378" fmla="*/ 1179187 w 11683878"/>
                <a:gd name="connsiteY5378" fmla="*/ 2294982 h 6246035"/>
                <a:gd name="connsiteX5379" fmla="*/ 1204041 w 11683878"/>
                <a:gd name="connsiteY5379" fmla="*/ 2290415 h 6246035"/>
                <a:gd name="connsiteX5380" fmla="*/ 1201602 w 11683878"/>
                <a:gd name="connsiteY5380" fmla="*/ 2244283 h 6246035"/>
                <a:gd name="connsiteX5381" fmla="*/ 1248062 w 11683878"/>
                <a:gd name="connsiteY5381" fmla="*/ 2243123 h 6246035"/>
                <a:gd name="connsiteX5382" fmla="*/ 1270847 w 11683878"/>
                <a:gd name="connsiteY5382" fmla="*/ 2205841 h 6246035"/>
                <a:gd name="connsiteX5383" fmla="*/ 1339391 w 11683878"/>
                <a:gd name="connsiteY5383" fmla="*/ 2183622 h 6246035"/>
                <a:gd name="connsiteX5384" fmla="*/ 1339398 w 11683878"/>
                <a:gd name="connsiteY5384" fmla="*/ 2183640 h 6246035"/>
                <a:gd name="connsiteX5385" fmla="*/ 1339392 w 11683878"/>
                <a:gd name="connsiteY5385" fmla="*/ 2183622 h 6246035"/>
                <a:gd name="connsiteX5386" fmla="*/ 1304377 w 11683878"/>
                <a:gd name="connsiteY5386" fmla="*/ 2179651 h 6246035"/>
                <a:gd name="connsiteX5387" fmla="*/ 1319011 w 11683878"/>
                <a:gd name="connsiteY5387" fmla="*/ 2141757 h 6246035"/>
                <a:gd name="connsiteX5388" fmla="*/ 1312936 w 11683878"/>
                <a:gd name="connsiteY5388" fmla="*/ 2110182 h 6246035"/>
                <a:gd name="connsiteX5389" fmla="*/ 1259232 w 11683878"/>
                <a:gd name="connsiteY5389" fmla="*/ 2077040 h 6246035"/>
                <a:gd name="connsiteX5390" fmla="*/ 1259288 w 11683878"/>
                <a:gd name="connsiteY5390" fmla="*/ 2060724 h 6246035"/>
                <a:gd name="connsiteX5391" fmla="*/ 1289985 w 11683878"/>
                <a:gd name="connsiteY5391" fmla="*/ 2047877 h 6246035"/>
                <a:gd name="connsiteX5392" fmla="*/ 1283145 w 11683878"/>
                <a:gd name="connsiteY5392" fmla="*/ 2017881 h 6246035"/>
                <a:gd name="connsiteX5393" fmla="*/ 1261368 w 11683878"/>
                <a:gd name="connsiteY5393" fmla="*/ 2006188 h 6246035"/>
                <a:gd name="connsiteX5394" fmla="*/ 1273297 w 11683878"/>
                <a:gd name="connsiteY5394" fmla="*/ 1981646 h 6246035"/>
                <a:gd name="connsiteX5395" fmla="*/ 1251457 w 11683878"/>
                <a:gd name="connsiteY5395" fmla="*/ 1951115 h 6246035"/>
                <a:gd name="connsiteX5396" fmla="*/ 1339007 w 11683878"/>
                <a:gd name="connsiteY5396" fmla="*/ 1870783 h 6246035"/>
                <a:gd name="connsiteX5397" fmla="*/ 1325684 w 11683878"/>
                <a:gd name="connsiteY5397" fmla="*/ 1848188 h 6246035"/>
                <a:gd name="connsiteX5398" fmla="*/ 1396599 w 11683878"/>
                <a:gd name="connsiteY5398" fmla="*/ 1826203 h 6246035"/>
                <a:gd name="connsiteX5399" fmla="*/ 1410950 w 11683878"/>
                <a:gd name="connsiteY5399" fmla="*/ 1764146 h 6246035"/>
                <a:gd name="connsiteX5400" fmla="*/ 1410956 w 11683878"/>
                <a:gd name="connsiteY5400" fmla="*/ 1764146 h 6246035"/>
                <a:gd name="connsiteX5401" fmla="*/ 1453054 w 11683878"/>
                <a:gd name="connsiteY5401" fmla="*/ 1760850 h 6246035"/>
                <a:gd name="connsiteX5402" fmla="*/ 1473575 w 11683878"/>
                <a:gd name="connsiteY5402" fmla="*/ 1775244 h 6246035"/>
                <a:gd name="connsiteX5403" fmla="*/ 1504729 w 11683878"/>
                <a:gd name="connsiteY5403" fmla="*/ 1725323 h 6246035"/>
                <a:gd name="connsiteX5404" fmla="*/ 1574653 w 11683878"/>
                <a:gd name="connsiteY5404" fmla="*/ 1671310 h 6246035"/>
                <a:gd name="connsiteX5405" fmla="*/ 1620235 w 11683878"/>
                <a:gd name="connsiteY5405" fmla="*/ 1688101 h 6246035"/>
                <a:gd name="connsiteX5406" fmla="*/ 1615830 w 11683878"/>
                <a:gd name="connsiteY5406" fmla="*/ 1682425 h 6246035"/>
                <a:gd name="connsiteX5407" fmla="*/ 1690927 w 11683878"/>
                <a:gd name="connsiteY5407" fmla="*/ 1679394 h 6246035"/>
                <a:gd name="connsiteX5408" fmla="*/ 1701502 w 11683878"/>
                <a:gd name="connsiteY5408" fmla="*/ 1642166 h 6246035"/>
                <a:gd name="connsiteX5409" fmla="*/ 1670354 w 11683878"/>
                <a:gd name="connsiteY5409" fmla="*/ 1574324 h 6246035"/>
                <a:gd name="connsiteX5410" fmla="*/ 1693111 w 11683878"/>
                <a:gd name="connsiteY5410" fmla="*/ 1518165 h 6246035"/>
                <a:gd name="connsiteX5411" fmla="*/ 1693111 w 11683878"/>
                <a:gd name="connsiteY5411" fmla="*/ 1518166 h 6246035"/>
                <a:gd name="connsiteX5412" fmla="*/ 1790461 w 11683878"/>
                <a:gd name="connsiteY5412" fmla="*/ 1566527 h 6246035"/>
                <a:gd name="connsiteX5413" fmla="*/ 1838773 w 11683878"/>
                <a:gd name="connsiteY5413" fmla="*/ 1561204 h 6246035"/>
                <a:gd name="connsiteX5414" fmla="*/ 1991830 w 11683878"/>
                <a:gd name="connsiteY5414" fmla="*/ 1594537 h 6246035"/>
                <a:gd name="connsiteX5415" fmla="*/ 1983007 w 11683878"/>
                <a:gd name="connsiteY5415" fmla="*/ 1624727 h 6246035"/>
                <a:gd name="connsiteX5416" fmla="*/ 2018054 w 11683878"/>
                <a:gd name="connsiteY5416" fmla="*/ 1699753 h 6246035"/>
                <a:gd name="connsiteX5417" fmla="*/ 2058863 w 11683878"/>
                <a:gd name="connsiteY5417" fmla="*/ 1878011 h 6246035"/>
                <a:gd name="connsiteX5418" fmla="*/ 2058864 w 11683878"/>
                <a:gd name="connsiteY5418" fmla="*/ 1878011 h 6246035"/>
                <a:gd name="connsiteX5419" fmla="*/ 2018056 w 11683878"/>
                <a:gd name="connsiteY5419" fmla="*/ 1699754 h 6246035"/>
                <a:gd name="connsiteX5420" fmla="*/ 1983009 w 11683878"/>
                <a:gd name="connsiteY5420" fmla="*/ 1624727 h 6246035"/>
                <a:gd name="connsiteX5421" fmla="*/ 1991832 w 11683878"/>
                <a:gd name="connsiteY5421" fmla="*/ 1594537 h 6246035"/>
                <a:gd name="connsiteX5422" fmla="*/ 2212282 w 11683878"/>
                <a:gd name="connsiteY5422" fmla="*/ 1614941 h 6246035"/>
                <a:gd name="connsiteX5423" fmla="*/ 2289191 w 11683878"/>
                <a:gd name="connsiteY5423" fmla="*/ 1600042 h 6246035"/>
                <a:gd name="connsiteX5424" fmla="*/ 2315368 w 11683878"/>
                <a:gd name="connsiteY5424" fmla="*/ 1552886 h 6246035"/>
                <a:gd name="connsiteX5425" fmla="*/ 2337012 w 11683878"/>
                <a:gd name="connsiteY5425" fmla="*/ 1432193 h 6246035"/>
                <a:gd name="connsiteX5426" fmla="*/ 2356379 w 11683878"/>
                <a:gd name="connsiteY5426" fmla="*/ 1443686 h 6246035"/>
                <a:gd name="connsiteX5427" fmla="*/ 2407989 w 11683878"/>
                <a:gd name="connsiteY5427" fmla="*/ 1434154 h 6246035"/>
                <a:gd name="connsiteX5428" fmla="*/ 2424259 w 11683878"/>
                <a:gd name="connsiteY5428" fmla="*/ 1382114 h 6246035"/>
                <a:gd name="connsiteX5429" fmla="*/ 2474579 w 11683878"/>
                <a:gd name="connsiteY5429" fmla="*/ 1353045 h 6246035"/>
                <a:gd name="connsiteX5430" fmla="*/ 2464011 w 11683878"/>
                <a:gd name="connsiteY5430" fmla="*/ 1332066 h 6246035"/>
                <a:gd name="connsiteX5431" fmla="*/ 2477451 w 11683878"/>
                <a:gd name="connsiteY5431" fmla="*/ 1313209 h 6246035"/>
                <a:gd name="connsiteX5432" fmla="*/ 2495679 w 11683878"/>
                <a:gd name="connsiteY5432" fmla="*/ 1302818 h 6246035"/>
                <a:gd name="connsiteX5433" fmla="*/ 2511099 w 11683878"/>
                <a:gd name="connsiteY5433" fmla="*/ 1314460 h 6246035"/>
                <a:gd name="connsiteX5434" fmla="*/ 2520924 w 11683878"/>
                <a:gd name="connsiteY5434" fmla="*/ 1284985 h 6246035"/>
                <a:gd name="connsiteX5435" fmla="*/ 2569668 w 11683878"/>
                <a:gd name="connsiteY5435" fmla="*/ 1274399 h 6246035"/>
                <a:gd name="connsiteX5436" fmla="*/ 2574736 w 11683878"/>
                <a:gd name="connsiteY5436" fmla="*/ 1260150 h 6246035"/>
                <a:gd name="connsiteX5437" fmla="*/ 2593590 w 11683878"/>
                <a:gd name="connsiteY5437" fmla="*/ 1280346 h 6246035"/>
                <a:gd name="connsiteX5438" fmla="*/ 2696100 w 11683878"/>
                <a:gd name="connsiteY5438" fmla="*/ 1152885 h 6246035"/>
                <a:gd name="connsiteX5439" fmla="*/ 2772600 w 11683878"/>
                <a:gd name="connsiteY5439" fmla="*/ 1272769 h 6246035"/>
                <a:gd name="connsiteX5440" fmla="*/ 2772600 w 11683878"/>
                <a:gd name="connsiteY5440" fmla="*/ 1272768 h 6246035"/>
                <a:gd name="connsiteX5441" fmla="*/ 2696100 w 11683878"/>
                <a:gd name="connsiteY5441" fmla="*/ 1152885 h 6246035"/>
                <a:gd name="connsiteX5442" fmla="*/ 2726192 w 11683878"/>
                <a:gd name="connsiteY5442" fmla="*/ 1113150 h 6246035"/>
                <a:gd name="connsiteX5443" fmla="*/ 2852126 w 11683878"/>
                <a:gd name="connsiteY5443" fmla="*/ 1104667 h 6246035"/>
                <a:gd name="connsiteX5444" fmla="*/ 2882472 w 11683878"/>
                <a:gd name="connsiteY5444" fmla="*/ 1035946 h 6246035"/>
                <a:gd name="connsiteX5445" fmla="*/ 2877056 w 11683878"/>
                <a:gd name="connsiteY5445" fmla="*/ 991447 h 6246035"/>
                <a:gd name="connsiteX5446" fmla="*/ 2916107 w 11683878"/>
                <a:gd name="connsiteY5446" fmla="*/ 952608 h 6246035"/>
                <a:gd name="connsiteX5447" fmla="*/ 2971130 w 11683878"/>
                <a:gd name="connsiteY5447" fmla="*/ 944013 h 6246035"/>
                <a:gd name="connsiteX5448" fmla="*/ 2965482 w 11683878"/>
                <a:gd name="connsiteY5448" fmla="*/ 921182 h 6246035"/>
                <a:gd name="connsiteX5449" fmla="*/ 2998291 w 11683878"/>
                <a:gd name="connsiteY5449" fmla="*/ 944595 h 6246035"/>
                <a:gd name="connsiteX5450" fmla="*/ 3042102 w 11683878"/>
                <a:gd name="connsiteY5450" fmla="*/ 932718 h 6246035"/>
                <a:gd name="connsiteX5451" fmla="*/ 3082264 w 11683878"/>
                <a:gd name="connsiteY5451" fmla="*/ 957866 h 6246035"/>
                <a:gd name="connsiteX5452" fmla="*/ 3114357 w 11683878"/>
                <a:gd name="connsiteY5452" fmla="*/ 940581 h 6246035"/>
                <a:gd name="connsiteX5453" fmla="*/ 3125601 w 11683878"/>
                <a:gd name="connsiteY5453" fmla="*/ 988942 h 6246035"/>
                <a:gd name="connsiteX5454" fmla="*/ 3154718 w 11683878"/>
                <a:gd name="connsiteY5454" fmla="*/ 963471 h 6246035"/>
                <a:gd name="connsiteX5455" fmla="*/ 3196010 w 11683878"/>
                <a:gd name="connsiteY5455" fmla="*/ 962694 h 6246035"/>
                <a:gd name="connsiteX5456" fmla="*/ 3242925 w 11683878"/>
                <a:gd name="connsiteY5456" fmla="*/ 999623 h 6246035"/>
                <a:gd name="connsiteX5457" fmla="*/ 3251168 w 11683878"/>
                <a:gd name="connsiteY5457" fmla="*/ 1078675 h 6246035"/>
                <a:gd name="connsiteX5458" fmla="*/ 3225892 w 11683878"/>
                <a:gd name="connsiteY5458" fmla="*/ 1119529 h 6246035"/>
                <a:gd name="connsiteX5459" fmla="*/ 3275149 w 11683878"/>
                <a:gd name="connsiteY5459" fmla="*/ 1243442 h 6246035"/>
                <a:gd name="connsiteX5460" fmla="*/ 3283630 w 11683878"/>
                <a:gd name="connsiteY5460" fmla="*/ 1389226 h 6246035"/>
                <a:gd name="connsiteX5461" fmla="*/ 3271952 w 11683878"/>
                <a:gd name="connsiteY5461" fmla="*/ 1438060 h 6246035"/>
                <a:gd name="connsiteX5462" fmla="*/ 3385275 w 11683878"/>
                <a:gd name="connsiteY5462" fmla="*/ 1536014 h 6246035"/>
                <a:gd name="connsiteX5463" fmla="*/ 3385275 w 11683878"/>
                <a:gd name="connsiteY5463" fmla="*/ 1536015 h 6246035"/>
                <a:gd name="connsiteX5464" fmla="*/ 3490067 w 11683878"/>
                <a:gd name="connsiteY5464" fmla="*/ 1614930 h 6246035"/>
                <a:gd name="connsiteX5465" fmla="*/ 3511007 w 11683878"/>
                <a:gd name="connsiteY5465" fmla="*/ 1665782 h 6246035"/>
                <a:gd name="connsiteX5466" fmla="*/ 3559928 w 11683878"/>
                <a:gd name="connsiteY5466" fmla="*/ 1717695 h 6246035"/>
                <a:gd name="connsiteX5467" fmla="*/ 3584773 w 11683878"/>
                <a:gd name="connsiteY5467" fmla="*/ 1800651 h 6246035"/>
                <a:gd name="connsiteX5468" fmla="*/ 3553227 w 11683878"/>
                <a:gd name="connsiteY5468" fmla="*/ 1863215 h 6246035"/>
                <a:gd name="connsiteX5469" fmla="*/ 3650246 w 11683878"/>
                <a:gd name="connsiteY5469" fmla="*/ 1938822 h 6246035"/>
                <a:gd name="connsiteX5470" fmla="*/ 3777116 w 11683878"/>
                <a:gd name="connsiteY5470" fmla="*/ 1935564 h 6246035"/>
                <a:gd name="connsiteX5471" fmla="*/ 3829036 w 11683878"/>
                <a:gd name="connsiteY5471" fmla="*/ 1964483 h 6246035"/>
                <a:gd name="connsiteX5472" fmla="*/ 3962764 w 11683878"/>
                <a:gd name="connsiteY5472" fmla="*/ 1982331 h 6246035"/>
                <a:gd name="connsiteX5473" fmla="*/ 4005702 w 11683878"/>
                <a:gd name="connsiteY5473" fmla="*/ 2009318 h 6246035"/>
                <a:gd name="connsiteX5474" fmla="*/ 4109439 w 11683878"/>
                <a:gd name="connsiteY5474" fmla="*/ 2141135 h 6246035"/>
                <a:gd name="connsiteX5475" fmla="*/ 4168036 w 11683878"/>
                <a:gd name="connsiteY5475" fmla="*/ 2144053 h 6246035"/>
                <a:gd name="connsiteX5476" fmla="*/ 4182691 w 11683878"/>
                <a:gd name="connsiteY5476" fmla="*/ 2086264 h 6246035"/>
                <a:gd name="connsiteX5477" fmla="*/ 4237992 w 11683878"/>
                <a:gd name="connsiteY5477" fmla="*/ 2022761 h 6246035"/>
                <a:gd name="connsiteX5478" fmla="*/ 4241831 w 11683878"/>
                <a:gd name="connsiteY5478" fmla="*/ 1971495 h 6246035"/>
                <a:gd name="connsiteX5479" fmla="*/ 4241833 w 11683878"/>
                <a:gd name="connsiteY5479" fmla="*/ 1971495 h 6246035"/>
                <a:gd name="connsiteX5480" fmla="*/ 4137390 w 11683878"/>
                <a:gd name="connsiteY5480" fmla="*/ 1892369 h 6246035"/>
                <a:gd name="connsiteX5481" fmla="*/ 4080793 w 11683878"/>
                <a:gd name="connsiteY5481" fmla="*/ 1784066 h 6246035"/>
                <a:gd name="connsiteX5482" fmla="*/ 4072680 w 11683878"/>
                <a:gd name="connsiteY5482" fmla="*/ 1616145 h 6246035"/>
                <a:gd name="connsiteX5483" fmla="*/ 4101972 w 11683878"/>
                <a:gd name="connsiteY5483" fmla="*/ 1556653 h 6246035"/>
                <a:gd name="connsiteX5484" fmla="*/ 4141502 w 11683878"/>
                <a:gd name="connsiteY5484" fmla="*/ 1525355 h 6246035"/>
                <a:gd name="connsiteX5485" fmla="*/ 4216247 w 11683878"/>
                <a:gd name="connsiteY5485" fmla="*/ 1516945 h 6246035"/>
                <a:gd name="connsiteX5486" fmla="*/ 4223495 w 11683878"/>
                <a:gd name="connsiteY5486" fmla="*/ 1485770 h 6246035"/>
                <a:gd name="connsiteX5487" fmla="*/ 4250017 w 11683878"/>
                <a:gd name="connsiteY5487" fmla="*/ 1466951 h 6246035"/>
                <a:gd name="connsiteX5488" fmla="*/ 4361203 w 11683878"/>
                <a:gd name="connsiteY5488" fmla="*/ 1437739 h 6246035"/>
                <a:gd name="connsiteX5489" fmla="*/ 4388845 w 11683878"/>
                <a:gd name="connsiteY5489" fmla="*/ 1382178 h 6246035"/>
                <a:gd name="connsiteX5490" fmla="*/ 4498588 w 11683878"/>
                <a:gd name="connsiteY5490" fmla="*/ 1358340 h 6246035"/>
                <a:gd name="connsiteX5491" fmla="*/ 4593562 w 11683878"/>
                <a:gd name="connsiteY5491" fmla="*/ 1272038 h 6246035"/>
                <a:gd name="connsiteX5492" fmla="*/ 4693231 w 11683878"/>
                <a:gd name="connsiteY5492" fmla="*/ 1269488 h 6246035"/>
                <a:gd name="connsiteX5493" fmla="*/ 4792957 w 11683878"/>
                <a:gd name="connsiteY5493" fmla="*/ 1232510 h 6246035"/>
                <a:gd name="connsiteX5494" fmla="*/ 4900514 w 11683878"/>
                <a:gd name="connsiteY5494" fmla="*/ 1247905 h 6246035"/>
                <a:gd name="connsiteX5495" fmla="*/ 4979013 w 11683878"/>
                <a:gd name="connsiteY5495" fmla="*/ 1296972 h 6246035"/>
                <a:gd name="connsiteX5496" fmla="*/ 5025266 w 11683878"/>
                <a:gd name="connsiteY5496" fmla="*/ 1307224 h 6246035"/>
                <a:gd name="connsiteX5497" fmla="*/ 5149156 w 11683878"/>
                <a:gd name="connsiteY5497" fmla="*/ 1279400 h 6246035"/>
                <a:gd name="connsiteX5498" fmla="*/ 5193841 w 11683878"/>
                <a:gd name="connsiteY5498" fmla="*/ 1284042 h 6246035"/>
                <a:gd name="connsiteX5499" fmla="*/ 5239920 w 11683878"/>
                <a:gd name="connsiteY5499" fmla="*/ 1317103 h 6246035"/>
                <a:gd name="connsiteX5500" fmla="*/ 5253019 w 11683878"/>
                <a:gd name="connsiteY5500" fmla="*/ 1350910 h 6246035"/>
                <a:gd name="connsiteX5501" fmla="*/ 5245778 w 11683878"/>
                <a:gd name="connsiteY5501" fmla="*/ 1401074 h 6246035"/>
                <a:gd name="connsiteX5502" fmla="*/ 5172918 w 11683878"/>
                <a:gd name="connsiteY5502" fmla="*/ 1459885 h 6246035"/>
                <a:gd name="connsiteX5503" fmla="*/ 4895257 w 11683878"/>
                <a:gd name="connsiteY5503" fmla="*/ 1453264 h 6246035"/>
                <a:gd name="connsiteX5504" fmla="*/ 4816436 w 11683878"/>
                <a:gd name="connsiteY5504" fmla="*/ 1465046 h 6246035"/>
                <a:gd name="connsiteX5505" fmla="*/ 4604612 w 11683878"/>
                <a:gd name="connsiteY5505" fmla="*/ 1541693 h 6246035"/>
                <a:gd name="connsiteX5506" fmla="*/ 4378711 w 11683878"/>
                <a:gd name="connsiteY5506" fmla="*/ 1652488 h 6246035"/>
                <a:gd name="connsiteX5507" fmla="*/ 4310523 w 11683878"/>
                <a:gd name="connsiteY5507" fmla="*/ 1752307 h 6246035"/>
                <a:gd name="connsiteX5508" fmla="*/ 4296154 w 11683878"/>
                <a:gd name="connsiteY5508" fmla="*/ 1810366 h 6246035"/>
                <a:gd name="connsiteX5509" fmla="*/ 4313758 w 11683878"/>
                <a:gd name="connsiteY5509" fmla="*/ 1908826 h 6246035"/>
                <a:gd name="connsiteX5510" fmla="*/ 4303575 w 11683878"/>
                <a:gd name="connsiteY5510" fmla="*/ 1947272 h 6246035"/>
                <a:gd name="connsiteX5511" fmla="*/ 4241957 w 11683878"/>
                <a:gd name="connsiteY5511" fmla="*/ 1971446 h 6246035"/>
                <a:gd name="connsiteX5512" fmla="*/ 4304144 w 11683878"/>
                <a:gd name="connsiteY5512" fmla="*/ 1947234 h 6246035"/>
                <a:gd name="connsiteX5513" fmla="*/ 4344648 w 11683878"/>
                <a:gd name="connsiteY5513" fmla="*/ 1966765 h 6246035"/>
                <a:gd name="connsiteX5514" fmla="*/ 4373345 w 11683878"/>
                <a:gd name="connsiteY5514" fmla="*/ 2090123 h 6246035"/>
                <a:gd name="connsiteX5515" fmla="*/ 4500466 w 11683878"/>
                <a:gd name="connsiteY5515" fmla="*/ 2223037 h 6246035"/>
                <a:gd name="connsiteX5516" fmla="*/ 4548942 w 11683878"/>
                <a:gd name="connsiteY5516" fmla="*/ 2316770 h 6246035"/>
                <a:gd name="connsiteX5517" fmla="*/ 4543995 w 11683878"/>
                <a:gd name="connsiteY5517" fmla="*/ 2318658 h 6246035"/>
                <a:gd name="connsiteX5518" fmla="*/ 4594665 w 11683878"/>
                <a:gd name="connsiteY5518" fmla="*/ 2326503 h 6246035"/>
                <a:gd name="connsiteX5519" fmla="*/ 4655460 w 11683878"/>
                <a:gd name="connsiteY5519" fmla="*/ 2234920 h 6246035"/>
                <a:gd name="connsiteX5520" fmla="*/ 4649552 w 11683878"/>
                <a:gd name="connsiteY5520" fmla="*/ 2174234 h 6246035"/>
                <a:gd name="connsiteX5521" fmla="*/ 4674973 w 11683878"/>
                <a:gd name="connsiteY5521" fmla="*/ 2123146 h 6246035"/>
                <a:gd name="connsiteX5522" fmla="*/ 4736254 w 11683878"/>
                <a:gd name="connsiteY5522" fmla="*/ 2068091 h 6246035"/>
                <a:gd name="connsiteX5523" fmla="*/ 4827418 w 11683878"/>
                <a:gd name="connsiteY5523" fmla="*/ 2044638 h 6246035"/>
                <a:gd name="connsiteX5524" fmla="*/ 4918201 w 11683878"/>
                <a:gd name="connsiteY5524" fmla="*/ 1926508 h 6246035"/>
                <a:gd name="connsiteX5525" fmla="*/ 4995391 w 11683878"/>
                <a:gd name="connsiteY5525" fmla="*/ 1878118 h 6246035"/>
                <a:gd name="connsiteX5526" fmla="*/ 5017791 w 11683878"/>
                <a:gd name="connsiteY5526" fmla="*/ 1840245 h 6246035"/>
                <a:gd name="connsiteX5527" fmla="*/ 5083727 w 11683878"/>
                <a:gd name="connsiteY5527" fmla="*/ 1838788 h 6246035"/>
                <a:gd name="connsiteX5528" fmla="*/ 5125420 w 11683878"/>
                <a:gd name="connsiteY5528" fmla="*/ 1881553 h 6246035"/>
                <a:gd name="connsiteX5529" fmla="*/ 5188649 w 11683878"/>
                <a:gd name="connsiteY5529" fmla="*/ 1880462 h 6246035"/>
                <a:gd name="connsiteX5530" fmla="*/ 5336787 w 11683878"/>
                <a:gd name="connsiteY5530" fmla="*/ 1933370 h 6246035"/>
                <a:gd name="connsiteX5531" fmla="*/ 5367200 w 11683878"/>
                <a:gd name="connsiteY5531" fmla="*/ 1966076 h 6246035"/>
                <a:gd name="connsiteX5532" fmla="*/ 5369726 w 11683878"/>
                <a:gd name="connsiteY5532" fmla="*/ 1999564 h 6246035"/>
                <a:gd name="connsiteX5533" fmla="*/ 5340948 w 11683878"/>
                <a:gd name="connsiteY5533" fmla="*/ 2051214 h 6246035"/>
                <a:gd name="connsiteX5534" fmla="*/ 5277536 w 11683878"/>
                <a:gd name="connsiteY5534" fmla="*/ 2057208 h 6246035"/>
                <a:gd name="connsiteX5535" fmla="*/ 5273435 w 11683878"/>
                <a:gd name="connsiteY5535" fmla="*/ 2109212 h 6246035"/>
                <a:gd name="connsiteX5536" fmla="*/ 5372305 w 11683878"/>
                <a:gd name="connsiteY5536" fmla="*/ 2074606 h 6246035"/>
                <a:gd name="connsiteX5537" fmla="*/ 5382530 w 11683878"/>
                <a:gd name="connsiteY5537" fmla="*/ 2150652 h 6246035"/>
                <a:gd name="connsiteX5538" fmla="*/ 5364736 w 11683878"/>
                <a:gd name="connsiteY5538" fmla="*/ 2191083 h 6246035"/>
                <a:gd name="connsiteX5539" fmla="*/ 5438872 w 11683878"/>
                <a:gd name="connsiteY5539" fmla="*/ 2265217 h 6246035"/>
                <a:gd name="connsiteX5540" fmla="*/ 5439407 w 11683878"/>
                <a:gd name="connsiteY5540" fmla="*/ 2265137 h 6246035"/>
                <a:gd name="connsiteX5541" fmla="*/ 5364760 w 11683878"/>
                <a:gd name="connsiteY5541" fmla="*/ 2191082 h 6246035"/>
                <a:gd name="connsiteX5542" fmla="*/ 5382552 w 11683878"/>
                <a:gd name="connsiteY5542" fmla="*/ 2150651 h 6246035"/>
                <a:gd name="connsiteX5543" fmla="*/ 5372327 w 11683878"/>
                <a:gd name="connsiteY5543" fmla="*/ 2074605 h 6246035"/>
                <a:gd name="connsiteX5544" fmla="*/ 5372305 w 11683878"/>
                <a:gd name="connsiteY5544" fmla="*/ 2074605 h 6246035"/>
                <a:gd name="connsiteX5545" fmla="*/ 5410199 w 11683878"/>
                <a:gd name="connsiteY5545" fmla="*/ 2013163 h 6246035"/>
                <a:gd name="connsiteX5546" fmla="*/ 5496770 w 11683878"/>
                <a:gd name="connsiteY5546" fmla="*/ 1984817 h 6246035"/>
                <a:gd name="connsiteX5547" fmla="*/ 5536556 w 11683878"/>
                <a:gd name="connsiteY5547" fmla="*/ 1986663 h 6246035"/>
                <a:gd name="connsiteX5548" fmla="*/ 5622672 w 11683878"/>
                <a:gd name="connsiteY5548" fmla="*/ 1923249 h 6246035"/>
                <a:gd name="connsiteX5549" fmla="*/ 5667180 w 11683878"/>
                <a:gd name="connsiteY5549" fmla="*/ 1929844 h 6246035"/>
                <a:gd name="connsiteX5550" fmla="*/ 5688111 w 11683878"/>
                <a:gd name="connsiteY5550" fmla="*/ 1916099 h 6246035"/>
                <a:gd name="connsiteX5551" fmla="*/ 5706423 w 11683878"/>
                <a:gd name="connsiteY5551" fmla="*/ 1867009 h 6246035"/>
                <a:gd name="connsiteX5552" fmla="*/ 5795821 w 11683878"/>
                <a:gd name="connsiteY5552" fmla="*/ 1839628 h 6246035"/>
                <a:gd name="connsiteX5553" fmla="*/ 5814088 w 11683878"/>
                <a:gd name="connsiteY5553" fmla="*/ 1787894 h 6246035"/>
                <a:gd name="connsiteX5554" fmla="*/ 5855959 w 11683878"/>
                <a:gd name="connsiteY5554" fmla="*/ 1785967 h 6246035"/>
                <a:gd name="connsiteX5555" fmla="*/ 5880966 w 11683878"/>
                <a:gd name="connsiteY5555" fmla="*/ 1804565 h 6246035"/>
                <a:gd name="connsiteX5556" fmla="*/ 5884310 w 11683878"/>
                <a:gd name="connsiteY5556" fmla="*/ 1763687 h 6246035"/>
                <a:gd name="connsiteX5557" fmla="*/ 5901301 w 11683878"/>
                <a:gd name="connsiteY5557" fmla="*/ 1747046 h 6246035"/>
                <a:gd name="connsiteX5558" fmla="*/ 5947248 w 11683878"/>
                <a:gd name="connsiteY5558" fmla="*/ 1740172 h 6246035"/>
                <a:gd name="connsiteX5559" fmla="*/ 5991880 w 11683878"/>
                <a:gd name="connsiteY5559" fmla="*/ 1771825 h 6246035"/>
                <a:gd name="connsiteX5560" fmla="*/ 6043334 w 11683878"/>
                <a:gd name="connsiteY5560" fmla="*/ 1748553 h 6246035"/>
                <a:gd name="connsiteX5561" fmla="*/ 6057706 w 11683878"/>
                <a:gd name="connsiteY5561" fmla="*/ 1706442 h 6246035"/>
                <a:gd name="connsiteX5562" fmla="*/ 6149352 w 11683878"/>
                <a:gd name="connsiteY5562" fmla="*/ 1700212 h 6246035"/>
                <a:gd name="connsiteX5563" fmla="*/ 6163090 w 11683878"/>
                <a:gd name="connsiteY5563" fmla="*/ 1637221 h 6246035"/>
                <a:gd name="connsiteX5564" fmla="*/ 6275774 w 11683878"/>
                <a:gd name="connsiteY5564" fmla="*/ 1550210 h 6246035"/>
                <a:gd name="connsiteX5565" fmla="*/ 6310918 w 11683878"/>
                <a:gd name="connsiteY5565" fmla="*/ 1547967 h 6246035"/>
                <a:gd name="connsiteX5566" fmla="*/ 6396583 w 11683878"/>
                <a:gd name="connsiteY5566" fmla="*/ 1599891 h 6246035"/>
                <a:gd name="connsiteX5567" fmla="*/ 6418317 w 11683878"/>
                <a:gd name="connsiteY5567" fmla="*/ 1559581 h 6246035"/>
                <a:gd name="connsiteX5568" fmla="*/ 6478979 w 11683878"/>
                <a:gd name="connsiteY5568" fmla="*/ 1549486 h 6246035"/>
                <a:gd name="connsiteX5569" fmla="*/ 6536446 w 11683878"/>
                <a:gd name="connsiteY5569" fmla="*/ 1486018 h 6246035"/>
                <a:gd name="connsiteX5570" fmla="*/ 6591929 w 11683878"/>
                <a:gd name="connsiteY5570" fmla="*/ 1459844 h 6246035"/>
                <a:gd name="connsiteX5571" fmla="*/ 6755446 w 11683878"/>
                <a:gd name="connsiteY5571" fmla="*/ 1505293 h 6246035"/>
                <a:gd name="connsiteX5572" fmla="*/ 6776743 w 11683878"/>
                <a:gd name="connsiteY5572" fmla="*/ 1535301 h 6246035"/>
                <a:gd name="connsiteX5573" fmla="*/ 6767471 w 11683878"/>
                <a:gd name="connsiteY5573" fmla="*/ 1583650 h 6246035"/>
                <a:gd name="connsiteX5574" fmla="*/ 6787519 w 11683878"/>
                <a:gd name="connsiteY5574" fmla="*/ 1596769 h 6246035"/>
                <a:gd name="connsiteX5575" fmla="*/ 6875413 w 11683878"/>
                <a:gd name="connsiteY5575" fmla="*/ 1575644 h 6246035"/>
                <a:gd name="connsiteX5576" fmla="*/ 6965608 w 11683878"/>
                <a:gd name="connsiteY5576" fmla="*/ 1595304 h 6246035"/>
                <a:gd name="connsiteX5577" fmla="*/ 7022391 w 11683878"/>
                <a:gd name="connsiteY5577" fmla="*/ 1634729 h 6246035"/>
                <a:gd name="connsiteX5578" fmla="*/ 7060888 w 11683878"/>
                <a:gd name="connsiteY5578" fmla="*/ 1721460 h 6246035"/>
                <a:gd name="connsiteX5579" fmla="*/ 7059544 w 11683878"/>
                <a:gd name="connsiteY5579" fmla="*/ 1841304 h 6246035"/>
                <a:gd name="connsiteX5580" fmla="*/ 7040025 w 11683878"/>
                <a:gd name="connsiteY5580" fmla="*/ 1865846 h 6246035"/>
                <a:gd name="connsiteX5581" fmla="*/ 7048704 w 11683878"/>
                <a:gd name="connsiteY5581" fmla="*/ 1861201 h 6246035"/>
                <a:gd name="connsiteX5582" fmla="*/ 7051351 w 11683878"/>
                <a:gd name="connsiteY5582" fmla="*/ 1900451 h 6246035"/>
                <a:gd name="connsiteX5583" fmla="*/ 7084393 w 11683878"/>
                <a:gd name="connsiteY5583" fmla="*/ 1948375 h 6246035"/>
                <a:gd name="connsiteX5584" fmla="*/ 7088702 w 11683878"/>
                <a:gd name="connsiteY5584" fmla="*/ 2032955 h 6246035"/>
                <a:gd name="connsiteX5585" fmla="*/ 7107207 w 11683878"/>
                <a:gd name="connsiteY5585" fmla="*/ 2037372 h 6246035"/>
                <a:gd name="connsiteX5586" fmla="*/ 7168444 w 11683878"/>
                <a:gd name="connsiteY5586" fmla="*/ 2007069 h 6246035"/>
                <a:gd name="connsiteX5587" fmla="*/ 7320487 w 11683878"/>
                <a:gd name="connsiteY5587" fmla="*/ 1994740 h 6246035"/>
                <a:gd name="connsiteX5588" fmla="*/ 7445774 w 11683878"/>
                <a:gd name="connsiteY5588" fmla="*/ 2053430 h 6246035"/>
                <a:gd name="connsiteX5589" fmla="*/ 7495059 w 11683878"/>
                <a:gd name="connsiteY5589" fmla="*/ 2019342 h 6246035"/>
                <a:gd name="connsiteX5590" fmla="*/ 7500793 w 11683878"/>
                <a:gd name="connsiteY5590" fmla="*/ 1991912 h 6246035"/>
                <a:gd name="connsiteX5591" fmla="*/ 7468002 w 11683878"/>
                <a:gd name="connsiteY5591" fmla="*/ 1905493 h 6246035"/>
                <a:gd name="connsiteX5592" fmla="*/ 7484598 w 11683878"/>
                <a:gd name="connsiteY5592" fmla="*/ 1873340 h 6246035"/>
                <a:gd name="connsiteX5593" fmla="*/ 7572266 w 11683878"/>
                <a:gd name="connsiteY5593" fmla="*/ 1851399 h 6246035"/>
                <a:gd name="connsiteX5594" fmla="*/ 7673531 w 11683878"/>
                <a:gd name="connsiteY5594" fmla="*/ 1878431 h 6246035"/>
                <a:gd name="connsiteX5595" fmla="*/ 7749329 w 11683878"/>
                <a:gd name="connsiteY5595" fmla="*/ 1860500 h 6246035"/>
                <a:gd name="connsiteX5596" fmla="*/ 7868700 w 11683878"/>
                <a:gd name="connsiteY5596" fmla="*/ 1909204 h 6246035"/>
                <a:gd name="connsiteX5597" fmla="*/ 7917554 w 11683878"/>
                <a:gd name="connsiteY5597" fmla="*/ 2005320 h 6246035"/>
                <a:gd name="connsiteX5598" fmla="*/ 7931201 w 11683878"/>
                <a:gd name="connsiteY5598" fmla="*/ 2075844 h 6246035"/>
                <a:gd name="connsiteX5599" fmla="*/ 7982921 w 11683878"/>
                <a:gd name="connsiteY5599" fmla="*/ 2104544 h 6246035"/>
                <a:gd name="connsiteX5600" fmla="*/ 7992863 w 11683878"/>
                <a:gd name="connsiteY5600" fmla="*/ 2155947 h 6246035"/>
                <a:gd name="connsiteX5601" fmla="*/ 8020229 w 11683878"/>
                <a:gd name="connsiteY5601" fmla="*/ 2158957 h 6246035"/>
                <a:gd name="connsiteX5602" fmla="*/ 8037364 w 11683878"/>
                <a:gd name="connsiteY5602" fmla="*/ 2138760 h 6246035"/>
                <a:gd name="connsiteX5603" fmla="*/ 8021285 w 11683878"/>
                <a:gd name="connsiteY5603" fmla="*/ 2025350 h 6246035"/>
                <a:gd name="connsiteX5604" fmla="*/ 8037138 w 11683878"/>
                <a:gd name="connsiteY5604" fmla="*/ 1985509 h 6246035"/>
                <a:gd name="connsiteX5605" fmla="*/ 8088745 w 11683878"/>
                <a:gd name="connsiteY5605" fmla="*/ 1968078 h 6246035"/>
                <a:gd name="connsiteX5606" fmla="*/ 8117253 w 11683878"/>
                <a:gd name="connsiteY5606" fmla="*/ 1987887 h 6246035"/>
                <a:gd name="connsiteX5607" fmla="*/ 8126896 w 11683878"/>
                <a:gd name="connsiteY5607" fmla="*/ 2023905 h 6246035"/>
                <a:gd name="connsiteX5608" fmla="*/ 8149259 w 11683878"/>
                <a:gd name="connsiteY5608" fmla="*/ 2025500 h 6246035"/>
                <a:gd name="connsiteX5609" fmla="*/ 8198407 w 11683878"/>
                <a:gd name="connsiteY5609" fmla="*/ 1952316 h 6246035"/>
                <a:gd name="connsiteX5610" fmla="*/ 8280938 w 11683878"/>
                <a:gd name="connsiteY5610" fmla="*/ 1914547 h 6246035"/>
                <a:gd name="connsiteX5611" fmla="*/ 8284424 w 11683878"/>
                <a:gd name="connsiteY5611" fmla="*/ 1767709 h 6246035"/>
                <a:gd name="connsiteX5612" fmla="*/ 8309979 w 11683878"/>
                <a:gd name="connsiteY5612" fmla="*/ 1728460 h 6246035"/>
                <a:gd name="connsiteX5613" fmla="*/ 8299443 w 11683878"/>
                <a:gd name="connsiteY5613" fmla="*/ 1684257 h 6246035"/>
                <a:gd name="connsiteX5614" fmla="*/ 8315908 w 11683878"/>
                <a:gd name="connsiteY5614" fmla="*/ 1656250 h 6246035"/>
                <a:gd name="connsiteX5615" fmla="*/ 8384203 w 11683878"/>
                <a:gd name="connsiteY5615" fmla="*/ 1640999 h 6246035"/>
                <a:gd name="connsiteX5616" fmla="*/ 8739159 w 11683878"/>
                <a:gd name="connsiteY5616" fmla="*/ 1478180 h 6246035"/>
                <a:gd name="connsiteX5617" fmla="*/ 8797936 w 11683878"/>
                <a:gd name="connsiteY5617" fmla="*/ 1482276 h 6246035"/>
                <a:gd name="connsiteX5618" fmla="*/ 8845398 w 11683878"/>
                <a:gd name="connsiteY5618" fmla="*/ 1513815 h 6246035"/>
                <a:gd name="connsiteX5619" fmla="*/ 8928472 w 11683878"/>
                <a:gd name="connsiteY5619" fmla="*/ 1505165 h 6246035"/>
                <a:gd name="connsiteX5620" fmla="*/ 9000325 w 11683878"/>
                <a:gd name="connsiteY5620" fmla="*/ 1523219 h 6246035"/>
                <a:gd name="connsiteX5621" fmla="*/ 9090859 w 11683878"/>
                <a:gd name="connsiteY5621" fmla="*/ 1377849 h 6246035"/>
                <a:gd name="connsiteX5622" fmla="*/ 9170270 w 11683878"/>
                <a:gd name="connsiteY5622" fmla="*/ 1307711 h 6246035"/>
                <a:gd name="connsiteX5623" fmla="*/ 9250160 w 11683878"/>
                <a:gd name="connsiteY5623" fmla="*/ 1272811 h 6246035"/>
                <a:gd name="connsiteX5624" fmla="*/ 9264957 w 11683878"/>
                <a:gd name="connsiteY5624" fmla="*/ 1224997 h 6246035"/>
                <a:gd name="connsiteX5625" fmla="*/ 9314370 w 11683878"/>
                <a:gd name="connsiteY5625" fmla="*/ 1167875 h 6246035"/>
                <a:gd name="connsiteX5626" fmla="*/ 9396853 w 11683878"/>
                <a:gd name="connsiteY5626" fmla="*/ 1151324 h 6246035"/>
                <a:gd name="connsiteX5627" fmla="*/ 9422823 w 11683878"/>
                <a:gd name="connsiteY5627" fmla="*/ 1167099 h 6246035"/>
                <a:gd name="connsiteX5628" fmla="*/ 9416828 w 11683878"/>
                <a:gd name="connsiteY5628" fmla="*/ 1210641 h 6246035"/>
                <a:gd name="connsiteX5629" fmla="*/ 9343413 w 11683878"/>
                <a:gd name="connsiteY5629" fmla="*/ 1262089 h 6246035"/>
                <a:gd name="connsiteX5630" fmla="*/ 9345213 w 11683878"/>
                <a:gd name="connsiteY5630" fmla="*/ 1280567 h 6246035"/>
                <a:gd name="connsiteX5631" fmla="*/ 9402187 w 11683878"/>
                <a:gd name="connsiteY5631" fmla="*/ 1334623 h 6246035"/>
                <a:gd name="connsiteX5632" fmla="*/ 9418120 w 11683878"/>
                <a:gd name="connsiteY5632" fmla="*/ 1340985 h 6246035"/>
                <a:gd name="connsiteX5633" fmla="*/ 9458228 w 11683878"/>
                <a:gd name="connsiteY5633" fmla="*/ 1306931 h 6246035"/>
                <a:gd name="connsiteX5634" fmla="*/ 9489306 w 11683878"/>
                <a:gd name="connsiteY5634" fmla="*/ 1256999 h 6246035"/>
                <a:gd name="connsiteX5635" fmla="*/ 9489305 w 11683878"/>
                <a:gd name="connsiteY5635" fmla="*/ 1256998 h 6246035"/>
                <a:gd name="connsiteX5636" fmla="*/ 9533732 w 11683878"/>
                <a:gd name="connsiteY5636" fmla="*/ 1180736 h 6246035"/>
                <a:gd name="connsiteX5637" fmla="*/ 9581894 w 11683878"/>
                <a:gd name="connsiteY5637" fmla="*/ 1165320 h 6246035"/>
                <a:gd name="connsiteX5638" fmla="*/ 9646541 w 11683878"/>
                <a:gd name="connsiteY5638" fmla="*/ 1092142 h 6246035"/>
                <a:gd name="connsiteX5639" fmla="*/ 9653587 w 11683878"/>
                <a:gd name="connsiteY5639" fmla="*/ 1071529 h 6246035"/>
                <a:gd name="connsiteX5640" fmla="*/ 9629343 w 11683878"/>
                <a:gd name="connsiteY5640" fmla="*/ 989281 h 6246035"/>
                <a:gd name="connsiteX5641" fmla="*/ 9641641 w 11683878"/>
                <a:gd name="connsiteY5641" fmla="*/ 956863 h 6246035"/>
                <a:gd name="connsiteX5642" fmla="*/ 9673401 w 11683878"/>
                <a:gd name="connsiteY5642" fmla="*/ 932848 h 6246035"/>
                <a:gd name="connsiteX5643" fmla="*/ 9691809 w 11683878"/>
                <a:gd name="connsiteY5643" fmla="*/ 852877 h 6246035"/>
                <a:gd name="connsiteX5644" fmla="*/ 9844587 w 11683878"/>
                <a:gd name="connsiteY5644" fmla="*/ 680683 h 6246035"/>
                <a:gd name="connsiteX5645" fmla="*/ 9883610 w 11683878"/>
                <a:gd name="connsiteY5645" fmla="*/ 600131 h 6246035"/>
                <a:gd name="connsiteX5646" fmla="*/ 9937932 w 11683878"/>
                <a:gd name="connsiteY5646" fmla="*/ 575710 h 6246035"/>
                <a:gd name="connsiteX5647" fmla="*/ 10064208 w 11683878"/>
                <a:gd name="connsiteY5647" fmla="*/ 471839 h 6246035"/>
                <a:gd name="connsiteX5648" fmla="*/ 10084006 w 11683878"/>
                <a:gd name="connsiteY5648" fmla="*/ 465538 h 6246035"/>
                <a:gd name="connsiteX5649" fmla="*/ 10454998 w 11683878"/>
                <a:gd name="connsiteY5649" fmla="*/ 248678 h 6246035"/>
                <a:gd name="connsiteX5650" fmla="*/ 10500904 w 11683878"/>
                <a:gd name="connsiteY5650" fmla="*/ 258623 h 6246035"/>
                <a:gd name="connsiteX5651" fmla="*/ 10580746 w 11683878"/>
                <a:gd name="connsiteY5651" fmla="*/ 111958 h 6246035"/>
                <a:gd name="connsiteX5652" fmla="*/ 10692756 w 11683878"/>
                <a:gd name="connsiteY5652" fmla="*/ 65935 h 6246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</a:cxnLst>
              <a:rect l="l" t="t" r="r" b="b"/>
              <a:pathLst>
                <a:path w="11683878" h="6246035">
                  <a:moveTo>
                    <a:pt x="7230063" y="5719089"/>
                  </a:moveTo>
                  <a:lnTo>
                    <a:pt x="7227380" y="5720600"/>
                  </a:lnTo>
                  <a:lnTo>
                    <a:pt x="7207212" y="5749301"/>
                  </a:lnTo>
                  <a:lnTo>
                    <a:pt x="7208360" y="5755130"/>
                  </a:lnTo>
                  <a:close/>
                  <a:moveTo>
                    <a:pt x="5399566" y="5666249"/>
                  </a:moveTo>
                  <a:lnTo>
                    <a:pt x="5374533" y="5702142"/>
                  </a:lnTo>
                  <a:lnTo>
                    <a:pt x="5395032" y="5707819"/>
                  </a:lnTo>
                  <a:lnTo>
                    <a:pt x="5395040" y="5707892"/>
                  </a:lnTo>
                  <a:lnTo>
                    <a:pt x="5395040" y="5707818"/>
                  </a:lnTo>
                  <a:lnTo>
                    <a:pt x="5374542" y="5702141"/>
                  </a:lnTo>
                  <a:lnTo>
                    <a:pt x="5399570" y="5666255"/>
                  </a:lnTo>
                  <a:close/>
                  <a:moveTo>
                    <a:pt x="5397818" y="5608505"/>
                  </a:moveTo>
                  <a:lnTo>
                    <a:pt x="5435208" y="5661285"/>
                  </a:lnTo>
                  <a:lnTo>
                    <a:pt x="5412438" y="5682368"/>
                  </a:lnTo>
                  <a:lnTo>
                    <a:pt x="5412441" y="5682372"/>
                  </a:lnTo>
                  <a:lnTo>
                    <a:pt x="5435217" y="5661284"/>
                  </a:lnTo>
                  <a:close/>
                  <a:moveTo>
                    <a:pt x="6805051" y="5582141"/>
                  </a:moveTo>
                  <a:lnTo>
                    <a:pt x="6808530" y="5629499"/>
                  </a:lnTo>
                  <a:lnTo>
                    <a:pt x="6808536" y="5629495"/>
                  </a:lnTo>
                  <a:lnTo>
                    <a:pt x="6805058" y="5582142"/>
                  </a:lnTo>
                  <a:close/>
                  <a:moveTo>
                    <a:pt x="7270230" y="5531738"/>
                  </a:moveTo>
                  <a:lnTo>
                    <a:pt x="7250337" y="5571286"/>
                  </a:lnTo>
                  <a:lnTo>
                    <a:pt x="7270871" y="5590066"/>
                  </a:lnTo>
                  <a:lnTo>
                    <a:pt x="7228485" y="5649431"/>
                  </a:lnTo>
                  <a:lnTo>
                    <a:pt x="7295072" y="5682470"/>
                  </a:lnTo>
                  <a:lnTo>
                    <a:pt x="7295017" y="5682501"/>
                  </a:lnTo>
                  <a:lnTo>
                    <a:pt x="7295075" y="5682470"/>
                  </a:lnTo>
                  <a:lnTo>
                    <a:pt x="7228488" y="5649431"/>
                  </a:lnTo>
                  <a:lnTo>
                    <a:pt x="7270875" y="5590067"/>
                  </a:lnTo>
                  <a:lnTo>
                    <a:pt x="7250341" y="5571287"/>
                  </a:lnTo>
                  <a:lnTo>
                    <a:pt x="7270233" y="5531739"/>
                  </a:lnTo>
                  <a:close/>
                  <a:moveTo>
                    <a:pt x="7311558" y="5522495"/>
                  </a:moveTo>
                  <a:lnTo>
                    <a:pt x="7299130" y="5537711"/>
                  </a:lnTo>
                  <a:lnTo>
                    <a:pt x="7299133" y="5537712"/>
                  </a:lnTo>
                  <a:lnTo>
                    <a:pt x="7311560" y="5522496"/>
                  </a:lnTo>
                  <a:close/>
                  <a:moveTo>
                    <a:pt x="5373439" y="5514104"/>
                  </a:moveTo>
                  <a:lnTo>
                    <a:pt x="5370552" y="5559730"/>
                  </a:lnTo>
                  <a:lnTo>
                    <a:pt x="5373926" y="5514907"/>
                  </a:lnTo>
                  <a:close/>
                  <a:moveTo>
                    <a:pt x="5344071" y="5510537"/>
                  </a:moveTo>
                  <a:lnTo>
                    <a:pt x="5315161" y="5522411"/>
                  </a:lnTo>
                  <a:lnTo>
                    <a:pt x="5315163" y="5522413"/>
                  </a:lnTo>
                  <a:lnTo>
                    <a:pt x="5343886" y="5510982"/>
                  </a:lnTo>
                  <a:close/>
                  <a:moveTo>
                    <a:pt x="4922552" y="5508493"/>
                  </a:moveTo>
                  <a:lnTo>
                    <a:pt x="4919844" y="5512647"/>
                  </a:lnTo>
                  <a:lnTo>
                    <a:pt x="4933073" y="5521206"/>
                  </a:lnTo>
                  <a:lnTo>
                    <a:pt x="4933158" y="5521112"/>
                  </a:lnTo>
                  <a:close/>
                  <a:moveTo>
                    <a:pt x="7396829" y="5495323"/>
                  </a:moveTo>
                  <a:lnTo>
                    <a:pt x="7346618" y="5543662"/>
                  </a:lnTo>
                  <a:lnTo>
                    <a:pt x="7346621" y="5543664"/>
                  </a:lnTo>
                  <a:lnTo>
                    <a:pt x="7396832" y="5495323"/>
                  </a:lnTo>
                  <a:close/>
                  <a:moveTo>
                    <a:pt x="5402202" y="5494930"/>
                  </a:moveTo>
                  <a:lnTo>
                    <a:pt x="5400706" y="5495505"/>
                  </a:lnTo>
                  <a:lnTo>
                    <a:pt x="5400713" y="5495620"/>
                  </a:lnTo>
                  <a:close/>
                  <a:moveTo>
                    <a:pt x="5419663" y="5488221"/>
                  </a:moveTo>
                  <a:lnTo>
                    <a:pt x="5418600" y="5488629"/>
                  </a:lnTo>
                  <a:lnTo>
                    <a:pt x="5437146" y="5500403"/>
                  </a:lnTo>
                  <a:close/>
                  <a:moveTo>
                    <a:pt x="5354105" y="5486404"/>
                  </a:moveTo>
                  <a:lnTo>
                    <a:pt x="5344075" y="5488564"/>
                  </a:lnTo>
                  <a:lnTo>
                    <a:pt x="5344536" y="5509420"/>
                  </a:lnTo>
                  <a:close/>
                  <a:moveTo>
                    <a:pt x="5399599" y="5478730"/>
                  </a:moveTo>
                  <a:lnTo>
                    <a:pt x="5400663" y="5494857"/>
                  </a:lnTo>
                  <a:lnTo>
                    <a:pt x="5403632" y="5478833"/>
                  </a:lnTo>
                  <a:close/>
                  <a:moveTo>
                    <a:pt x="5390780" y="5478504"/>
                  </a:moveTo>
                  <a:lnTo>
                    <a:pt x="5355041" y="5486202"/>
                  </a:lnTo>
                  <a:lnTo>
                    <a:pt x="5370810" y="5509760"/>
                  </a:lnTo>
                  <a:lnTo>
                    <a:pt x="5357051" y="5487034"/>
                  </a:lnTo>
                  <a:lnTo>
                    <a:pt x="5357044" y="5487035"/>
                  </a:lnTo>
                  <a:lnTo>
                    <a:pt x="5393728" y="5478579"/>
                  </a:lnTo>
                  <a:close/>
                  <a:moveTo>
                    <a:pt x="5470141" y="5472277"/>
                  </a:moveTo>
                  <a:lnTo>
                    <a:pt x="5439713" y="5502033"/>
                  </a:lnTo>
                  <a:lnTo>
                    <a:pt x="5439760" y="5502063"/>
                  </a:lnTo>
                  <a:lnTo>
                    <a:pt x="5469933" y="5472498"/>
                  </a:lnTo>
                  <a:lnTo>
                    <a:pt x="5484383" y="5474019"/>
                  </a:lnTo>
                  <a:close/>
                  <a:moveTo>
                    <a:pt x="6681108" y="5465351"/>
                  </a:moveTo>
                  <a:lnTo>
                    <a:pt x="6681031" y="5465353"/>
                  </a:lnTo>
                  <a:lnTo>
                    <a:pt x="6701184" y="5499627"/>
                  </a:lnTo>
                  <a:lnTo>
                    <a:pt x="6746800" y="5527281"/>
                  </a:lnTo>
                  <a:lnTo>
                    <a:pt x="6750625" y="5574060"/>
                  </a:lnTo>
                  <a:lnTo>
                    <a:pt x="6750632" y="5574061"/>
                  </a:lnTo>
                  <a:lnTo>
                    <a:pt x="6746808" y="5527282"/>
                  </a:lnTo>
                  <a:lnTo>
                    <a:pt x="6701191" y="5499628"/>
                  </a:lnTo>
                  <a:close/>
                  <a:moveTo>
                    <a:pt x="6325568" y="5460437"/>
                  </a:moveTo>
                  <a:lnTo>
                    <a:pt x="6311693" y="5461606"/>
                  </a:lnTo>
                  <a:lnTo>
                    <a:pt x="6333002" y="5474243"/>
                  </a:lnTo>
                  <a:close/>
                  <a:moveTo>
                    <a:pt x="5583262" y="5457091"/>
                  </a:moveTo>
                  <a:lnTo>
                    <a:pt x="5561022" y="5462298"/>
                  </a:lnTo>
                  <a:lnTo>
                    <a:pt x="5561022" y="5462299"/>
                  </a:lnTo>
                  <a:lnTo>
                    <a:pt x="5614024" y="5470164"/>
                  </a:lnTo>
                  <a:close/>
                  <a:moveTo>
                    <a:pt x="5296916" y="5447582"/>
                  </a:moveTo>
                  <a:lnTo>
                    <a:pt x="5271978" y="5473097"/>
                  </a:lnTo>
                  <a:lnTo>
                    <a:pt x="5277406" y="5479296"/>
                  </a:lnTo>
                  <a:close/>
                  <a:moveTo>
                    <a:pt x="6307430" y="5445832"/>
                  </a:moveTo>
                  <a:lnTo>
                    <a:pt x="6308069" y="5459457"/>
                  </a:lnTo>
                  <a:lnTo>
                    <a:pt x="6308656" y="5459805"/>
                  </a:lnTo>
                  <a:close/>
                  <a:moveTo>
                    <a:pt x="4917343" y="5444327"/>
                  </a:moveTo>
                  <a:lnTo>
                    <a:pt x="4917129" y="5444359"/>
                  </a:lnTo>
                  <a:lnTo>
                    <a:pt x="4897043" y="5473208"/>
                  </a:lnTo>
                  <a:lnTo>
                    <a:pt x="4881271" y="5459377"/>
                  </a:lnTo>
                  <a:lnTo>
                    <a:pt x="4896838" y="5473501"/>
                  </a:lnTo>
                  <a:lnTo>
                    <a:pt x="4896940" y="5473357"/>
                  </a:lnTo>
                  <a:lnTo>
                    <a:pt x="4897043" y="5473208"/>
                  </a:lnTo>
                  <a:lnTo>
                    <a:pt x="4897044" y="5473209"/>
                  </a:lnTo>
                  <a:close/>
                  <a:moveTo>
                    <a:pt x="5483066" y="5441290"/>
                  </a:moveTo>
                  <a:lnTo>
                    <a:pt x="5482688" y="5441900"/>
                  </a:lnTo>
                  <a:lnTo>
                    <a:pt x="5489965" y="5474607"/>
                  </a:lnTo>
                  <a:lnTo>
                    <a:pt x="5490059" y="5474617"/>
                  </a:lnTo>
                  <a:close/>
                  <a:moveTo>
                    <a:pt x="5039409" y="5426066"/>
                  </a:moveTo>
                  <a:lnTo>
                    <a:pt x="4918270" y="5444189"/>
                  </a:lnTo>
                  <a:lnTo>
                    <a:pt x="5039071" y="5426352"/>
                  </a:lnTo>
                  <a:close/>
                  <a:moveTo>
                    <a:pt x="5517581" y="5412246"/>
                  </a:moveTo>
                  <a:lnTo>
                    <a:pt x="5499630" y="5414562"/>
                  </a:lnTo>
                  <a:lnTo>
                    <a:pt x="5483483" y="5440616"/>
                  </a:lnTo>
                  <a:close/>
                  <a:moveTo>
                    <a:pt x="9972326" y="5400627"/>
                  </a:moveTo>
                  <a:lnTo>
                    <a:pt x="9972321" y="5400635"/>
                  </a:lnTo>
                  <a:lnTo>
                    <a:pt x="9972323" y="5400639"/>
                  </a:lnTo>
                  <a:close/>
                  <a:moveTo>
                    <a:pt x="5300992" y="5399326"/>
                  </a:moveTo>
                  <a:lnTo>
                    <a:pt x="5300990" y="5399327"/>
                  </a:lnTo>
                  <a:lnTo>
                    <a:pt x="5278124" y="5432873"/>
                  </a:lnTo>
                  <a:lnTo>
                    <a:pt x="5278929" y="5433502"/>
                  </a:lnTo>
                  <a:lnTo>
                    <a:pt x="5300991" y="5399327"/>
                  </a:lnTo>
                  <a:close/>
                  <a:moveTo>
                    <a:pt x="6336735" y="5394801"/>
                  </a:moveTo>
                  <a:lnTo>
                    <a:pt x="6307012" y="5436934"/>
                  </a:lnTo>
                  <a:lnTo>
                    <a:pt x="6307049" y="5437714"/>
                  </a:lnTo>
                  <a:lnTo>
                    <a:pt x="6336822" y="5398603"/>
                  </a:lnTo>
                  <a:close/>
                  <a:moveTo>
                    <a:pt x="6336009" y="5363087"/>
                  </a:moveTo>
                  <a:lnTo>
                    <a:pt x="6332846" y="5363530"/>
                  </a:lnTo>
                  <a:lnTo>
                    <a:pt x="6336403" y="5380277"/>
                  </a:lnTo>
                  <a:close/>
                  <a:moveTo>
                    <a:pt x="5185096" y="5361035"/>
                  </a:moveTo>
                  <a:lnTo>
                    <a:pt x="5136479" y="5370872"/>
                  </a:lnTo>
                  <a:lnTo>
                    <a:pt x="5185096" y="5361036"/>
                  </a:lnTo>
                  <a:close/>
                  <a:moveTo>
                    <a:pt x="7579338" y="5360843"/>
                  </a:moveTo>
                  <a:lnTo>
                    <a:pt x="7553517" y="5414220"/>
                  </a:lnTo>
                  <a:lnTo>
                    <a:pt x="7491805" y="5453429"/>
                  </a:lnTo>
                  <a:lnTo>
                    <a:pt x="7469078" y="5501113"/>
                  </a:lnTo>
                  <a:lnTo>
                    <a:pt x="7469082" y="5501113"/>
                  </a:lnTo>
                  <a:lnTo>
                    <a:pt x="7491809" y="5453429"/>
                  </a:lnTo>
                  <a:lnTo>
                    <a:pt x="7553521" y="5414221"/>
                  </a:lnTo>
                  <a:lnTo>
                    <a:pt x="7579341" y="5360844"/>
                  </a:lnTo>
                  <a:close/>
                  <a:moveTo>
                    <a:pt x="5088044" y="5358928"/>
                  </a:moveTo>
                  <a:lnTo>
                    <a:pt x="5087993" y="5358952"/>
                  </a:lnTo>
                  <a:lnTo>
                    <a:pt x="5089303" y="5383254"/>
                  </a:lnTo>
                  <a:close/>
                  <a:moveTo>
                    <a:pt x="6368088" y="5358590"/>
                  </a:moveTo>
                  <a:lnTo>
                    <a:pt x="6345879" y="5361703"/>
                  </a:lnTo>
                  <a:lnTo>
                    <a:pt x="6364347" y="5368585"/>
                  </a:lnTo>
                  <a:close/>
                  <a:moveTo>
                    <a:pt x="5614623" y="5352979"/>
                  </a:moveTo>
                  <a:lnTo>
                    <a:pt x="5578337" y="5355110"/>
                  </a:lnTo>
                  <a:lnTo>
                    <a:pt x="5535561" y="5409926"/>
                  </a:lnTo>
                  <a:lnTo>
                    <a:pt x="5524050" y="5411411"/>
                  </a:lnTo>
                  <a:lnTo>
                    <a:pt x="5535935" y="5420335"/>
                  </a:lnTo>
                  <a:lnTo>
                    <a:pt x="5578338" y="5355110"/>
                  </a:lnTo>
                  <a:lnTo>
                    <a:pt x="5614364" y="5353365"/>
                  </a:lnTo>
                  <a:close/>
                  <a:moveTo>
                    <a:pt x="5100890" y="5352853"/>
                  </a:moveTo>
                  <a:lnTo>
                    <a:pt x="5127090" y="5372772"/>
                  </a:lnTo>
                  <a:lnTo>
                    <a:pt x="5127090" y="5372772"/>
                  </a:lnTo>
                  <a:lnTo>
                    <a:pt x="5100891" y="5352853"/>
                  </a:lnTo>
                  <a:close/>
                  <a:moveTo>
                    <a:pt x="5346537" y="5346451"/>
                  </a:moveTo>
                  <a:lnTo>
                    <a:pt x="5343184" y="5346697"/>
                  </a:lnTo>
                  <a:lnTo>
                    <a:pt x="5333207" y="5388933"/>
                  </a:lnTo>
                  <a:lnTo>
                    <a:pt x="5349039" y="5383826"/>
                  </a:lnTo>
                  <a:lnTo>
                    <a:pt x="5336342" y="5387334"/>
                  </a:lnTo>
                  <a:close/>
                  <a:moveTo>
                    <a:pt x="5271323" y="5334573"/>
                  </a:moveTo>
                  <a:lnTo>
                    <a:pt x="5271767" y="5335002"/>
                  </a:lnTo>
                  <a:lnTo>
                    <a:pt x="5271821" y="5334974"/>
                  </a:lnTo>
                  <a:close/>
                  <a:moveTo>
                    <a:pt x="10094282" y="5334424"/>
                  </a:moveTo>
                  <a:lnTo>
                    <a:pt x="10062830" y="5360272"/>
                  </a:lnTo>
                  <a:lnTo>
                    <a:pt x="10062831" y="5360278"/>
                  </a:lnTo>
                  <a:lnTo>
                    <a:pt x="10094345" y="5334447"/>
                  </a:lnTo>
                  <a:close/>
                  <a:moveTo>
                    <a:pt x="10015267" y="5334219"/>
                  </a:moveTo>
                  <a:lnTo>
                    <a:pt x="10015253" y="5334240"/>
                  </a:lnTo>
                  <a:lnTo>
                    <a:pt x="10015273" y="5334220"/>
                  </a:lnTo>
                  <a:close/>
                  <a:moveTo>
                    <a:pt x="10132108" y="5330559"/>
                  </a:moveTo>
                  <a:lnTo>
                    <a:pt x="10127225" y="5346366"/>
                  </a:lnTo>
                  <a:lnTo>
                    <a:pt x="10127233" y="5346369"/>
                  </a:lnTo>
                  <a:lnTo>
                    <a:pt x="10132236" y="5330580"/>
                  </a:lnTo>
                  <a:close/>
                  <a:moveTo>
                    <a:pt x="6341788" y="5329727"/>
                  </a:moveTo>
                  <a:lnTo>
                    <a:pt x="6368247" y="5358163"/>
                  </a:lnTo>
                  <a:lnTo>
                    <a:pt x="6378007" y="5332083"/>
                  </a:lnTo>
                  <a:lnTo>
                    <a:pt x="6364532" y="5353527"/>
                  </a:lnTo>
                  <a:close/>
                  <a:moveTo>
                    <a:pt x="5639240" y="5316371"/>
                  </a:moveTo>
                  <a:lnTo>
                    <a:pt x="5633201" y="5325405"/>
                  </a:lnTo>
                  <a:lnTo>
                    <a:pt x="5639234" y="5316450"/>
                  </a:lnTo>
                  <a:close/>
                  <a:moveTo>
                    <a:pt x="10186104" y="5313606"/>
                  </a:moveTo>
                  <a:lnTo>
                    <a:pt x="10155392" y="5334243"/>
                  </a:lnTo>
                  <a:lnTo>
                    <a:pt x="10155501" y="5334261"/>
                  </a:lnTo>
                  <a:close/>
                  <a:moveTo>
                    <a:pt x="6278097" y="5312911"/>
                  </a:moveTo>
                  <a:lnTo>
                    <a:pt x="6278211" y="5331178"/>
                  </a:lnTo>
                  <a:lnTo>
                    <a:pt x="6279002" y="5331069"/>
                  </a:lnTo>
                  <a:close/>
                  <a:moveTo>
                    <a:pt x="5429547" y="5301888"/>
                  </a:moveTo>
                  <a:lnTo>
                    <a:pt x="5364644" y="5378791"/>
                  </a:lnTo>
                  <a:lnTo>
                    <a:pt x="5365833" y="5378408"/>
                  </a:lnTo>
                  <a:close/>
                  <a:moveTo>
                    <a:pt x="5190303" y="5299966"/>
                  </a:moveTo>
                  <a:lnTo>
                    <a:pt x="5181988" y="5302731"/>
                  </a:lnTo>
                  <a:lnTo>
                    <a:pt x="5182362" y="5309752"/>
                  </a:lnTo>
                  <a:close/>
                  <a:moveTo>
                    <a:pt x="6461215" y="5290164"/>
                  </a:moveTo>
                  <a:lnTo>
                    <a:pt x="6424740" y="5299538"/>
                  </a:lnTo>
                  <a:lnTo>
                    <a:pt x="6423149" y="5309329"/>
                  </a:lnTo>
                  <a:close/>
                  <a:moveTo>
                    <a:pt x="6461233" y="5290159"/>
                  </a:moveTo>
                  <a:lnTo>
                    <a:pt x="6461227" y="5290161"/>
                  </a:lnTo>
                  <a:lnTo>
                    <a:pt x="6492709" y="5355699"/>
                  </a:lnTo>
                  <a:lnTo>
                    <a:pt x="6570182" y="5404160"/>
                  </a:lnTo>
                  <a:lnTo>
                    <a:pt x="6623110" y="5452278"/>
                  </a:lnTo>
                  <a:lnTo>
                    <a:pt x="6620090" y="5467111"/>
                  </a:lnTo>
                  <a:lnTo>
                    <a:pt x="6620098" y="5467111"/>
                  </a:lnTo>
                  <a:lnTo>
                    <a:pt x="6623117" y="5452279"/>
                  </a:lnTo>
                  <a:lnTo>
                    <a:pt x="6570188" y="5404161"/>
                  </a:lnTo>
                  <a:lnTo>
                    <a:pt x="6492716" y="5355700"/>
                  </a:lnTo>
                  <a:close/>
                  <a:moveTo>
                    <a:pt x="5942602" y="5286649"/>
                  </a:moveTo>
                  <a:lnTo>
                    <a:pt x="5924136" y="5342181"/>
                  </a:lnTo>
                  <a:lnTo>
                    <a:pt x="5887235" y="5351518"/>
                  </a:lnTo>
                  <a:lnTo>
                    <a:pt x="5835045" y="5443782"/>
                  </a:lnTo>
                  <a:lnTo>
                    <a:pt x="5752933" y="5494800"/>
                  </a:lnTo>
                  <a:lnTo>
                    <a:pt x="5752935" y="5494800"/>
                  </a:lnTo>
                  <a:lnTo>
                    <a:pt x="5835049" y="5443782"/>
                  </a:lnTo>
                  <a:lnTo>
                    <a:pt x="5887237" y="5351518"/>
                  </a:lnTo>
                  <a:lnTo>
                    <a:pt x="5924139" y="5342181"/>
                  </a:lnTo>
                  <a:lnTo>
                    <a:pt x="5945748" y="5292712"/>
                  </a:lnTo>
                  <a:close/>
                  <a:moveTo>
                    <a:pt x="5233560" y="5285579"/>
                  </a:moveTo>
                  <a:lnTo>
                    <a:pt x="5222726" y="5289182"/>
                  </a:lnTo>
                  <a:lnTo>
                    <a:pt x="5224467" y="5289362"/>
                  </a:lnTo>
                  <a:lnTo>
                    <a:pt x="5229628" y="5294342"/>
                  </a:lnTo>
                  <a:close/>
                  <a:moveTo>
                    <a:pt x="6213177" y="5285184"/>
                  </a:moveTo>
                  <a:lnTo>
                    <a:pt x="6214174" y="5286647"/>
                  </a:lnTo>
                  <a:lnTo>
                    <a:pt x="6255196" y="5302178"/>
                  </a:lnTo>
                  <a:lnTo>
                    <a:pt x="6214881" y="5286745"/>
                  </a:lnTo>
                  <a:close/>
                  <a:moveTo>
                    <a:pt x="5947769" y="5271111"/>
                  </a:moveTo>
                  <a:lnTo>
                    <a:pt x="5946566" y="5274730"/>
                  </a:lnTo>
                  <a:lnTo>
                    <a:pt x="5955246" y="5272068"/>
                  </a:lnTo>
                  <a:close/>
                  <a:moveTo>
                    <a:pt x="6000686" y="5266266"/>
                  </a:moveTo>
                  <a:lnTo>
                    <a:pt x="6010969" y="5277239"/>
                  </a:lnTo>
                  <a:lnTo>
                    <a:pt x="6011206" y="5277068"/>
                  </a:lnTo>
                  <a:close/>
                  <a:moveTo>
                    <a:pt x="5994571" y="5259987"/>
                  </a:moveTo>
                  <a:lnTo>
                    <a:pt x="5994530" y="5260022"/>
                  </a:lnTo>
                  <a:lnTo>
                    <a:pt x="5994588" y="5260004"/>
                  </a:lnTo>
                  <a:close/>
                  <a:moveTo>
                    <a:pt x="5215476" y="5257631"/>
                  </a:moveTo>
                  <a:lnTo>
                    <a:pt x="5234163" y="5284233"/>
                  </a:lnTo>
                  <a:lnTo>
                    <a:pt x="5234755" y="5282913"/>
                  </a:lnTo>
                  <a:close/>
                  <a:moveTo>
                    <a:pt x="6042741" y="5254330"/>
                  </a:moveTo>
                  <a:lnTo>
                    <a:pt x="6042304" y="5254648"/>
                  </a:lnTo>
                  <a:lnTo>
                    <a:pt x="6042743" y="5254331"/>
                  </a:lnTo>
                  <a:close/>
                  <a:moveTo>
                    <a:pt x="6129577" y="5249696"/>
                  </a:moveTo>
                  <a:lnTo>
                    <a:pt x="6108631" y="5260015"/>
                  </a:lnTo>
                  <a:lnTo>
                    <a:pt x="6128455" y="5252911"/>
                  </a:lnTo>
                  <a:close/>
                  <a:moveTo>
                    <a:pt x="6090422" y="5242461"/>
                  </a:moveTo>
                  <a:lnTo>
                    <a:pt x="6076980" y="5267799"/>
                  </a:lnTo>
                  <a:lnTo>
                    <a:pt x="6076981" y="5267800"/>
                  </a:lnTo>
                  <a:lnTo>
                    <a:pt x="6090424" y="5242462"/>
                  </a:lnTo>
                  <a:close/>
                  <a:moveTo>
                    <a:pt x="6135930" y="5231493"/>
                  </a:moveTo>
                  <a:lnTo>
                    <a:pt x="6120250" y="5234644"/>
                  </a:lnTo>
                  <a:lnTo>
                    <a:pt x="6130277" y="5247693"/>
                  </a:lnTo>
                  <a:close/>
                  <a:moveTo>
                    <a:pt x="6151221" y="5228421"/>
                  </a:moveTo>
                  <a:lnTo>
                    <a:pt x="6141890" y="5230296"/>
                  </a:lnTo>
                  <a:lnTo>
                    <a:pt x="6163891" y="5240029"/>
                  </a:lnTo>
                  <a:close/>
                  <a:moveTo>
                    <a:pt x="5422347" y="5225092"/>
                  </a:moveTo>
                  <a:lnTo>
                    <a:pt x="5408760" y="5256781"/>
                  </a:lnTo>
                  <a:lnTo>
                    <a:pt x="5422509" y="5225445"/>
                  </a:lnTo>
                  <a:close/>
                  <a:moveTo>
                    <a:pt x="5413589" y="5205913"/>
                  </a:moveTo>
                  <a:lnTo>
                    <a:pt x="5401116" y="5207970"/>
                  </a:lnTo>
                  <a:lnTo>
                    <a:pt x="5422256" y="5224893"/>
                  </a:lnTo>
                  <a:close/>
                  <a:moveTo>
                    <a:pt x="7769897" y="5202581"/>
                  </a:moveTo>
                  <a:lnTo>
                    <a:pt x="7754607" y="5267926"/>
                  </a:lnTo>
                  <a:lnTo>
                    <a:pt x="7716070" y="5309637"/>
                  </a:lnTo>
                  <a:lnTo>
                    <a:pt x="7621687" y="5343630"/>
                  </a:lnTo>
                  <a:lnTo>
                    <a:pt x="7610861" y="5367314"/>
                  </a:lnTo>
                  <a:lnTo>
                    <a:pt x="7612180" y="5367585"/>
                  </a:lnTo>
                  <a:lnTo>
                    <a:pt x="7621690" y="5343630"/>
                  </a:lnTo>
                  <a:lnTo>
                    <a:pt x="7716074" y="5309638"/>
                  </a:lnTo>
                  <a:lnTo>
                    <a:pt x="7754611" y="5267926"/>
                  </a:lnTo>
                  <a:lnTo>
                    <a:pt x="7769900" y="5202581"/>
                  </a:lnTo>
                  <a:close/>
                  <a:moveTo>
                    <a:pt x="9765866" y="5199759"/>
                  </a:moveTo>
                  <a:lnTo>
                    <a:pt x="9765569" y="5199821"/>
                  </a:lnTo>
                  <a:lnTo>
                    <a:pt x="9765575" y="5199821"/>
                  </a:lnTo>
                  <a:close/>
                  <a:moveTo>
                    <a:pt x="9567442" y="5198462"/>
                  </a:moveTo>
                  <a:lnTo>
                    <a:pt x="9582250" y="5200594"/>
                  </a:lnTo>
                  <a:lnTo>
                    <a:pt x="9582181" y="5200283"/>
                  </a:lnTo>
                  <a:close/>
                  <a:moveTo>
                    <a:pt x="9559406" y="5197469"/>
                  </a:moveTo>
                  <a:lnTo>
                    <a:pt x="9538004" y="5229753"/>
                  </a:lnTo>
                  <a:lnTo>
                    <a:pt x="9529201" y="5212836"/>
                  </a:lnTo>
                  <a:lnTo>
                    <a:pt x="9529974" y="5226094"/>
                  </a:lnTo>
                  <a:lnTo>
                    <a:pt x="9503268" y="5242711"/>
                  </a:lnTo>
                  <a:lnTo>
                    <a:pt x="9513726" y="5282069"/>
                  </a:lnTo>
                  <a:lnTo>
                    <a:pt x="9514523" y="5281447"/>
                  </a:lnTo>
                  <a:lnTo>
                    <a:pt x="9503287" y="5242711"/>
                  </a:lnTo>
                  <a:lnTo>
                    <a:pt x="9539494" y="5229318"/>
                  </a:lnTo>
                  <a:lnTo>
                    <a:pt x="9559747" y="5197511"/>
                  </a:lnTo>
                  <a:close/>
                  <a:moveTo>
                    <a:pt x="5204580" y="5196855"/>
                  </a:moveTo>
                  <a:lnTo>
                    <a:pt x="5200590" y="5201854"/>
                  </a:lnTo>
                  <a:lnTo>
                    <a:pt x="5234166" y="5230356"/>
                  </a:lnTo>
                  <a:close/>
                  <a:moveTo>
                    <a:pt x="5655639" y="5178980"/>
                  </a:moveTo>
                  <a:lnTo>
                    <a:pt x="5661138" y="5208427"/>
                  </a:lnTo>
                  <a:lnTo>
                    <a:pt x="5689321" y="5250571"/>
                  </a:lnTo>
                  <a:lnTo>
                    <a:pt x="5669109" y="5275171"/>
                  </a:lnTo>
                  <a:lnTo>
                    <a:pt x="5641640" y="5278459"/>
                  </a:lnTo>
                  <a:lnTo>
                    <a:pt x="5641629" y="5278652"/>
                  </a:lnTo>
                  <a:lnTo>
                    <a:pt x="5641642" y="5278459"/>
                  </a:lnTo>
                  <a:lnTo>
                    <a:pt x="5669110" y="5275171"/>
                  </a:lnTo>
                  <a:lnTo>
                    <a:pt x="5689323" y="5250571"/>
                  </a:lnTo>
                  <a:close/>
                  <a:moveTo>
                    <a:pt x="9715043" y="5172539"/>
                  </a:moveTo>
                  <a:lnTo>
                    <a:pt x="9728698" y="5197505"/>
                  </a:lnTo>
                  <a:lnTo>
                    <a:pt x="9715691" y="5172829"/>
                  </a:lnTo>
                  <a:close/>
                  <a:moveTo>
                    <a:pt x="9656491" y="5163631"/>
                  </a:moveTo>
                  <a:lnTo>
                    <a:pt x="9658232" y="5165686"/>
                  </a:lnTo>
                  <a:lnTo>
                    <a:pt x="9658271" y="5165673"/>
                  </a:lnTo>
                  <a:close/>
                  <a:moveTo>
                    <a:pt x="5426612" y="5161023"/>
                  </a:moveTo>
                  <a:lnTo>
                    <a:pt x="5399116" y="5206369"/>
                  </a:lnTo>
                  <a:lnTo>
                    <a:pt x="5399689" y="5206828"/>
                  </a:lnTo>
                  <a:close/>
                  <a:moveTo>
                    <a:pt x="9501195" y="5159019"/>
                  </a:moveTo>
                  <a:lnTo>
                    <a:pt x="9494069" y="5166676"/>
                  </a:lnTo>
                  <a:lnTo>
                    <a:pt x="9514621" y="5184819"/>
                  </a:lnTo>
                  <a:close/>
                  <a:moveTo>
                    <a:pt x="9838942" y="5158294"/>
                  </a:moveTo>
                  <a:lnTo>
                    <a:pt x="9862977" y="5171066"/>
                  </a:lnTo>
                  <a:lnTo>
                    <a:pt x="9863179" y="5170929"/>
                  </a:lnTo>
                  <a:close/>
                  <a:moveTo>
                    <a:pt x="9838621" y="5158127"/>
                  </a:moveTo>
                  <a:lnTo>
                    <a:pt x="9819809" y="5188190"/>
                  </a:lnTo>
                  <a:lnTo>
                    <a:pt x="9820550" y="5188031"/>
                  </a:lnTo>
                  <a:lnTo>
                    <a:pt x="9838628" y="5158130"/>
                  </a:lnTo>
                  <a:close/>
                  <a:moveTo>
                    <a:pt x="9681982" y="5157736"/>
                  </a:moveTo>
                  <a:lnTo>
                    <a:pt x="9678529" y="5158927"/>
                  </a:lnTo>
                  <a:lnTo>
                    <a:pt x="9682035" y="5157760"/>
                  </a:lnTo>
                  <a:close/>
                  <a:moveTo>
                    <a:pt x="5236104" y="5157349"/>
                  </a:moveTo>
                  <a:lnTo>
                    <a:pt x="5211055" y="5188741"/>
                  </a:lnTo>
                  <a:lnTo>
                    <a:pt x="5223339" y="5184134"/>
                  </a:lnTo>
                  <a:close/>
                  <a:moveTo>
                    <a:pt x="9589004" y="5156753"/>
                  </a:moveTo>
                  <a:lnTo>
                    <a:pt x="9575870" y="5164119"/>
                  </a:lnTo>
                  <a:lnTo>
                    <a:pt x="9576386" y="5166959"/>
                  </a:lnTo>
                  <a:close/>
                  <a:moveTo>
                    <a:pt x="9648111" y="5154020"/>
                  </a:moveTo>
                  <a:lnTo>
                    <a:pt x="9615708" y="5176730"/>
                  </a:lnTo>
                  <a:lnTo>
                    <a:pt x="9597302" y="5162923"/>
                  </a:lnTo>
                  <a:lnTo>
                    <a:pt x="9615594" y="5176999"/>
                  </a:lnTo>
                  <a:lnTo>
                    <a:pt x="9648163" y="5154080"/>
                  </a:lnTo>
                  <a:close/>
                  <a:moveTo>
                    <a:pt x="9901199" y="5149967"/>
                  </a:moveTo>
                  <a:lnTo>
                    <a:pt x="9899874" y="5150711"/>
                  </a:lnTo>
                  <a:lnTo>
                    <a:pt x="9901257" y="5152033"/>
                  </a:lnTo>
                  <a:close/>
                  <a:moveTo>
                    <a:pt x="5453712" y="5144953"/>
                  </a:moveTo>
                  <a:lnTo>
                    <a:pt x="5435502" y="5146360"/>
                  </a:lnTo>
                  <a:lnTo>
                    <a:pt x="5435054" y="5147100"/>
                  </a:lnTo>
                  <a:close/>
                  <a:moveTo>
                    <a:pt x="5671156" y="5132782"/>
                  </a:moveTo>
                  <a:lnTo>
                    <a:pt x="5653307" y="5166493"/>
                  </a:lnTo>
                  <a:lnTo>
                    <a:pt x="5654588" y="5173351"/>
                  </a:lnTo>
                  <a:lnTo>
                    <a:pt x="5671304" y="5133281"/>
                  </a:lnTo>
                  <a:close/>
                  <a:moveTo>
                    <a:pt x="10249848" y="5112502"/>
                  </a:moveTo>
                  <a:lnTo>
                    <a:pt x="10249840" y="5112504"/>
                  </a:lnTo>
                  <a:lnTo>
                    <a:pt x="10266830" y="5135866"/>
                  </a:lnTo>
                  <a:lnTo>
                    <a:pt x="10235290" y="5209696"/>
                  </a:lnTo>
                  <a:lnTo>
                    <a:pt x="10190674" y="5221533"/>
                  </a:lnTo>
                  <a:lnTo>
                    <a:pt x="10205107" y="5260803"/>
                  </a:lnTo>
                  <a:lnTo>
                    <a:pt x="10189717" y="5311167"/>
                  </a:lnTo>
                  <a:lnTo>
                    <a:pt x="10189823" y="5311096"/>
                  </a:lnTo>
                  <a:lnTo>
                    <a:pt x="10205115" y="5260803"/>
                  </a:lnTo>
                  <a:lnTo>
                    <a:pt x="10190682" y="5221533"/>
                  </a:lnTo>
                  <a:lnTo>
                    <a:pt x="10235299" y="5209696"/>
                  </a:lnTo>
                  <a:lnTo>
                    <a:pt x="10266839" y="5135865"/>
                  </a:lnTo>
                  <a:close/>
                  <a:moveTo>
                    <a:pt x="9474212" y="5107167"/>
                  </a:moveTo>
                  <a:lnTo>
                    <a:pt x="9478848" y="5126795"/>
                  </a:lnTo>
                  <a:lnTo>
                    <a:pt x="9485179" y="5128243"/>
                  </a:lnTo>
                  <a:close/>
                  <a:moveTo>
                    <a:pt x="10191095" y="5106505"/>
                  </a:moveTo>
                  <a:lnTo>
                    <a:pt x="10183231" y="5132500"/>
                  </a:lnTo>
                  <a:lnTo>
                    <a:pt x="10183241" y="5132497"/>
                  </a:lnTo>
                  <a:lnTo>
                    <a:pt x="10191300" y="5106549"/>
                  </a:lnTo>
                  <a:close/>
                  <a:moveTo>
                    <a:pt x="10150123" y="5097686"/>
                  </a:moveTo>
                  <a:lnTo>
                    <a:pt x="10150049" y="5097862"/>
                  </a:lnTo>
                  <a:lnTo>
                    <a:pt x="10174736" y="5102984"/>
                  </a:lnTo>
                  <a:close/>
                  <a:moveTo>
                    <a:pt x="10309485" y="5094250"/>
                  </a:moveTo>
                  <a:lnTo>
                    <a:pt x="10310726" y="5114612"/>
                  </a:lnTo>
                  <a:lnTo>
                    <a:pt x="10311502" y="5114189"/>
                  </a:lnTo>
                  <a:close/>
                  <a:moveTo>
                    <a:pt x="6082252" y="5093048"/>
                  </a:moveTo>
                  <a:lnTo>
                    <a:pt x="6042448" y="5133389"/>
                  </a:lnTo>
                  <a:lnTo>
                    <a:pt x="6042530" y="5133496"/>
                  </a:lnTo>
                  <a:lnTo>
                    <a:pt x="6082255" y="5093049"/>
                  </a:lnTo>
                  <a:lnTo>
                    <a:pt x="6082376" y="5093075"/>
                  </a:lnTo>
                  <a:close/>
                  <a:moveTo>
                    <a:pt x="10292513" y="5090427"/>
                  </a:moveTo>
                  <a:lnTo>
                    <a:pt x="10309403" y="5093449"/>
                  </a:lnTo>
                  <a:lnTo>
                    <a:pt x="10309394" y="5093356"/>
                  </a:lnTo>
                  <a:close/>
                  <a:moveTo>
                    <a:pt x="9457524" y="5083658"/>
                  </a:moveTo>
                  <a:lnTo>
                    <a:pt x="9465244" y="5089934"/>
                  </a:lnTo>
                  <a:lnTo>
                    <a:pt x="9462861" y="5085355"/>
                  </a:lnTo>
                  <a:close/>
                  <a:moveTo>
                    <a:pt x="9424093" y="5073032"/>
                  </a:moveTo>
                  <a:lnTo>
                    <a:pt x="9421695" y="5076750"/>
                  </a:lnTo>
                  <a:lnTo>
                    <a:pt x="9432801" y="5075800"/>
                  </a:lnTo>
                  <a:close/>
                  <a:moveTo>
                    <a:pt x="10193449" y="5051931"/>
                  </a:moveTo>
                  <a:lnTo>
                    <a:pt x="10193081" y="5053134"/>
                  </a:lnTo>
                  <a:lnTo>
                    <a:pt x="10164328" y="5064067"/>
                  </a:lnTo>
                  <a:lnTo>
                    <a:pt x="10162190" y="5069127"/>
                  </a:lnTo>
                  <a:lnTo>
                    <a:pt x="10164336" y="5064067"/>
                  </a:lnTo>
                  <a:lnTo>
                    <a:pt x="10193089" y="5053134"/>
                  </a:lnTo>
                  <a:close/>
                  <a:moveTo>
                    <a:pt x="9395789" y="5049694"/>
                  </a:moveTo>
                  <a:lnTo>
                    <a:pt x="9382920" y="5054688"/>
                  </a:lnTo>
                  <a:lnTo>
                    <a:pt x="9396265" y="5050869"/>
                  </a:lnTo>
                  <a:close/>
                  <a:moveTo>
                    <a:pt x="6142683" y="5047833"/>
                  </a:moveTo>
                  <a:lnTo>
                    <a:pt x="6124653" y="5102186"/>
                  </a:lnTo>
                  <a:lnTo>
                    <a:pt x="6124705" y="5102197"/>
                  </a:lnTo>
                  <a:lnTo>
                    <a:pt x="6142767" y="5050554"/>
                  </a:lnTo>
                  <a:close/>
                  <a:moveTo>
                    <a:pt x="5434102" y="5047236"/>
                  </a:moveTo>
                  <a:lnTo>
                    <a:pt x="5433731" y="5047521"/>
                  </a:lnTo>
                  <a:lnTo>
                    <a:pt x="5441684" y="5069160"/>
                  </a:lnTo>
                  <a:close/>
                  <a:moveTo>
                    <a:pt x="5390381" y="5046692"/>
                  </a:moveTo>
                  <a:lnTo>
                    <a:pt x="5389226" y="5047140"/>
                  </a:lnTo>
                  <a:lnTo>
                    <a:pt x="5410407" y="5064966"/>
                  </a:lnTo>
                  <a:lnTo>
                    <a:pt x="5410600" y="5064816"/>
                  </a:lnTo>
                  <a:close/>
                  <a:moveTo>
                    <a:pt x="10269416" y="5036492"/>
                  </a:moveTo>
                  <a:lnTo>
                    <a:pt x="10269495" y="5039381"/>
                  </a:lnTo>
                  <a:lnTo>
                    <a:pt x="10269762" y="5039439"/>
                  </a:lnTo>
                  <a:close/>
                  <a:moveTo>
                    <a:pt x="4816030" y="5035553"/>
                  </a:moveTo>
                  <a:lnTo>
                    <a:pt x="4811548" y="5042039"/>
                  </a:lnTo>
                  <a:lnTo>
                    <a:pt x="4816031" y="5035553"/>
                  </a:lnTo>
                  <a:close/>
                  <a:moveTo>
                    <a:pt x="10266165" y="5008783"/>
                  </a:moveTo>
                  <a:lnTo>
                    <a:pt x="10249783" y="5018156"/>
                  </a:lnTo>
                  <a:lnTo>
                    <a:pt x="10249786" y="5018159"/>
                  </a:lnTo>
                  <a:lnTo>
                    <a:pt x="10266447" y="5011187"/>
                  </a:lnTo>
                  <a:close/>
                  <a:moveTo>
                    <a:pt x="4953110" y="5000326"/>
                  </a:moveTo>
                  <a:lnTo>
                    <a:pt x="5033115" y="5014177"/>
                  </a:lnTo>
                  <a:lnTo>
                    <a:pt x="5036855" y="5012463"/>
                  </a:lnTo>
                  <a:close/>
                  <a:moveTo>
                    <a:pt x="4919962" y="4999270"/>
                  </a:moveTo>
                  <a:lnTo>
                    <a:pt x="4929008" y="5022885"/>
                  </a:lnTo>
                  <a:lnTo>
                    <a:pt x="4933793" y="5018399"/>
                  </a:lnTo>
                  <a:close/>
                  <a:moveTo>
                    <a:pt x="10229327" y="4994256"/>
                  </a:moveTo>
                  <a:lnTo>
                    <a:pt x="10210411" y="4996439"/>
                  </a:lnTo>
                  <a:lnTo>
                    <a:pt x="10210220" y="4997064"/>
                  </a:lnTo>
                  <a:close/>
                  <a:moveTo>
                    <a:pt x="6141546" y="4991531"/>
                  </a:moveTo>
                  <a:lnTo>
                    <a:pt x="6140942" y="4991777"/>
                  </a:lnTo>
                  <a:lnTo>
                    <a:pt x="6140953" y="4992004"/>
                  </a:lnTo>
                  <a:lnTo>
                    <a:pt x="6140946" y="4991778"/>
                  </a:lnTo>
                  <a:close/>
                  <a:moveTo>
                    <a:pt x="5433406" y="4985058"/>
                  </a:moveTo>
                  <a:lnTo>
                    <a:pt x="5406751" y="5040338"/>
                  </a:lnTo>
                  <a:lnTo>
                    <a:pt x="5405013" y="5041013"/>
                  </a:lnTo>
                  <a:lnTo>
                    <a:pt x="5406708" y="5040527"/>
                  </a:lnTo>
                  <a:lnTo>
                    <a:pt x="5434137" y="4988460"/>
                  </a:lnTo>
                  <a:close/>
                  <a:moveTo>
                    <a:pt x="5101425" y="4976071"/>
                  </a:moveTo>
                  <a:lnTo>
                    <a:pt x="5102601" y="4981820"/>
                  </a:lnTo>
                  <a:lnTo>
                    <a:pt x="5093127" y="4986683"/>
                  </a:lnTo>
                  <a:lnTo>
                    <a:pt x="5103713" y="4981833"/>
                  </a:lnTo>
                  <a:close/>
                  <a:moveTo>
                    <a:pt x="4778271" y="4970224"/>
                  </a:moveTo>
                  <a:lnTo>
                    <a:pt x="4767152" y="4985712"/>
                  </a:lnTo>
                  <a:lnTo>
                    <a:pt x="4778271" y="4970224"/>
                  </a:lnTo>
                  <a:close/>
                  <a:moveTo>
                    <a:pt x="5594341" y="4969772"/>
                  </a:moveTo>
                  <a:lnTo>
                    <a:pt x="5591752" y="4994023"/>
                  </a:lnTo>
                  <a:lnTo>
                    <a:pt x="5629419" y="5007894"/>
                  </a:lnTo>
                  <a:lnTo>
                    <a:pt x="5623112" y="5037643"/>
                  </a:lnTo>
                  <a:lnTo>
                    <a:pt x="5650686" y="5064276"/>
                  </a:lnTo>
                  <a:lnTo>
                    <a:pt x="5623112" y="5037643"/>
                  </a:lnTo>
                  <a:lnTo>
                    <a:pt x="5629419" y="5007894"/>
                  </a:lnTo>
                  <a:lnTo>
                    <a:pt x="5591754" y="4994023"/>
                  </a:lnTo>
                  <a:close/>
                  <a:moveTo>
                    <a:pt x="5563524" y="4950903"/>
                  </a:moveTo>
                  <a:lnTo>
                    <a:pt x="5516365" y="4960207"/>
                  </a:lnTo>
                  <a:lnTo>
                    <a:pt x="5519468" y="4968574"/>
                  </a:lnTo>
                  <a:lnTo>
                    <a:pt x="5567443" y="4953302"/>
                  </a:lnTo>
                  <a:close/>
                  <a:moveTo>
                    <a:pt x="4437426" y="4940341"/>
                  </a:moveTo>
                  <a:lnTo>
                    <a:pt x="4440179" y="4963574"/>
                  </a:lnTo>
                  <a:lnTo>
                    <a:pt x="4441099" y="4963261"/>
                  </a:lnTo>
                  <a:lnTo>
                    <a:pt x="4437428" y="4940341"/>
                  </a:lnTo>
                  <a:close/>
                  <a:moveTo>
                    <a:pt x="9394786" y="4929344"/>
                  </a:moveTo>
                  <a:lnTo>
                    <a:pt x="9377653" y="4931142"/>
                  </a:lnTo>
                  <a:lnTo>
                    <a:pt x="9362931" y="4963253"/>
                  </a:lnTo>
                  <a:lnTo>
                    <a:pt x="9365236" y="5059749"/>
                  </a:lnTo>
                  <a:lnTo>
                    <a:pt x="9365921" y="5059553"/>
                  </a:lnTo>
                  <a:lnTo>
                    <a:pt x="9362944" y="4963253"/>
                  </a:lnTo>
                  <a:lnTo>
                    <a:pt x="9377665" y="4931141"/>
                  </a:lnTo>
                  <a:lnTo>
                    <a:pt x="9394946" y="4929575"/>
                  </a:lnTo>
                  <a:close/>
                  <a:moveTo>
                    <a:pt x="4643678" y="4927824"/>
                  </a:moveTo>
                  <a:lnTo>
                    <a:pt x="4622543" y="4942168"/>
                  </a:lnTo>
                  <a:lnTo>
                    <a:pt x="4643680" y="4927824"/>
                  </a:lnTo>
                  <a:close/>
                  <a:moveTo>
                    <a:pt x="5107947" y="4925856"/>
                  </a:moveTo>
                  <a:lnTo>
                    <a:pt x="5092678" y="4933287"/>
                  </a:lnTo>
                  <a:lnTo>
                    <a:pt x="5095397" y="4946583"/>
                  </a:lnTo>
                  <a:close/>
                  <a:moveTo>
                    <a:pt x="5469861" y="4910032"/>
                  </a:moveTo>
                  <a:lnTo>
                    <a:pt x="5469521" y="4942104"/>
                  </a:lnTo>
                  <a:lnTo>
                    <a:pt x="5486447" y="4957044"/>
                  </a:lnTo>
                  <a:lnTo>
                    <a:pt x="5489119" y="4956752"/>
                  </a:lnTo>
                  <a:lnTo>
                    <a:pt x="5469521" y="4942104"/>
                  </a:lnTo>
                  <a:close/>
                  <a:moveTo>
                    <a:pt x="6156265" y="4906895"/>
                  </a:moveTo>
                  <a:lnTo>
                    <a:pt x="6156108" y="4906972"/>
                  </a:lnTo>
                  <a:lnTo>
                    <a:pt x="6166628" y="4981191"/>
                  </a:lnTo>
                  <a:lnTo>
                    <a:pt x="6166722" y="4981152"/>
                  </a:lnTo>
                  <a:close/>
                  <a:moveTo>
                    <a:pt x="5434463" y="4895832"/>
                  </a:moveTo>
                  <a:lnTo>
                    <a:pt x="5418283" y="4908427"/>
                  </a:lnTo>
                  <a:lnTo>
                    <a:pt x="5418921" y="4910965"/>
                  </a:lnTo>
                  <a:close/>
                  <a:moveTo>
                    <a:pt x="5096671" y="4891327"/>
                  </a:moveTo>
                  <a:lnTo>
                    <a:pt x="5111079" y="4920683"/>
                  </a:lnTo>
                  <a:lnTo>
                    <a:pt x="5113034" y="4917454"/>
                  </a:lnTo>
                  <a:close/>
                  <a:moveTo>
                    <a:pt x="8382115" y="4863474"/>
                  </a:moveTo>
                  <a:lnTo>
                    <a:pt x="8374896" y="4875589"/>
                  </a:lnTo>
                  <a:lnTo>
                    <a:pt x="8375238" y="4875850"/>
                  </a:lnTo>
                  <a:close/>
                  <a:moveTo>
                    <a:pt x="6188331" y="4857990"/>
                  </a:moveTo>
                  <a:lnTo>
                    <a:pt x="6187417" y="4860603"/>
                  </a:lnTo>
                  <a:lnTo>
                    <a:pt x="6188334" y="4857992"/>
                  </a:lnTo>
                  <a:close/>
                  <a:moveTo>
                    <a:pt x="6226886" y="4840430"/>
                  </a:moveTo>
                  <a:lnTo>
                    <a:pt x="6226998" y="4847788"/>
                  </a:lnTo>
                  <a:lnTo>
                    <a:pt x="6207548" y="4871295"/>
                  </a:lnTo>
                  <a:lnTo>
                    <a:pt x="6207549" y="4871296"/>
                  </a:lnTo>
                  <a:lnTo>
                    <a:pt x="6227000" y="4847788"/>
                  </a:lnTo>
                  <a:close/>
                  <a:moveTo>
                    <a:pt x="9432816" y="4831050"/>
                  </a:moveTo>
                  <a:lnTo>
                    <a:pt x="9363812" y="4884610"/>
                  </a:lnTo>
                  <a:lnTo>
                    <a:pt x="9365435" y="4886939"/>
                  </a:lnTo>
                  <a:lnTo>
                    <a:pt x="9363824" y="4884611"/>
                  </a:lnTo>
                  <a:lnTo>
                    <a:pt x="9432730" y="4831393"/>
                  </a:lnTo>
                  <a:close/>
                  <a:moveTo>
                    <a:pt x="7214759" y="4829638"/>
                  </a:moveTo>
                  <a:lnTo>
                    <a:pt x="7239714" y="4833373"/>
                  </a:lnTo>
                  <a:lnTo>
                    <a:pt x="7239715" y="4833372"/>
                  </a:lnTo>
                  <a:close/>
                  <a:moveTo>
                    <a:pt x="5091654" y="4825204"/>
                  </a:moveTo>
                  <a:lnTo>
                    <a:pt x="5091653" y="4825205"/>
                  </a:lnTo>
                  <a:lnTo>
                    <a:pt x="5113420" y="4842333"/>
                  </a:lnTo>
                  <a:lnTo>
                    <a:pt x="5113940" y="4840811"/>
                  </a:lnTo>
                  <a:close/>
                  <a:moveTo>
                    <a:pt x="6226547" y="4818298"/>
                  </a:moveTo>
                  <a:lnTo>
                    <a:pt x="6226547" y="4818299"/>
                  </a:lnTo>
                  <a:lnTo>
                    <a:pt x="6254296" y="4819349"/>
                  </a:lnTo>
                  <a:close/>
                  <a:moveTo>
                    <a:pt x="8402504" y="4809166"/>
                  </a:moveTo>
                  <a:lnTo>
                    <a:pt x="8366430" y="4826517"/>
                  </a:lnTo>
                  <a:lnTo>
                    <a:pt x="8366939" y="4827455"/>
                  </a:lnTo>
                  <a:close/>
                  <a:moveTo>
                    <a:pt x="7867772" y="4808947"/>
                  </a:moveTo>
                  <a:lnTo>
                    <a:pt x="7867769" y="4808948"/>
                  </a:lnTo>
                  <a:lnTo>
                    <a:pt x="7920674" y="4851704"/>
                  </a:lnTo>
                  <a:lnTo>
                    <a:pt x="7936448" y="4886054"/>
                  </a:lnTo>
                  <a:lnTo>
                    <a:pt x="7928912" y="4930949"/>
                  </a:lnTo>
                  <a:lnTo>
                    <a:pt x="7835130" y="4971237"/>
                  </a:lnTo>
                  <a:lnTo>
                    <a:pt x="7793706" y="5047624"/>
                  </a:lnTo>
                  <a:lnTo>
                    <a:pt x="7699849" y="5127316"/>
                  </a:lnTo>
                  <a:lnTo>
                    <a:pt x="7724603" y="5180545"/>
                  </a:lnTo>
                  <a:lnTo>
                    <a:pt x="7750266" y="5186844"/>
                  </a:lnTo>
                  <a:lnTo>
                    <a:pt x="7747988" y="5203973"/>
                  </a:lnTo>
                  <a:lnTo>
                    <a:pt x="7747991" y="5203973"/>
                  </a:lnTo>
                  <a:lnTo>
                    <a:pt x="7750269" y="5186844"/>
                  </a:lnTo>
                  <a:lnTo>
                    <a:pt x="7724606" y="5180545"/>
                  </a:lnTo>
                  <a:lnTo>
                    <a:pt x="7699853" y="5127317"/>
                  </a:lnTo>
                  <a:lnTo>
                    <a:pt x="7793710" y="5047624"/>
                  </a:lnTo>
                  <a:lnTo>
                    <a:pt x="7835133" y="4971237"/>
                  </a:lnTo>
                  <a:lnTo>
                    <a:pt x="7928915" y="4930949"/>
                  </a:lnTo>
                  <a:lnTo>
                    <a:pt x="7936451" y="4886054"/>
                  </a:lnTo>
                  <a:lnTo>
                    <a:pt x="7920677" y="4851704"/>
                  </a:lnTo>
                  <a:close/>
                  <a:moveTo>
                    <a:pt x="9440568" y="4800255"/>
                  </a:moveTo>
                  <a:lnTo>
                    <a:pt x="9429949" y="4802523"/>
                  </a:lnTo>
                  <a:lnTo>
                    <a:pt x="9438081" y="4810134"/>
                  </a:lnTo>
                  <a:close/>
                  <a:moveTo>
                    <a:pt x="5095361" y="4775815"/>
                  </a:moveTo>
                  <a:lnTo>
                    <a:pt x="5095361" y="4775816"/>
                  </a:lnTo>
                  <a:lnTo>
                    <a:pt x="5110031" y="4808726"/>
                  </a:lnTo>
                  <a:close/>
                  <a:moveTo>
                    <a:pt x="8365036" y="4761856"/>
                  </a:moveTo>
                  <a:lnTo>
                    <a:pt x="8344461" y="4775987"/>
                  </a:lnTo>
                  <a:lnTo>
                    <a:pt x="8344454" y="4776005"/>
                  </a:lnTo>
                  <a:lnTo>
                    <a:pt x="8365040" y="4761867"/>
                  </a:lnTo>
                  <a:close/>
                  <a:moveTo>
                    <a:pt x="5496073" y="4760033"/>
                  </a:moveTo>
                  <a:lnTo>
                    <a:pt x="5496075" y="4760035"/>
                  </a:lnTo>
                  <a:lnTo>
                    <a:pt x="5516643" y="4831720"/>
                  </a:lnTo>
                  <a:lnTo>
                    <a:pt x="5516766" y="4831633"/>
                  </a:lnTo>
                  <a:lnTo>
                    <a:pt x="5496076" y="4760035"/>
                  </a:lnTo>
                  <a:close/>
                  <a:moveTo>
                    <a:pt x="6248473" y="4755378"/>
                  </a:moveTo>
                  <a:lnTo>
                    <a:pt x="6254266" y="4818964"/>
                  </a:lnTo>
                  <a:lnTo>
                    <a:pt x="6249325" y="4755629"/>
                  </a:lnTo>
                  <a:close/>
                  <a:moveTo>
                    <a:pt x="9453537" y="4754545"/>
                  </a:moveTo>
                  <a:lnTo>
                    <a:pt x="9451749" y="4755790"/>
                  </a:lnTo>
                  <a:lnTo>
                    <a:pt x="9451677" y="4756125"/>
                  </a:lnTo>
                  <a:lnTo>
                    <a:pt x="9451761" y="4755790"/>
                  </a:lnTo>
                  <a:close/>
                  <a:moveTo>
                    <a:pt x="4986092" y="4750232"/>
                  </a:moveTo>
                  <a:lnTo>
                    <a:pt x="4990025" y="4755950"/>
                  </a:lnTo>
                  <a:lnTo>
                    <a:pt x="4996674" y="4758600"/>
                  </a:lnTo>
                  <a:close/>
                  <a:moveTo>
                    <a:pt x="6221808" y="4747518"/>
                  </a:moveTo>
                  <a:lnTo>
                    <a:pt x="6221554" y="4747828"/>
                  </a:lnTo>
                  <a:lnTo>
                    <a:pt x="6226011" y="4748757"/>
                  </a:lnTo>
                  <a:close/>
                  <a:moveTo>
                    <a:pt x="5004793" y="4726544"/>
                  </a:moveTo>
                  <a:lnTo>
                    <a:pt x="4983144" y="4745944"/>
                  </a:lnTo>
                  <a:lnTo>
                    <a:pt x="4983621" y="4746641"/>
                  </a:lnTo>
                  <a:close/>
                  <a:moveTo>
                    <a:pt x="5078524" y="4717566"/>
                  </a:moveTo>
                  <a:lnTo>
                    <a:pt x="5055846" y="4719387"/>
                  </a:lnTo>
                  <a:lnTo>
                    <a:pt x="5014720" y="4765794"/>
                  </a:lnTo>
                  <a:lnTo>
                    <a:pt x="5014723" y="4765795"/>
                  </a:lnTo>
                  <a:lnTo>
                    <a:pt x="5055849" y="4719388"/>
                  </a:lnTo>
                  <a:lnTo>
                    <a:pt x="5082692" y="4724529"/>
                  </a:lnTo>
                  <a:close/>
                  <a:moveTo>
                    <a:pt x="6212455" y="4715730"/>
                  </a:moveTo>
                  <a:lnTo>
                    <a:pt x="6239441" y="4725866"/>
                  </a:lnTo>
                  <a:lnTo>
                    <a:pt x="6239563" y="4725718"/>
                  </a:lnTo>
                  <a:close/>
                  <a:moveTo>
                    <a:pt x="5171059" y="4711511"/>
                  </a:moveTo>
                  <a:lnTo>
                    <a:pt x="5171029" y="4711518"/>
                  </a:lnTo>
                  <a:lnTo>
                    <a:pt x="5171063" y="4711512"/>
                  </a:lnTo>
                  <a:close/>
                  <a:moveTo>
                    <a:pt x="5458416" y="4703199"/>
                  </a:moveTo>
                  <a:lnTo>
                    <a:pt x="5461384" y="4733896"/>
                  </a:lnTo>
                  <a:lnTo>
                    <a:pt x="5466659" y="4737870"/>
                  </a:lnTo>
                  <a:lnTo>
                    <a:pt x="5458417" y="4703199"/>
                  </a:lnTo>
                  <a:close/>
                  <a:moveTo>
                    <a:pt x="9467403" y="4699201"/>
                  </a:moveTo>
                  <a:lnTo>
                    <a:pt x="9468245" y="4701183"/>
                  </a:lnTo>
                  <a:lnTo>
                    <a:pt x="9498864" y="4722780"/>
                  </a:lnTo>
                  <a:lnTo>
                    <a:pt x="9499268" y="4722497"/>
                  </a:lnTo>
                  <a:lnTo>
                    <a:pt x="9468257" y="4701183"/>
                  </a:lnTo>
                  <a:close/>
                  <a:moveTo>
                    <a:pt x="5337372" y="4695727"/>
                  </a:moveTo>
                  <a:lnTo>
                    <a:pt x="5337239" y="4695765"/>
                  </a:lnTo>
                  <a:lnTo>
                    <a:pt x="5337241" y="4695766"/>
                  </a:lnTo>
                  <a:close/>
                  <a:moveTo>
                    <a:pt x="5477118" y="4686564"/>
                  </a:moveTo>
                  <a:lnTo>
                    <a:pt x="5477889" y="4693503"/>
                  </a:lnTo>
                  <a:lnTo>
                    <a:pt x="5480565" y="4692171"/>
                  </a:lnTo>
                  <a:close/>
                  <a:moveTo>
                    <a:pt x="5383418" y="4683670"/>
                  </a:moveTo>
                  <a:lnTo>
                    <a:pt x="5361950" y="4690987"/>
                  </a:lnTo>
                  <a:lnTo>
                    <a:pt x="5361952" y="4690988"/>
                  </a:lnTo>
                  <a:lnTo>
                    <a:pt x="5383418" y="4683671"/>
                  </a:lnTo>
                  <a:close/>
                  <a:moveTo>
                    <a:pt x="5344804" y="4677521"/>
                  </a:moveTo>
                  <a:lnTo>
                    <a:pt x="5349668" y="4692055"/>
                  </a:lnTo>
                  <a:lnTo>
                    <a:pt x="5349812" y="4692012"/>
                  </a:lnTo>
                  <a:lnTo>
                    <a:pt x="5344809" y="4677525"/>
                  </a:lnTo>
                  <a:close/>
                  <a:moveTo>
                    <a:pt x="5451449" y="4669850"/>
                  </a:moveTo>
                  <a:lnTo>
                    <a:pt x="5384983" y="4702955"/>
                  </a:lnTo>
                  <a:lnTo>
                    <a:pt x="5384983" y="4702956"/>
                  </a:lnTo>
                  <a:lnTo>
                    <a:pt x="5451516" y="4669909"/>
                  </a:lnTo>
                  <a:close/>
                  <a:moveTo>
                    <a:pt x="5266545" y="4667207"/>
                  </a:moveTo>
                  <a:lnTo>
                    <a:pt x="5200758" y="4709026"/>
                  </a:lnTo>
                  <a:lnTo>
                    <a:pt x="5207747" y="4721444"/>
                  </a:lnTo>
                  <a:lnTo>
                    <a:pt x="5207750" y="4721445"/>
                  </a:lnTo>
                  <a:lnTo>
                    <a:pt x="5200761" y="4709026"/>
                  </a:lnTo>
                  <a:lnTo>
                    <a:pt x="5266549" y="4667208"/>
                  </a:lnTo>
                  <a:close/>
                  <a:moveTo>
                    <a:pt x="9460046" y="4666401"/>
                  </a:moveTo>
                  <a:lnTo>
                    <a:pt x="9453899" y="4667413"/>
                  </a:lnTo>
                  <a:lnTo>
                    <a:pt x="9453990" y="4667627"/>
                  </a:lnTo>
                  <a:close/>
                  <a:moveTo>
                    <a:pt x="7287217" y="4665263"/>
                  </a:moveTo>
                  <a:lnTo>
                    <a:pt x="7287216" y="4665265"/>
                  </a:lnTo>
                  <a:lnTo>
                    <a:pt x="7331895" y="4682730"/>
                  </a:lnTo>
                  <a:lnTo>
                    <a:pt x="7331899" y="4682730"/>
                  </a:lnTo>
                  <a:close/>
                  <a:moveTo>
                    <a:pt x="7579842" y="4662672"/>
                  </a:moveTo>
                  <a:lnTo>
                    <a:pt x="7579838" y="4662673"/>
                  </a:lnTo>
                  <a:lnTo>
                    <a:pt x="7616148" y="4682429"/>
                  </a:lnTo>
                  <a:lnTo>
                    <a:pt x="7616150" y="4682427"/>
                  </a:lnTo>
                  <a:close/>
                  <a:moveTo>
                    <a:pt x="8330370" y="4652144"/>
                  </a:moveTo>
                  <a:lnTo>
                    <a:pt x="8338647" y="4656531"/>
                  </a:lnTo>
                  <a:lnTo>
                    <a:pt x="8349038" y="4692802"/>
                  </a:lnTo>
                  <a:lnTo>
                    <a:pt x="8338601" y="4656309"/>
                  </a:lnTo>
                  <a:close/>
                  <a:moveTo>
                    <a:pt x="6513438" y="4651167"/>
                  </a:moveTo>
                  <a:lnTo>
                    <a:pt x="6501957" y="4660932"/>
                  </a:lnTo>
                  <a:lnTo>
                    <a:pt x="6513977" y="4654909"/>
                  </a:lnTo>
                  <a:close/>
                  <a:moveTo>
                    <a:pt x="9291959" y="4648282"/>
                  </a:moveTo>
                  <a:lnTo>
                    <a:pt x="9265729" y="4666867"/>
                  </a:lnTo>
                  <a:lnTo>
                    <a:pt x="9291866" y="4648489"/>
                  </a:lnTo>
                  <a:lnTo>
                    <a:pt x="9307836" y="4661630"/>
                  </a:lnTo>
                  <a:lnTo>
                    <a:pt x="9307839" y="4661623"/>
                  </a:lnTo>
                  <a:close/>
                  <a:moveTo>
                    <a:pt x="8313819" y="4643768"/>
                  </a:moveTo>
                  <a:lnTo>
                    <a:pt x="8283560" y="4671474"/>
                  </a:lnTo>
                  <a:lnTo>
                    <a:pt x="8283566" y="4671487"/>
                  </a:lnTo>
                  <a:lnTo>
                    <a:pt x="8313990" y="4643854"/>
                  </a:lnTo>
                  <a:close/>
                  <a:moveTo>
                    <a:pt x="7455026" y="4643449"/>
                  </a:moveTo>
                  <a:lnTo>
                    <a:pt x="7455023" y="4643450"/>
                  </a:lnTo>
                  <a:lnTo>
                    <a:pt x="7484348" y="4653920"/>
                  </a:lnTo>
                  <a:lnTo>
                    <a:pt x="7484349" y="4653919"/>
                  </a:lnTo>
                  <a:close/>
                  <a:moveTo>
                    <a:pt x="7767590" y="4641756"/>
                  </a:moveTo>
                  <a:lnTo>
                    <a:pt x="7781922" y="4660182"/>
                  </a:lnTo>
                  <a:lnTo>
                    <a:pt x="7775572" y="4683517"/>
                  </a:lnTo>
                  <a:lnTo>
                    <a:pt x="7808286" y="4735097"/>
                  </a:lnTo>
                  <a:lnTo>
                    <a:pt x="7826505" y="4814774"/>
                  </a:lnTo>
                  <a:lnTo>
                    <a:pt x="7826509" y="4814773"/>
                  </a:lnTo>
                  <a:lnTo>
                    <a:pt x="7808289" y="4735097"/>
                  </a:lnTo>
                  <a:lnTo>
                    <a:pt x="7775575" y="4683517"/>
                  </a:lnTo>
                  <a:lnTo>
                    <a:pt x="7781925" y="4660183"/>
                  </a:lnTo>
                  <a:lnTo>
                    <a:pt x="7767593" y="4641756"/>
                  </a:lnTo>
                  <a:close/>
                  <a:moveTo>
                    <a:pt x="789674" y="4641375"/>
                  </a:moveTo>
                  <a:lnTo>
                    <a:pt x="772148" y="4657598"/>
                  </a:lnTo>
                  <a:lnTo>
                    <a:pt x="772294" y="4657610"/>
                  </a:lnTo>
                  <a:close/>
                  <a:moveTo>
                    <a:pt x="7743355" y="4640666"/>
                  </a:moveTo>
                  <a:lnTo>
                    <a:pt x="7743330" y="4640849"/>
                  </a:lnTo>
                  <a:lnTo>
                    <a:pt x="7746351" y="4640962"/>
                  </a:lnTo>
                  <a:lnTo>
                    <a:pt x="7743333" y="4640849"/>
                  </a:lnTo>
                  <a:close/>
                  <a:moveTo>
                    <a:pt x="7504541" y="4633138"/>
                  </a:moveTo>
                  <a:lnTo>
                    <a:pt x="7504538" y="4633141"/>
                  </a:lnTo>
                  <a:lnTo>
                    <a:pt x="7527988" y="4673188"/>
                  </a:lnTo>
                  <a:lnTo>
                    <a:pt x="7527994" y="4673187"/>
                  </a:lnTo>
                  <a:close/>
                  <a:moveTo>
                    <a:pt x="5471969" y="4626015"/>
                  </a:moveTo>
                  <a:lnTo>
                    <a:pt x="5471774" y="4626107"/>
                  </a:lnTo>
                  <a:lnTo>
                    <a:pt x="5488192" y="4633788"/>
                  </a:lnTo>
                  <a:lnTo>
                    <a:pt x="5468086" y="4673103"/>
                  </a:lnTo>
                  <a:lnTo>
                    <a:pt x="5472232" y="4674016"/>
                  </a:lnTo>
                  <a:lnTo>
                    <a:pt x="5488197" y="4633789"/>
                  </a:lnTo>
                  <a:close/>
                  <a:moveTo>
                    <a:pt x="7404540" y="4624420"/>
                  </a:moveTo>
                  <a:lnTo>
                    <a:pt x="7404538" y="4624425"/>
                  </a:lnTo>
                  <a:lnTo>
                    <a:pt x="7431729" y="4654868"/>
                  </a:lnTo>
                  <a:lnTo>
                    <a:pt x="7431735" y="4654865"/>
                  </a:lnTo>
                  <a:close/>
                  <a:moveTo>
                    <a:pt x="5004427" y="4621438"/>
                  </a:moveTo>
                  <a:lnTo>
                    <a:pt x="5004604" y="4621447"/>
                  </a:lnTo>
                  <a:lnTo>
                    <a:pt x="5004604" y="4621446"/>
                  </a:lnTo>
                  <a:close/>
                  <a:moveTo>
                    <a:pt x="4978259" y="4620262"/>
                  </a:moveTo>
                  <a:lnTo>
                    <a:pt x="4968864" y="4636636"/>
                  </a:lnTo>
                  <a:lnTo>
                    <a:pt x="4864764" y="4634930"/>
                  </a:lnTo>
                  <a:lnTo>
                    <a:pt x="4864766" y="4634931"/>
                  </a:lnTo>
                  <a:lnTo>
                    <a:pt x="4968867" y="4636637"/>
                  </a:lnTo>
                  <a:lnTo>
                    <a:pt x="4978701" y="4620282"/>
                  </a:lnTo>
                  <a:close/>
                  <a:moveTo>
                    <a:pt x="9580628" y="4615136"/>
                  </a:moveTo>
                  <a:lnTo>
                    <a:pt x="9579958" y="4642132"/>
                  </a:lnTo>
                  <a:lnTo>
                    <a:pt x="9585399" y="4641031"/>
                  </a:lnTo>
                  <a:close/>
                  <a:moveTo>
                    <a:pt x="8146107" y="4610552"/>
                  </a:moveTo>
                  <a:lnTo>
                    <a:pt x="8145892" y="4610750"/>
                  </a:lnTo>
                  <a:lnTo>
                    <a:pt x="8165569" y="4651348"/>
                  </a:lnTo>
                  <a:lnTo>
                    <a:pt x="8165622" y="4651314"/>
                  </a:lnTo>
                  <a:close/>
                  <a:moveTo>
                    <a:pt x="9129801" y="4610230"/>
                  </a:moveTo>
                  <a:lnTo>
                    <a:pt x="9129753" y="4611113"/>
                  </a:lnTo>
                  <a:lnTo>
                    <a:pt x="9134063" y="4610362"/>
                  </a:lnTo>
                  <a:close/>
                  <a:moveTo>
                    <a:pt x="6316262" y="4604185"/>
                  </a:moveTo>
                  <a:lnTo>
                    <a:pt x="6351826" y="4612262"/>
                  </a:lnTo>
                  <a:lnTo>
                    <a:pt x="6351953" y="4612226"/>
                  </a:lnTo>
                  <a:close/>
                  <a:moveTo>
                    <a:pt x="8247811" y="4597897"/>
                  </a:moveTo>
                  <a:lnTo>
                    <a:pt x="8240996" y="4602338"/>
                  </a:lnTo>
                  <a:lnTo>
                    <a:pt x="8247816" y="4597907"/>
                  </a:lnTo>
                  <a:close/>
                  <a:moveTo>
                    <a:pt x="9226327" y="4594279"/>
                  </a:moveTo>
                  <a:lnTo>
                    <a:pt x="9226316" y="4594283"/>
                  </a:lnTo>
                  <a:lnTo>
                    <a:pt x="9263884" y="4668164"/>
                  </a:lnTo>
                  <a:lnTo>
                    <a:pt x="9263894" y="4668157"/>
                  </a:lnTo>
                  <a:close/>
                  <a:moveTo>
                    <a:pt x="9388093" y="4593790"/>
                  </a:moveTo>
                  <a:lnTo>
                    <a:pt x="9318133" y="4638379"/>
                  </a:lnTo>
                  <a:lnTo>
                    <a:pt x="9381336" y="4607683"/>
                  </a:lnTo>
                  <a:close/>
                  <a:moveTo>
                    <a:pt x="6267212" y="4593135"/>
                  </a:moveTo>
                  <a:lnTo>
                    <a:pt x="6227563" y="4681157"/>
                  </a:lnTo>
                  <a:lnTo>
                    <a:pt x="6267223" y="4593137"/>
                  </a:lnTo>
                  <a:close/>
                  <a:moveTo>
                    <a:pt x="862300" y="4589622"/>
                  </a:moveTo>
                  <a:lnTo>
                    <a:pt x="821845" y="4665218"/>
                  </a:lnTo>
                  <a:lnTo>
                    <a:pt x="822060" y="4665377"/>
                  </a:lnTo>
                  <a:close/>
                  <a:moveTo>
                    <a:pt x="6504370" y="4588207"/>
                  </a:moveTo>
                  <a:lnTo>
                    <a:pt x="6504271" y="4588264"/>
                  </a:lnTo>
                  <a:lnTo>
                    <a:pt x="6504563" y="4589541"/>
                  </a:lnTo>
                  <a:close/>
                  <a:moveTo>
                    <a:pt x="7810124" y="4584333"/>
                  </a:moveTo>
                  <a:lnTo>
                    <a:pt x="7803080" y="4588259"/>
                  </a:lnTo>
                  <a:lnTo>
                    <a:pt x="7849536" y="4595809"/>
                  </a:lnTo>
                  <a:lnTo>
                    <a:pt x="7849748" y="4595560"/>
                  </a:lnTo>
                  <a:close/>
                  <a:moveTo>
                    <a:pt x="7758554" y="4583019"/>
                  </a:moveTo>
                  <a:lnTo>
                    <a:pt x="7749863" y="4592143"/>
                  </a:lnTo>
                  <a:lnTo>
                    <a:pt x="7749303" y="4596323"/>
                  </a:lnTo>
                  <a:close/>
                  <a:moveTo>
                    <a:pt x="9549782" y="4579784"/>
                  </a:moveTo>
                  <a:lnTo>
                    <a:pt x="9578852" y="4605499"/>
                  </a:lnTo>
                  <a:lnTo>
                    <a:pt x="9578253" y="4602245"/>
                  </a:lnTo>
                  <a:close/>
                  <a:moveTo>
                    <a:pt x="4773668" y="4578075"/>
                  </a:moveTo>
                  <a:lnTo>
                    <a:pt x="4847570" y="4582489"/>
                  </a:lnTo>
                  <a:lnTo>
                    <a:pt x="4847570" y="4582488"/>
                  </a:lnTo>
                  <a:close/>
                  <a:moveTo>
                    <a:pt x="6522822" y="4577515"/>
                  </a:moveTo>
                  <a:lnTo>
                    <a:pt x="6505054" y="4587810"/>
                  </a:lnTo>
                  <a:lnTo>
                    <a:pt x="6521080" y="4586899"/>
                  </a:lnTo>
                  <a:close/>
                  <a:moveTo>
                    <a:pt x="5510540" y="4576758"/>
                  </a:moveTo>
                  <a:lnTo>
                    <a:pt x="5492716" y="4616247"/>
                  </a:lnTo>
                  <a:lnTo>
                    <a:pt x="5492615" y="4616295"/>
                  </a:lnTo>
                  <a:lnTo>
                    <a:pt x="5492720" y="4616247"/>
                  </a:lnTo>
                  <a:lnTo>
                    <a:pt x="5510544" y="4576759"/>
                  </a:lnTo>
                  <a:lnTo>
                    <a:pt x="5526146" y="4582206"/>
                  </a:lnTo>
                  <a:lnTo>
                    <a:pt x="5527547" y="4578676"/>
                  </a:lnTo>
                  <a:close/>
                  <a:moveTo>
                    <a:pt x="4308871" y="4560499"/>
                  </a:moveTo>
                  <a:lnTo>
                    <a:pt x="4300508" y="4562325"/>
                  </a:lnTo>
                  <a:lnTo>
                    <a:pt x="4312167" y="4574262"/>
                  </a:lnTo>
                  <a:close/>
                  <a:moveTo>
                    <a:pt x="8149669" y="4556761"/>
                  </a:moveTo>
                  <a:lnTo>
                    <a:pt x="8149538" y="4556787"/>
                  </a:lnTo>
                  <a:lnTo>
                    <a:pt x="8178137" y="4576002"/>
                  </a:lnTo>
                  <a:close/>
                  <a:moveTo>
                    <a:pt x="5554875" y="4555979"/>
                  </a:moveTo>
                  <a:lnTo>
                    <a:pt x="5535448" y="4558773"/>
                  </a:lnTo>
                  <a:lnTo>
                    <a:pt x="5535446" y="4558792"/>
                  </a:lnTo>
                  <a:lnTo>
                    <a:pt x="5535453" y="4558773"/>
                  </a:lnTo>
                  <a:lnTo>
                    <a:pt x="5553962" y="4561589"/>
                  </a:lnTo>
                  <a:close/>
                  <a:moveTo>
                    <a:pt x="6410427" y="4555942"/>
                  </a:moveTo>
                  <a:lnTo>
                    <a:pt x="6442534" y="4557349"/>
                  </a:lnTo>
                  <a:lnTo>
                    <a:pt x="6470211" y="4638498"/>
                  </a:lnTo>
                  <a:lnTo>
                    <a:pt x="6499940" y="4661942"/>
                  </a:lnTo>
                  <a:lnTo>
                    <a:pt x="6500295" y="4661764"/>
                  </a:lnTo>
                  <a:lnTo>
                    <a:pt x="6470215" y="4638498"/>
                  </a:lnTo>
                  <a:lnTo>
                    <a:pt x="6442540" y="4557349"/>
                  </a:lnTo>
                  <a:close/>
                  <a:moveTo>
                    <a:pt x="7889586" y="4550913"/>
                  </a:moveTo>
                  <a:lnTo>
                    <a:pt x="7899814" y="4566104"/>
                  </a:lnTo>
                  <a:lnTo>
                    <a:pt x="7902499" y="4564716"/>
                  </a:lnTo>
                  <a:close/>
                  <a:moveTo>
                    <a:pt x="7888470" y="4549721"/>
                  </a:moveTo>
                  <a:lnTo>
                    <a:pt x="7874530" y="4566457"/>
                  </a:lnTo>
                  <a:lnTo>
                    <a:pt x="7888633" y="4549895"/>
                  </a:lnTo>
                  <a:close/>
                  <a:moveTo>
                    <a:pt x="7793166" y="4546678"/>
                  </a:moveTo>
                  <a:lnTo>
                    <a:pt x="7775073" y="4565674"/>
                  </a:lnTo>
                  <a:lnTo>
                    <a:pt x="7794911" y="4547524"/>
                  </a:lnTo>
                  <a:close/>
                  <a:moveTo>
                    <a:pt x="925028" y="4543550"/>
                  </a:moveTo>
                  <a:lnTo>
                    <a:pt x="918327" y="4551379"/>
                  </a:lnTo>
                  <a:lnTo>
                    <a:pt x="929531" y="4573602"/>
                  </a:lnTo>
                  <a:lnTo>
                    <a:pt x="929532" y="4573602"/>
                  </a:lnTo>
                  <a:close/>
                  <a:moveTo>
                    <a:pt x="9556241" y="4540425"/>
                  </a:moveTo>
                  <a:lnTo>
                    <a:pt x="9548831" y="4578943"/>
                  </a:lnTo>
                  <a:lnTo>
                    <a:pt x="9549004" y="4579096"/>
                  </a:lnTo>
                  <a:lnTo>
                    <a:pt x="9556385" y="4540610"/>
                  </a:lnTo>
                  <a:close/>
                  <a:moveTo>
                    <a:pt x="7907033" y="4537809"/>
                  </a:moveTo>
                  <a:lnTo>
                    <a:pt x="7904419" y="4563724"/>
                  </a:lnTo>
                  <a:lnTo>
                    <a:pt x="7912030" y="4559790"/>
                  </a:lnTo>
                  <a:close/>
                  <a:moveTo>
                    <a:pt x="8110950" y="4536778"/>
                  </a:moveTo>
                  <a:lnTo>
                    <a:pt x="8123591" y="4561700"/>
                  </a:lnTo>
                  <a:lnTo>
                    <a:pt x="8123810" y="4561656"/>
                  </a:lnTo>
                  <a:close/>
                  <a:moveTo>
                    <a:pt x="9416021" y="4536367"/>
                  </a:moveTo>
                  <a:lnTo>
                    <a:pt x="9395232" y="4566203"/>
                  </a:lnTo>
                  <a:lnTo>
                    <a:pt x="9396964" y="4575551"/>
                  </a:lnTo>
                  <a:close/>
                  <a:moveTo>
                    <a:pt x="4306876" y="4536006"/>
                  </a:moveTo>
                  <a:lnTo>
                    <a:pt x="4307995" y="4540942"/>
                  </a:lnTo>
                  <a:lnTo>
                    <a:pt x="4327746" y="4546329"/>
                  </a:lnTo>
                  <a:lnTo>
                    <a:pt x="4327746" y="4546328"/>
                  </a:lnTo>
                  <a:close/>
                  <a:moveTo>
                    <a:pt x="7766312" y="4533665"/>
                  </a:moveTo>
                  <a:lnTo>
                    <a:pt x="7763196" y="4537565"/>
                  </a:lnTo>
                  <a:lnTo>
                    <a:pt x="7786378" y="4543389"/>
                  </a:lnTo>
                  <a:close/>
                  <a:moveTo>
                    <a:pt x="9456061" y="4533117"/>
                  </a:moveTo>
                  <a:lnTo>
                    <a:pt x="9418159" y="4533298"/>
                  </a:lnTo>
                  <a:lnTo>
                    <a:pt x="9417516" y="4534221"/>
                  </a:lnTo>
                  <a:lnTo>
                    <a:pt x="9455934" y="4533293"/>
                  </a:lnTo>
                  <a:close/>
                  <a:moveTo>
                    <a:pt x="883412" y="4526858"/>
                  </a:moveTo>
                  <a:lnTo>
                    <a:pt x="881772" y="4528711"/>
                  </a:lnTo>
                  <a:lnTo>
                    <a:pt x="899761" y="4531444"/>
                  </a:lnTo>
                  <a:close/>
                  <a:moveTo>
                    <a:pt x="922434" y="4526247"/>
                  </a:moveTo>
                  <a:lnTo>
                    <a:pt x="919325" y="4534416"/>
                  </a:lnTo>
                  <a:lnTo>
                    <a:pt x="923760" y="4535090"/>
                  </a:lnTo>
                  <a:close/>
                  <a:moveTo>
                    <a:pt x="9162131" y="4524337"/>
                  </a:moveTo>
                  <a:lnTo>
                    <a:pt x="9133381" y="4544015"/>
                  </a:lnTo>
                  <a:lnTo>
                    <a:pt x="9133368" y="4544260"/>
                  </a:lnTo>
                  <a:lnTo>
                    <a:pt x="9162234" y="4524625"/>
                  </a:lnTo>
                  <a:close/>
                  <a:moveTo>
                    <a:pt x="5557006" y="4515574"/>
                  </a:moveTo>
                  <a:lnTo>
                    <a:pt x="5556906" y="4543508"/>
                  </a:lnTo>
                  <a:lnTo>
                    <a:pt x="5561113" y="4517661"/>
                  </a:lnTo>
                  <a:close/>
                  <a:moveTo>
                    <a:pt x="893490" y="4515456"/>
                  </a:moveTo>
                  <a:lnTo>
                    <a:pt x="893494" y="4515462"/>
                  </a:lnTo>
                  <a:lnTo>
                    <a:pt x="893494" y="4515462"/>
                  </a:lnTo>
                  <a:close/>
                  <a:moveTo>
                    <a:pt x="8704277" y="4515325"/>
                  </a:moveTo>
                  <a:lnTo>
                    <a:pt x="8673772" y="4522847"/>
                  </a:lnTo>
                  <a:lnTo>
                    <a:pt x="8673773" y="4522849"/>
                  </a:lnTo>
                  <a:lnTo>
                    <a:pt x="8703664" y="4515885"/>
                  </a:lnTo>
                  <a:close/>
                  <a:moveTo>
                    <a:pt x="8561291" y="4514255"/>
                  </a:moveTo>
                  <a:lnTo>
                    <a:pt x="8527444" y="4528956"/>
                  </a:lnTo>
                  <a:lnTo>
                    <a:pt x="8527494" y="4528994"/>
                  </a:lnTo>
                  <a:close/>
                  <a:moveTo>
                    <a:pt x="8666228" y="4505257"/>
                  </a:moveTo>
                  <a:lnTo>
                    <a:pt x="8673666" y="4522600"/>
                  </a:lnTo>
                  <a:lnTo>
                    <a:pt x="8666507" y="4505317"/>
                  </a:lnTo>
                  <a:close/>
                  <a:moveTo>
                    <a:pt x="8587251" y="4502980"/>
                  </a:moveTo>
                  <a:lnTo>
                    <a:pt x="8586996" y="4503091"/>
                  </a:lnTo>
                  <a:lnTo>
                    <a:pt x="8620922" y="4518124"/>
                  </a:lnTo>
                  <a:close/>
                  <a:moveTo>
                    <a:pt x="4377187" y="4502628"/>
                  </a:moveTo>
                  <a:lnTo>
                    <a:pt x="4426393" y="4512788"/>
                  </a:lnTo>
                  <a:lnTo>
                    <a:pt x="4426393" y="4512787"/>
                  </a:lnTo>
                  <a:close/>
                  <a:moveTo>
                    <a:pt x="8641401" y="4499896"/>
                  </a:moveTo>
                  <a:lnTo>
                    <a:pt x="8621050" y="4518180"/>
                  </a:lnTo>
                  <a:lnTo>
                    <a:pt x="8621053" y="4518182"/>
                  </a:lnTo>
                  <a:lnTo>
                    <a:pt x="8641405" y="4499897"/>
                  </a:lnTo>
                  <a:lnTo>
                    <a:pt x="8641447" y="4499906"/>
                  </a:lnTo>
                  <a:close/>
                  <a:moveTo>
                    <a:pt x="9537288" y="4495275"/>
                  </a:moveTo>
                  <a:lnTo>
                    <a:pt x="9537599" y="4495372"/>
                  </a:lnTo>
                  <a:lnTo>
                    <a:pt x="9528534" y="4504553"/>
                  </a:lnTo>
                  <a:lnTo>
                    <a:pt x="9528924" y="4505050"/>
                  </a:lnTo>
                  <a:lnTo>
                    <a:pt x="9537612" y="4495372"/>
                  </a:lnTo>
                  <a:close/>
                  <a:moveTo>
                    <a:pt x="7893149" y="4489614"/>
                  </a:moveTo>
                  <a:lnTo>
                    <a:pt x="7887656" y="4502024"/>
                  </a:lnTo>
                  <a:lnTo>
                    <a:pt x="7887928" y="4502645"/>
                  </a:lnTo>
                  <a:close/>
                  <a:moveTo>
                    <a:pt x="8118757" y="4486761"/>
                  </a:moveTo>
                  <a:lnTo>
                    <a:pt x="8097028" y="4503045"/>
                  </a:lnTo>
                  <a:lnTo>
                    <a:pt x="8098633" y="4503887"/>
                  </a:lnTo>
                  <a:lnTo>
                    <a:pt x="8088311" y="4529306"/>
                  </a:lnTo>
                  <a:lnTo>
                    <a:pt x="8088312" y="4529306"/>
                  </a:lnTo>
                  <a:close/>
                  <a:moveTo>
                    <a:pt x="4414935" y="4486212"/>
                  </a:moveTo>
                  <a:lnTo>
                    <a:pt x="4414901" y="4486281"/>
                  </a:lnTo>
                  <a:lnTo>
                    <a:pt x="4414902" y="4486282"/>
                  </a:lnTo>
                  <a:close/>
                  <a:moveTo>
                    <a:pt x="7895028" y="4485370"/>
                  </a:moveTo>
                  <a:lnTo>
                    <a:pt x="7894991" y="4485454"/>
                  </a:lnTo>
                  <a:lnTo>
                    <a:pt x="7912087" y="4486661"/>
                  </a:lnTo>
                  <a:lnTo>
                    <a:pt x="7912122" y="4486569"/>
                  </a:lnTo>
                  <a:close/>
                  <a:moveTo>
                    <a:pt x="9492347" y="4481825"/>
                  </a:moveTo>
                  <a:lnTo>
                    <a:pt x="9464414" y="4521573"/>
                  </a:lnTo>
                  <a:lnTo>
                    <a:pt x="9493026" y="4482028"/>
                  </a:lnTo>
                  <a:close/>
                  <a:moveTo>
                    <a:pt x="9146314" y="4480063"/>
                  </a:moveTo>
                  <a:lnTo>
                    <a:pt x="9146203" y="4480227"/>
                  </a:lnTo>
                  <a:lnTo>
                    <a:pt x="9153267" y="4499525"/>
                  </a:lnTo>
                  <a:close/>
                  <a:moveTo>
                    <a:pt x="8244799" y="4479818"/>
                  </a:moveTo>
                  <a:lnTo>
                    <a:pt x="8248268" y="4483601"/>
                  </a:lnTo>
                  <a:lnTo>
                    <a:pt x="8248312" y="4483586"/>
                  </a:lnTo>
                  <a:close/>
                  <a:moveTo>
                    <a:pt x="8453281" y="4472359"/>
                  </a:moveTo>
                  <a:lnTo>
                    <a:pt x="8453210" y="4472374"/>
                  </a:lnTo>
                  <a:lnTo>
                    <a:pt x="8453283" y="4472360"/>
                  </a:lnTo>
                  <a:close/>
                  <a:moveTo>
                    <a:pt x="695030" y="4471464"/>
                  </a:moveTo>
                  <a:lnTo>
                    <a:pt x="695029" y="4471465"/>
                  </a:lnTo>
                  <a:lnTo>
                    <a:pt x="709382" y="4478012"/>
                  </a:lnTo>
                  <a:lnTo>
                    <a:pt x="706117" y="4521107"/>
                  </a:lnTo>
                  <a:lnTo>
                    <a:pt x="709383" y="4478012"/>
                  </a:lnTo>
                  <a:close/>
                  <a:moveTo>
                    <a:pt x="8358713" y="4470798"/>
                  </a:moveTo>
                  <a:lnTo>
                    <a:pt x="8383849" y="4485091"/>
                  </a:lnTo>
                  <a:lnTo>
                    <a:pt x="8389160" y="4484117"/>
                  </a:lnTo>
                  <a:close/>
                  <a:moveTo>
                    <a:pt x="8358703" y="4470794"/>
                  </a:moveTo>
                  <a:lnTo>
                    <a:pt x="8338810" y="4495736"/>
                  </a:lnTo>
                  <a:lnTo>
                    <a:pt x="8338813" y="4495738"/>
                  </a:lnTo>
                  <a:lnTo>
                    <a:pt x="8358707" y="4470796"/>
                  </a:lnTo>
                  <a:close/>
                  <a:moveTo>
                    <a:pt x="8072789" y="4468270"/>
                  </a:moveTo>
                  <a:lnTo>
                    <a:pt x="8070851" y="4489305"/>
                  </a:lnTo>
                  <a:lnTo>
                    <a:pt x="8080040" y="4494128"/>
                  </a:lnTo>
                  <a:lnTo>
                    <a:pt x="8070903" y="4489071"/>
                  </a:lnTo>
                  <a:close/>
                  <a:moveTo>
                    <a:pt x="8292970" y="4468085"/>
                  </a:moveTo>
                  <a:lnTo>
                    <a:pt x="8292521" y="4468243"/>
                  </a:lnTo>
                  <a:lnTo>
                    <a:pt x="8292972" y="4468087"/>
                  </a:lnTo>
                  <a:close/>
                  <a:moveTo>
                    <a:pt x="6804873" y="4459449"/>
                  </a:moveTo>
                  <a:lnTo>
                    <a:pt x="6798306" y="4462440"/>
                  </a:lnTo>
                  <a:lnTo>
                    <a:pt x="6798326" y="4462463"/>
                  </a:lnTo>
                  <a:close/>
                  <a:moveTo>
                    <a:pt x="828377" y="4457248"/>
                  </a:moveTo>
                  <a:lnTo>
                    <a:pt x="836017" y="4471192"/>
                  </a:lnTo>
                  <a:lnTo>
                    <a:pt x="836021" y="4471188"/>
                  </a:lnTo>
                  <a:lnTo>
                    <a:pt x="836017" y="4471191"/>
                  </a:lnTo>
                  <a:close/>
                  <a:moveTo>
                    <a:pt x="6639858" y="4453397"/>
                  </a:moveTo>
                  <a:lnTo>
                    <a:pt x="6527659" y="4552216"/>
                  </a:lnTo>
                  <a:lnTo>
                    <a:pt x="6640076" y="4454889"/>
                  </a:lnTo>
                  <a:close/>
                  <a:moveTo>
                    <a:pt x="8219128" y="4452291"/>
                  </a:moveTo>
                  <a:lnTo>
                    <a:pt x="8147815" y="4464983"/>
                  </a:lnTo>
                  <a:lnTo>
                    <a:pt x="8139989" y="4470848"/>
                  </a:lnTo>
                  <a:lnTo>
                    <a:pt x="8219228" y="4452398"/>
                  </a:lnTo>
                  <a:close/>
                  <a:moveTo>
                    <a:pt x="7863913" y="4448201"/>
                  </a:moveTo>
                  <a:lnTo>
                    <a:pt x="7847698" y="4450019"/>
                  </a:lnTo>
                  <a:lnTo>
                    <a:pt x="7847757" y="4450149"/>
                  </a:lnTo>
                  <a:lnTo>
                    <a:pt x="7863932" y="4448245"/>
                  </a:lnTo>
                  <a:close/>
                  <a:moveTo>
                    <a:pt x="8907986" y="4440247"/>
                  </a:moveTo>
                  <a:lnTo>
                    <a:pt x="8888271" y="4444912"/>
                  </a:lnTo>
                  <a:lnTo>
                    <a:pt x="8898253" y="4447314"/>
                  </a:lnTo>
                  <a:close/>
                  <a:moveTo>
                    <a:pt x="713416" y="4438516"/>
                  </a:moveTo>
                  <a:lnTo>
                    <a:pt x="705501" y="4452700"/>
                  </a:lnTo>
                  <a:lnTo>
                    <a:pt x="713415" y="4438517"/>
                  </a:lnTo>
                  <a:close/>
                  <a:moveTo>
                    <a:pt x="1191015" y="4438149"/>
                  </a:moveTo>
                  <a:lnTo>
                    <a:pt x="1171496" y="4462190"/>
                  </a:lnTo>
                  <a:lnTo>
                    <a:pt x="1171496" y="4462191"/>
                  </a:lnTo>
                  <a:close/>
                  <a:moveTo>
                    <a:pt x="6775923" y="4436134"/>
                  </a:moveTo>
                  <a:lnTo>
                    <a:pt x="6770635" y="4438034"/>
                  </a:lnTo>
                  <a:lnTo>
                    <a:pt x="6775627" y="4436304"/>
                  </a:lnTo>
                  <a:lnTo>
                    <a:pt x="6794403" y="4457941"/>
                  </a:lnTo>
                  <a:close/>
                  <a:moveTo>
                    <a:pt x="8845408" y="4434600"/>
                  </a:moveTo>
                  <a:lnTo>
                    <a:pt x="8798472" y="4448628"/>
                  </a:lnTo>
                  <a:lnTo>
                    <a:pt x="8785403" y="4479929"/>
                  </a:lnTo>
                  <a:lnTo>
                    <a:pt x="8755097" y="4468854"/>
                  </a:lnTo>
                  <a:lnTo>
                    <a:pt x="8753969" y="4469891"/>
                  </a:lnTo>
                  <a:lnTo>
                    <a:pt x="8755101" y="4468856"/>
                  </a:lnTo>
                  <a:lnTo>
                    <a:pt x="8785407" y="4479931"/>
                  </a:lnTo>
                  <a:lnTo>
                    <a:pt x="8798475" y="4448630"/>
                  </a:lnTo>
                  <a:lnTo>
                    <a:pt x="8845411" y="4434601"/>
                  </a:lnTo>
                  <a:close/>
                  <a:moveTo>
                    <a:pt x="814178" y="4431337"/>
                  </a:moveTo>
                  <a:lnTo>
                    <a:pt x="788499" y="4458428"/>
                  </a:lnTo>
                  <a:lnTo>
                    <a:pt x="788500" y="4458428"/>
                  </a:lnTo>
                  <a:lnTo>
                    <a:pt x="814178" y="4431338"/>
                  </a:lnTo>
                  <a:close/>
                  <a:moveTo>
                    <a:pt x="728902" y="4427442"/>
                  </a:moveTo>
                  <a:lnTo>
                    <a:pt x="713417" y="4438516"/>
                  </a:lnTo>
                  <a:lnTo>
                    <a:pt x="735852" y="4435857"/>
                  </a:lnTo>
                  <a:close/>
                  <a:moveTo>
                    <a:pt x="777284" y="4425545"/>
                  </a:moveTo>
                  <a:lnTo>
                    <a:pt x="754103" y="4457955"/>
                  </a:lnTo>
                  <a:lnTo>
                    <a:pt x="746621" y="4448896"/>
                  </a:lnTo>
                  <a:lnTo>
                    <a:pt x="762353" y="4500124"/>
                  </a:lnTo>
                  <a:lnTo>
                    <a:pt x="752833" y="4463510"/>
                  </a:lnTo>
                  <a:lnTo>
                    <a:pt x="765800" y="4443860"/>
                  </a:lnTo>
                  <a:lnTo>
                    <a:pt x="769127" y="4445996"/>
                  </a:lnTo>
                  <a:close/>
                  <a:moveTo>
                    <a:pt x="777199" y="4425459"/>
                  </a:moveTo>
                  <a:lnTo>
                    <a:pt x="777285" y="4425544"/>
                  </a:lnTo>
                  <a:lnTo>
                    <a:pt x="777285" y="4425543"/>
                  </a:lnTo>
                  <a:close/>
                  <a:moveTo>
                    <a:pt x="7836054" y="4424462"/>
                  </a:moveTo>
                  <a:lnTo>
                    <a:pt x="7836006" y="4424506"/>
                  </a:lnTo>
                  <a:lnTo>
                    <a:pt x="7839945" y="4433101"/>
                  </a:lnTo>
                  <a:close/>
                  <a:moveTo>
                    <a:pt x="4454280" y="4423618"/>
                  </a:moveTo>
                  <a:lnTo>
                    <a:pt x="4452904" y="4432938"/>
                  </a:lnTo>
                  <a:lnTo>
                    <a:pt x="4401405" y="4460790"/>
                  </a:lnTo>
                  <a:lnTo>
                    <a:pt x="4425150" y="4464706"/>
                  </a:lnTo>
                  <a:lnTo>
                    <a:pt x="4425207" y="4464583"/>
                  </a:lnTo>
                  <a:lnTo>
                    <a:pt x="4401405" y="4460790"/>
                  </a:lnTo>
                  <a:lnTo>
                    <a:pt x="4452904" y="4432939"/>
                  </a:lnTo>
                  <a:close/>
                  <a:moveTo>
                    <a:pt x="6753292" y="4421679"/>
                  </a:moveTo>
                  <a:lnTo>
                    <a:pt x="6750340" y="4445066"/>
                  </a:lnTo>
                  <a:lnTo>
                    <a:pt x="6750618" y="4444970"/>
                  </a:lnTo>
                  <a:lnTo>
                    <a:pt x="6756913" y="4423268"/>
                  </a:lnTo>
                  <a:close/>
                  <a:moveTo>
                    <a:pt x="6821706" y="4420510"/>
                  </a:moveTo>
                  <a:lnTo>
                    <a:pt x="6821596" y="4420617"/>
                  </a:lnTo>
                  <a:lnTo>
                    <a:pt x="6825425" y="4449987"/>
                  </a:lnTo>
                  <a:lnTo>
                    <a:pt x="6825558" y="4449926"/>
                  </a:lnTo>
                  <a:close/>
                  <a:moveTo>
                    <a:pt x="678623" y="4415677"/>
                  </a:moveTo>
                  <a:lnTo>
                    <a:pt x="675890" y="4426680"/>
                  </a:lnTo>
                  <a:lnTo>
                    <a:pt x="706260" y="4440018"/>
                  </a:lnTo>
                  <a:lnTo>
                    <a:pt x="706261" y="4440017"/>
                  </a:lnTo>
                  <a:lnTo>
                    <a:pt x="675891" y="4426679"/>
                  </a:lnTo>
                  <a:close/>
                  <a:moveTo>
                    <a:pt x="2847905" y="4414684"/>
                  </a:moveTo>
                  <a:lnTo>
                    <a:pt x="2811379" y="4424211"/>
                  </a:lnTo>
                  <a:lnTo>
                    <a:pt x="2811379" y="4424213"/>
                  </a:lnTo>
                  <a:lnTo>
                    <a:pt x="2847905" y="4414687"/>
                  </a:lnTo>
                  <a:close/>
                  <a:moveTo>
                    <a:pt x="843787" y="4409514"/>
                  </a:moveTo>
                  <a:lnTo>
                    <a:pt x="874184" y="4443127"/>
                  </a:lnTo>
                  <a:lnTo>
                    <a:pt x="852777" y="4458867"/>
                  </a:lnTo>
                  <a:lnTo>
                    <a:pt x="861716" y="4470165"/>
                  </a:lnTo>
                  <a:lnTo>
                    <a:pt x="854750" y="4460234"/>
                  </a:lnTo>
                  <a:lnTo>
                    <a:pt x="874184" y="4443127"/>
                  </a:lnTo>
                  <a:lnTo>
                    <a:pt x="843788" y="4409514"/>
                  </a:lnTo>
                  <a:close/>
                  <a:moveTo>
                    <a:pt x="8039666" y="4406649"/>
                  </a:moveTo>
                  <a:lnTo>
                    <a:pt x="8020007" y="4427376"/>
                  </a:lnTo>
                  <a:lnTo>
                    <a:pt x="8020057" y="4427446"/>
                  </a:lnTo>
                  <a:lnTo>
                    <a:pt x="8039666" y="4406654"/>
                  </a:lnTo>
                  <a:close/>
                  <a:moveTo>
                    <a:pt x="6717646" y="4406040"/>
                  </a:moveTo>
                  <a:lnTo>
                    <a:pt x="6727701" y="4417483"/>
                  </a:lnTo>
                  <a:lnTo>
                    <a:pt x="6746655" y="4418767"/>
                  </a:lnTo>
                  <a:close/>
                  <a:moveTo>
                    <a:pt x="11433277" y="4404456"/>
                  </a:moveTo>
                  <a:lnTo>
                    <a:pt x="11485527" y="4428260"/>
                  </a:lnTo>
                  <a:lnTo>
                    <a:pt x="11496139" y="4502439"/>
                  </a:lnTo>
                  <a:lnTo>
                    <a:pt x="11479554" y="4651686"/>
                  </a:lnTo>
                  <a:lnTo>
                    <a:pt x="11436260" y="4714269"/>
                  </a:lnTo>
                  <a:lnTo>
                    <a:pt x="11439404" y="4743962"/>
                  </a:lnTo>
                  <a:lnTo>
                    <a:pt x="11405032" y="4804387"/>
                  </a:lnTo>
                  <a:lnTo>
                    <a:pt x="11374702" y="4917224"/>
                  </a:lnTo>
                  <a:lnTo>
                    <a:pt x="11367617" y="4977041"/>
                  </a:lnTo>
                  <a:lnTo>
                    <a:pt x="11418905" y="5039640"/>
                  </a:lnTo>
                  <a:lnTo>
                    <a:pt x="11418509" y="5078111"/>
                  </a:lnTo>
                  <a:lnTo>
                    <a:pt x="11375523" y="5193846"/>
                  </a:lnTo>
                  <a:lnTo>
                    <a:pt x="11317354" y="5174778"/>
                  </a:lnTo>
                  <a:lnTo>
                    <a:pt x="11251558" y="5179076"/>
                  </a:lnTo>
                  <a:lnTo>
                    <a:pt x="11241561" y="5166280"/>
                  </a:lnTo>
                  <a:lnTo>
                    <a:pt x="11241559" y="5166280"/>
                  </a:lnTo>
                  <a:lnTo>
                    <a:pt x="11224453" y="5018057"/>
                  </a:lnTo>
                  <a:lnTo>
                    <a:pt x="11284258" y="4953891"/>
                  </a:lnTo>
                  <a:lnTo>
                    <a:pt x="11292821" y="4774131"/>
                  </a:lnTo>
                  <a:lnTo>
                    <a:pt x="11340301" y="4736646"/>
                  </a:lnTo>
                  <a:lnTo>
                    <a:pt x="11354427" y="4696773"/>
                  </a:lnTo>
                  <a:lnTo>
                    <a:pt x="11397460" y="4659025"/>
                  </a:lnTo>
                  <a:lnTo>
                    <a:pt x="11400514" y="4562317"/>
                  </a:lnTo>
                  <a:lnTo>
                    <a:pt x="11425391" y="4497218"/>
                  </a:lnTo>
                  <a:lnTo>
                    <a:pt x="11391115" y="4431649"/>
                  </a:lnTo>
                  <a:lnTo>
                    <a:pt x="11405901" y="4408787"/>
                  </a:lnTo>
                  <a:close/>
                  <a:moveTo>
                    <a:pt x="7860525" y="4401626"/>
                  </a:moveTo>
                  <a:lnTo>
                    <a:pt x="7848956" y="4412421"/>
                  </a:lnTo>
                  <a:lnTo>
                    <a:pt x="7860543" y="4401684"/>
                  </a:lnTo>
                  <a:close/>
                  <a:moveTo>
                    <a:pt x="731055" y="4389500"/>
                  </a:moveTo>
                  <a:lnTo>
                    <a:pt x="727611" y="4390900"/>
                  </a:lnTo>
                  <a:lnTo>
                    <a:pt x="728341" y="4393260"/>
                  </a:lnTo>
                  <a:close/>
                  <a:moveTo>
                    <a:pt x="9190949" y="4384755"/>
                  </a:moveTo>
                  <a:lnTo>
                    <a:pt x="9190912" y="4384780"/>
                  </a:lnTo>
                  <a:lnTo>
                    <a:pt x="9190810" y="4414166"/>
                  </a:lnTo>
                  <a:lnTo>
                    <a:pt x="9183465" y="4425043"/>
                  </a:lnTo>
                  <a:lnTo>
                    <a:pt x="9190831" y="4414166"/>
                  </a:lnTo>
                  <a:close/>
                  <a:moveTo>
                    <a:pt x="8940493" y="4380992"/>
                  </a:moveTo>
                  <a:lnTo>
                    <a:pt x="8937456" y="4382145"/>
                  </a:lnTo>
                  <a:lnTo>
                    <a:pt x="8906579" y="4408402"/>
                  </a:lnTo>
                  <a:lnTo>
                    <a:pt x="8913986" y="4435891"/>
                  </a:lnTo>
                  <a:lnTo>
                    <a:pt x="8920156" y="4431411"/>
                  </a:lnTo>
                  <a:lnTo>
                    <a:pt x="8906583" y="4408403"/>
                  </a:lnTo>
                  <a:close/>
                  <a:moveTo>
                    <a:pt x="3940863" y="4380470"/>
                  </a:moveTo>
                  <a:lnTo>
                    <a:pt x="3940863" y="4380471"/>
                  </a:lnTo>
                  <a:lnTo>
                    <a:pt x="3964277" y="4384008"/>
                  </a:lnTo>
                  <a:lnTo>
                    <a:pt x="3965755" y="4384231"/>
                  </a:lnTo>
                  <a:lnTo>
                    <a:pt x="3965756" y="4384231"/>
                  </a:lnTo>
                  <a:lnTo>
                    <a:pt x="3964277" y="4384008"/>
                  </a:lnTo>
                  <a:close/>
                  <a:moveTo>
                    <a:pt x="6641303" y="4380217"/>
                  </a:moveTo>
                  <a:lnTo>
                    <a:pt x="6635548" y="4380703"/>
                  </a:lnTo>
                  <a:lnTo>
                    <a:pt x="6635890" y="4383614"/>
                  </a:lnTo>
                  <a:close/>
                  <a:moveTo>
                    <a:pt x="894777" y="4379974"/>
                  </a:moveTo>
                  <a:lnTo>
                    <a:pt x="883959" y="4388836"/>
                  </a:lnTo>
                  <a:lnTo>
                    <a:pt x="895890" y="4409148"/>
                  </a:lnTo>
                  <a:lnTo>
                    <a:pt x="876081" y="4419955"/>
                  </a:lnTo>
                  <a:lnTo>
                    <a:pt x="895892" y="4409148"/>
                  </a:lnTo>
                  <a:lnTo>
                    <a:pt x="883960" y="4388836"/>
                  </a:lnTo>
                  <a:lnTo>
                    <a:pt x="894778" y="4379974"/>
                  </a:lnTo>
                  <a:close/>
                  <a:moveTo>
                    <a:pt x="6696161" y="4377721"/>
                  </a:moveTo>
                  <a:lnTo>
                    <a:pt x="6694835" y="4380080"/>
                  </a:lnTo>
                  <a:lnTo>
                    <a:pt x="6700665" y="4386715"/>
                  </a:lnTo>
                  <a:close/>
                  <a:moveTo>
                    <a:pt x="744403" y="4369979"/>
                  </a:moveTo>
                  <a:lnTo>
                    <a:pt x="768376" y="4373546"/>
                  </a:lnTo>
                  <a:lnTo>
                    <a:pt x="769364" y="4373162"/>
                  </a:lnTo>
                  <a:close/>
                  <a:moveTo>
                    <a:pt x="977899" y="4369808"/>
                  </a:moveTo>
                  <a:lnTo>
                    <a:pt x="930741" y="4388663"/>
                  </a:lnTo>
                  <a:lnTo>
                    <a:pt x="930741" y="4388663"/>
                  </a:lnTo>
                  <a:lnTo>
                    <a:pt x="977881" y="4369878"/>
                  </a:lnTo>
                  <a:lnTo>
                    <a:pt x="977880" y="4369877"/>
                  </a:lnTo>
                  <a:close/>
                  <a:moveTo>
                    <a:pt x="3949722" y="4368669"/>
                  </a:moveTo>
                  <a:lnTo>
                    <a:pt x="3938386" y="4369196"/>
                  </a:lnTo>
                  <a:lnTo>
                    <a:pt x="3965754" y="4384228"/>
                  </a:lnTo>
                  <a:close/>
                  <a:moveTo>
                    <a:pt x="7862866" y="4361775"/>
                  </a:moveTo>
                  <a:lnTo>
                    <a:pt x="7850979" y="4367162"/>
                  </a:lnTo>
                  <a:lnTo>
                    <a:pt x="7851557" y="4369238"/>
                  </a:lnTo>
                  <a:close/>
                  <a:moveTo>
                    <a:pt x="6676332" y="4358235"/>
                  </a:moveTo>
                  <a:lnTo>
                    <a:pt x="6676331" y="4358237"/>
                  </a:lnTo>
                  <a:lnTo>
                    <a:pt x="6700914" y="4364535"/>
                  </a:lnTo>
                  <a:lnTo>
                    <a:pt x="6701481" y="4364133"/>
                  </a:lnTo>
                  <a:close/>
                  <a:moveTo>
                    <a:pt x="5506939" y="4352390"/>
                  </a:moveTo>
                  <a:lnTo>
                    <a:pt x="5506904" y="4352403"/>
                  </a:lnTo>
                  <a:lnTo>
                    <a:pt x="5460348" y="4404817"/>
                  </a:lnTo>
                  <a:lnTo>
                    <a:pt x="5459905" y="4451736"/>
                  </a:lnTo>
                  <a:lnTo>
                    <a:pt x="5464470" y="4468572"/>
                  </a:lnTo>
                  <a:lnTo>
                    <a:pt x="5521534" y="4502938"/>
                  </a:lnTo>
                  <a:lnTo>
                    <a:pt x="5538195" y="4506020"/>
                  </a:lnTo>
                  <a:lnTo>
                    <a:pt x="5464472" y="4468572"/>
                  </a:lnTo>
                  <a:lnTo>
                    <a:pt x="5460348" y="4404817"/>
                  </a:lnTo>
                  <a:close/>
                  <a:moveTo>
                    <a:pt x="6857000" y="4350325"/>
                  </a:moveTo>
                  <a:lnTo>
                    <a:pt x="6864950" y="4378276"/>
                  </a:lnTo>
                  <a:lnTo>
                    <a:pt x="6865033" y="4378195"/>
                  </a:lnTo>
                  <a:close/>
                  <a:moveTo>
                    <a:pt x="9200672" y="4349255"/>
                  </a:moveTo>
                  <a:lnTo>
                    <a:pt x="9199418" y="4349860"/>
                  </a:lnTo>
                  <a:lnTo>
                    <a:pt x="9216254" y="4367981"/>
                  </a:lnTo>
                  <a:lnTo>
                    <a:pt x="9216345" y="4367921"/>
                  </a:lnTo>
                  <a:close/>
                  <a:moveTo>
                    <a:pt x="7262485" y="4344122"/>
                  </a:moveTo>
                  <a:lnTo>
                    <a:pt x="7256565" y="4354119"/>
                  </a:lnTo>
                  <a:lnTo>
                    <a:pt x="7256678" y="4354127"/>
                  </a:lnTo>
                  <a:close/>
                  <a:moveTo>
                    <a:pt x="7848544" y="4341033"/>
                  </a:moveTo>
                  <a:lnTo>
                    <a:pt x="7848505" y="4341096"/>
                  </a:lnTo>
                  <a:lnTo>
                    <a:pt x="7863838" y="4361134"/>
                  </a:lnTo>
                  <a:lnTo>
                    <a:pt x="7863877" y="4361108"/>
                  </a:lnTo>
                  <a:close/>
                  <a:moveTo>
                    <a:pt x="9220713" y="4339353"/>
                  </a:moveTo>
                  <a:lnTo>
                    <a:pt x="9220700" y="4339385"/>
                  </a:lnTo>
                  <a:lnTo>
                    <a:pt x="9220717" y="4339378"/>
                  </a:lnTo>
                  <a:close/>
                  <a:moveTo>
                    <a:pt x="2794551" y="4338595"/>
                  </a:moveTo>
                  <a:lnTo>
                    <a:pt x="2805998" y="4361880"/>
                  </a:lnTo>
                  <a:lnTo>
                    <a:pt x="2824589" y="4365336"/>
                  </a:lnTo>
                  <a:close/>
                  <a:moveTo>
                    <a:pt x="2794411" y="4338471"/>
                  </a:moveTo>
                  <a:lnTo>
                    <a:pt x="2768838" y="4360329"/>
                  </a:lnTo>
                  <a:lnTo>
                    <a:pt x="2768838" y="4360330"/>
                  </a:lnTo>
                  <a:lnTo>
                    <a:pt x="2794502" y="4338552"/>
                  </a:lnTo>
                  <a:close/>
                  <a:moveTo>
                    <a:pt x="2613857" y="4332581"/>
                  </a:moveTo>
                  <a:lnTo>
                    <a:pt x="2640020" y="4378595"/>
                  </a:lnTo>
                  <a:lnTo>
                    <a:pt x="2640161" y="4378654"/>
                  </a:lnTo>
                  <a:close/>
                  <a:moveTo>
                    <a:pt x="2760273" y="4326247"/>
                  </a:moveTo>
                  <a:lnTo>
                    <a:pt x="2768833" y="4360309"/>
                  </a:lnTo>
                  <a:lnTo>
                    <a:pt x="2768596" y="4332494"/>
                  </a:lnTo>
                  <a:close/>
                  <a:moveTo>
                    <a:pt x="6829551" y="4325785"/>
                  </a:moveTo>
                  <a:lnTo>
                    <a:pt x="6829750" y="4326128"/>
                  </a:lnTo>
                  <a:lnTo>
                    <a:pt x="6850760" y="4328676"/>
                  </a:lnTo>
                  <a:lnTo>
                    <a:pt x="6850707" y="4328492"/>
                  </a:lnTo>
                  <a:close/>
                  <a:moveTo>
                    <a:pt x="2758014" y="4324552"/>
                  </a:moveTo>
                  <a:lnTo>
                    <a:pt x="2752406" y="4348340"/>
                  </a:lnTo>
                  <a:lnTo>
                    <a:pt x="2758508" y="4324922"/>
                  </a:lnTo>
                  <a:close/>
                  <a:moveTo>
                    <a:pt x="7869555" y="4320096"/>
                  </a:moveTo>
                  <a:lnTo>
                    <a:pt x="7860503" y="4321521"/>
                  </a:lnTo>
                  <a:lnTo>
                    <a:pt x="7848551" y="4341021"/>
                  </a:lnTo>
                  <a:close/>
                  <a:moveTo>
                    <a:pt x="1127577" y="4314976"/>
                  </a:moveTo>
                  <a:lnTo>
                    <a:pt x="1134081" y="4342788"/>
                  </a:lnTo>
                  <a:lnTo>
                    <a:pt x="1120122" y="4350866"/>
                  </a:lnTo>
                  <a:lnTo>
                    <a:pt x="1134082" y="4342788"/>
                  </a:lnTo>
                  <a:close/>
                  <a:moveTo>
                    <a:pt x="7907284" y="4314155"/>
                  </a:moveTo>
                  <a:lnTo>
                    <a:pt x="7905514" y="4314434"/>
                  </a:lnTo>
                  <a:lnTo>
                    <a:pt x="7907496" y="4314274"/>
                  </a:lnTo>
                  <a:close/>
                  <a:moveTo>
                    <a:pt x="9036214" y="4311858"/>
                  </a:moveTo>
                  <a:lnTo>
                    <a:pt x="9056822" y="4336829"/>
                  </a:lnTo>
                  <a:lnTo>
                    <a:pt x="9050772" y="4339126"/>
                  </a:lnTo>
                  <a:lnTo>
                    <a:pt x="9067196" y="4339264"/>
                  </a:lnTo>
                  <a:close/>
                  <a:moveTo>
                    <a:pt x="7438566" y="4305818"/>
                  </a:moveTo>
                  <a:lnTo>
                    <a:pt x="7450760" y="4312809"/>
                  </a:lnTo>
                  <a:lnTo>
                    <a:pt x="7451466" y="4312198"/>
                  </a:lnTo>
                  <a:close/>
                  <a:moveTo>
                    <a:pt x="7438541" y="4305806"/>
                  </a:moveTo>
                  <a:lnTo>
                    <a:pt x="7437619" y="4339776"/>
                  </a:lnTo>
                  <a:lnTo>
                    <a:pt x="7437804" y="4340330"/>
                  </a:lnTo>
                  <a:lnTo>
                    <a:pt x="7438548" y="4305809"/>
                  </a:lnTo>
                  <a:close/>
                  <a:moveTo>
                    <a:pt x="3747438" y="4301586"/>
                  </a:moveTo>
                  <a:lnTo>
                    <a:pt x="3740258" y="4321530"/>
                  </a:lnTo>
                  <a:lnTo>
                    <a:pt x="3751147" y="4345805"/>
                  </a:lnTo>
                  <a:close/>
                  <a:moveTo>
                    <a:pt x="7424781" y="4301341"/>
                  </a:moveTo>
                  <a:lnTo>
                    <a:pt x="7424780" y="4301342"/>
                  </a:lnTo>
                  <a:lnTo>
                    <a:pt x="7424816" y="4301450"/>
                  </a:lnTo>
                  <a:close/>
                  <a:moveTo>
                    <a:pt x="9234982" y="4301132"/>
                  </a:moveTo>
                  <a:lnTo>
                    <a:pt x="9233247" y="4305779"/>
                  </a:lnTo>
                  <a:lnTo>
                    <a:pt x="9237301" y="4302068"/>
                  </a:lnTo>
                  <a:close/>
                  <a:moveTo>
                    <a:pt x="7360414" y="4301073"/>
                  </a:moveTo>
                  <a:lnTo>
                    <a:pt x="7360308" y="4301133"/>
                  </a:lnTo>
                  <a:lnTo>
                    <a:pt x="7286167" y="4304126"/>
                  </a:lnTo>
                  <a:lnTo>
                    <a:pt x="7286102" y="4304237"/>
                  </a:lnTo>
                  <a:lnTo>
                    <a:pt x="7360306" y="4301135"/>
                  </a:lnTo>
                  <a:close/>
                  <a:moveTo>
                    <a:pt x="2538263" y="4298526"/>
                  </a:moveTo>
                  <a:lnTo>
                    <a:pt x="2538263" y="4298529"/>
                  </a:lnTo>
                  <a:lnTo>
                    <a:pt x="2552017" y="4345842"/>
                  </a:lnTo>
                  <a:lnTo>
                    <a:pt x="2552019" y="4345842"/>
                  </a:lnTo>
                  <a:close/>
                  <a:moveTo>
                    <a:pt x="3995761" y="4296954"/>
                  </a:moveTo>
                  <a:lnTo>
                    <a:pt x="3995738" y="4296955"/>
                  </a:lnTo>
                  <a:lnTo>
                    <a:pt x="4003761" y="4318468"/>
                  </a:lnTo>
                  <a:close/>
                  <a:moveTo>
                    <a:pt x="967738" y="4296270"/>
                  </a:moveTo>
                  <a:lnTo>
                    <a:pt x="979761" y="4363099"/>
                  </a:lnTo>
                  <a:lnTo>
                    <a:pt x="984951" y="4344403"/>
                  </a:lnTo>
                  <a:close/>
                  <a:moveTo>
                    <a:pt x="7166466" y="4291974"/>
                  </a:moveTo>
                  <a:lnTo>
                    <a:pt x="7166465" y="4291976"/>
                  </a:lnTo>
                  <a:lnTo>
                    <a:pt x="7205758" y="4350522"/>
                  </a:lnTo>
                  <a:lnTo>
                    <a:pt x="7205912" y="4350533"/>
                  </a:lnTo>
                  <a:close/>
                  <a:moveTo>
                    <a:pt x="9149929" y="4289436"/>
                  </a:moveTo>
                  <a:lnTo>
                    <a:pt x="9071042" y="4339297"/>
                  </a:lnTo>
                  <a:lnTo>
                    <a:pt x="9076410" y="4339342"/>
                  </a:lnTo>
                  <a:close/>
                  <a:moveTo>
                    <a:pt x="7973316" y="4284637"/>
                  </a:moveTo>
                  <a:lnTo>
                    <a:pt x="7981868" y="4319419"/>
                  </a:lnTo>
                  <a:lnTo>
                    <a:pt x="7949942" y="4337986"/>
                  </a:lnTo>
                  <a:lnTo>
                    <a:pt x="7949943" y="4337987"/>
                  </a:lnTo>
                  <a:lnTo>
                    <a:pt x="7982135" y="4319720"/>
                  </a:lnTo>
                  <a:lnTo>
                    <a:pt x="7996750" y="4394798"/>
                  </a:lnTo>
                  <a:lnTo>
                    <a:pt x="8008712" y="4411554"/>
                  </a:lnTo>
                  <a:lnTo>
                    <a:pt x="7996729" y="4394649"/>
                  </a:lnTo>
                  <a:lnTo>
                    <a:pt x="7991262" y="4329685"/>
                  </a:lnTo>
                  <a:close/>
                  <a:moveTo>
                    <a:pt x="9171767" y="4275634"/>
                  </a:moveTo>
                  <a:lnTo>
                    <a:pt x="9170419" y="4276486"/>
                  </a:lnTo>
                  <a:lnTo>
                    <a:pt x="9201363" y="4287572"/>
                  </a:lnTo>
                  <a:close/>
                  <a:moveTo>
                    <a:pt x="1178875" y="4273889"/>
                  </a:moveTo>
                  <a:lnTo>
                    <a:pt x="1151191" y="4309431"/>
                  </a:lnTo>
                  <a:lnTo>
                    <a:pt x="1178875" y="4273889"/>
                  </a:lnTo>
                  <a:close/>
                  <a:moveTo>
                    <a:pt x="7436383" y="4273596"/>
                  </a:moveTo>
                  <a:lnTo>
                    <a:pt x="7436290" y="4273620"/>
                  </a:lnTo>
                  <a:lnTo>
                    <a:pt x="7436382" y="4273598"/>
                  </a:lnTo>
                  <a:lnTo>
                    <a:pt x="7434702" y="4277616"/>
                  </a:lnTo>
                  <a:close/>
                  <a:moveTo>
                    <a:pt x="3688249" y="4271645"/>
                  </a:moveTo>
                  <a:lnTo>
                    <a:pt x="3698738" y="4284072"/>
                  </a:lnTo>
                  <a:lnTo>
                    <a:pt x="3705699" y="4286575"/>
                  </a:lnTo>
                  <a:close/>
                  <a:moveTo>
                    <a:pt x="4034215" y="4269909"/>
                  </a:moveTo>
                  <a:lnTo>
                    <a:pt x="4034215" y="4269911"/>
                  </a:lnTo>
                  <a:lnTo>
                    <a:pt x="4058372" y="4289151"/>
                  </a:lnTo>
                  <a:lnTo>
                    <a:pt x="4067358" y="4286721"/>
                  </a:lnTo>
                  <a:lnTo>
                    <a:pt x="4058376" y="4289150"/>
                  </a:lnTo>
                  <a:close/>
                  <a:moveTo>
                    <a:pt x="6833141" y="4261988"/>
                  </a:moveTo>
                  <a:lnTo>
                    <a:pt x="6832934" y="4262277"/>
                  </a:lnTo>
                  <a:lnTo>
                    <a:pt x="6859471" y="4264461"/>
                  </a:lnTo>
                  <a:close/>
                  <a:moveTo>
                    <a:pt x="570629" y="4254690"/>
                  </a:moveTo>
                  <a:lnTo>
                    <a:pt x="570056" y="4255034"/>
                  </a:lnTo>
                  <a:lnTo>
                    <a:pt x="593801" y="4263810"/>
                  </a:lnTo>
                  <a:close/>
                  <a:moveTo>
                    <a:pt x="609860" y="4252426"/>
                  </a:moveTo>
                  <a:lnTo>
                    <a:pt x="609430" y="4253187"/>
                  </a:lnTo>
                  <a:lnTo>
                    <a:pt x="610975" y="4253883"/>
                  </a:lnTo>
                  <a:close/>
                  <a:moveTo>
                    <a:pt x="2807553" y="4246214"/>
                  </a:moveTo>
                  <a:lnTo>
                    <a:pt x="2807551" y="4246215"/>
                  </a:lnTo>
                  <a:lnTo>
                    <a:pt x="2820540" y="4252530"/>
                  </a:lnTo>
                  <a:lnTo>
                    <a:pt x="2820542" y="4252528"/>
                  </a:lnTo>
                  <a:close/>
                  <a:moveTo>
                    <a:pt x="7400918" y="4245470"/>
                  </a:moveTo>
                  <a:lnTo>
                    <a:pt x="7382051" y="4288524"/>
                  </a:lnTo>
                  <a:lnTo>
                    <a:pt x="7382115" y="4288487"/>
                  </a:lnTo>
                  <a:lnTo>
                    <a:pt x="7400918" y="4245472"/>
                  </a:lnTo>
                  <a:lnTo>
                    <a:pt x="7407060" y="4280650"/>
                  </a:lnTo>
                  <a:lnTo>
                    <a:pt x="7407553" y="4280532"/>
                  </a:lnTo>
                  <a:close/>
                  <a:moveTo>
                    <a:pt x="5463493" y="4236559"/>
                  </a:moveTo>
                  <a:lnTo>
                    <a:pt x="5478560" y="4290141"/>
                  </a:lnTo>
                  <a:lnTo>
                    <a:pt x="5508988" y="4292053"/>
                  </a:lnTo>
                  <a:lnTo>
                    <a:pt x="5478562" y="4290141"/>
                  </a:lnTo>
                  <a:close/>
                  <a:moveTo>
                    <a:pt x="3284469" y="4235620"/>
                  </a:moveTo>
                  <a:lnTo>
                    <a:pt x="3279726" y="4260841"/>
                  </a:lnTo>
                  <a:lnTo>
                    <a:pt x="3247877" y="4280262"/>
                  </a:lnTo>
                  <a:lnTo>
                    <a:pt x="3248210" y="4281288"/>
                  </a:lnTo>
                  <a:lnTo>
                    <a:pt x="3279728" y="4260842"/>
                  </a:lnTo>
                  <a:lnTo>
                    <a:pt x="3284470" y="4235620"/>
                  </a:lnTo>
                  <a:close/>
                  <a:moveTo>
                    <a:pt x="2551332" y="4223140"/>
                  </a:moveTo>
                  <a:lnTo>
                    <a:pt x="2541511" y="4225937"/>
                  </a:lnTo>
                  <a:lnTo>
                    <a:pt x="2556173" y="4255530"/>
                  </a:lnTo>
                  <a:lnTo>
                    <a:pt x="2528061" y="4279170"/>
                  </a:lnTo>
                  <a:lnTo>
                    <a:pt x="2528063" y="4279175"/>
                  </a:lnTo>
                  <a:lnTo>
                    <a:pt x="2528062" y="4279175"/>
                  </a:lnTo>
                  <a:lnTo>
                    <a:pt x="2528464" y="4280270"/>
                  </a:lnTo>
                  <a:lnTo>
                    <a:pt x="2534526" y="4296813"/>
                  </a:lnTo>
                  <a:lnTo>
                    <a:pt x="2515297" y="4316074"/>
                  </a:lnTo>
                  <a:lnTo>
                    <a:pt x="2515301" y="4316077"/>
                  </a:lnTo>
                  <a:lnTo>
                    <a:pt x="2534530" y="4296818"/>
                  </a:lnTo>
                  <a:lnTo>
                    <a:pt x="2528464" y="4280270"/>
                  </a:lnTo>
                  <a:lnTo>
                    <a:pt x="2528063" y="4279175"/>
                  </a:lnTo>
                  <a:lnTo>
                    <a:pt x="2556176" y="4255534"/>
                  </a:lnTo>
                  <a:lnTo>
                    <a:pt x="2541514" y="4225941"/>
                  </a:lnTo>
                  <a:lnTo>
                    <a:pt x="2551342" y="4223142"/>
                  </a:lnTo>
                  <a:close/>
                  <a:moveTo>
                    <a:pt x="9023840" y="4214543"/>
                  </a:moveTo>
                  <a:lnTo>
                    <a:pt x="9022016" y="4232968"/>
                  </a:lnTo>
                  <a:lnTo>
                    <a:pt x="9035875" y="4311448"/>
                  </a:lnTo>
                  <a:lnTo>
                    <a:pt x="9036003" y="4311604"/>
                  </a:lnTo>
                  <a:close/>
                  <a:moveTo>
                    <a:pt x="9024003" y="4212894"/>
                  </a:moveTo>
                  <a:lnTo>
                    <a:pt x="9023957" y="4213356"/>
                  </a:lnTo>
                  <a:lnTo>
                    <a:pt x="9043796" y="4215090"/>
                  </a:lnTo>
                  <a:lnTo>
                    <a:pt x="9043762" y="4214809"/>
                  </a:lnTo>
                  <a:close/>
                  <a:moveTo>
                    <a:pt x="604560" y="4210749"/>
                  </a:moveTo>
                  <a:lnTo>
                    <a:pt x="604560" y="4210750"/>
                  </a:lnTo>
                  <a:lnTo>
                    <a:pt x="626825" y="4222341"/>
                  </a:lnTo>
                  <a:lnTo>
                    <a:pt x="626825" y="4222340"/>
                  </a:lnTo>
                  <a:close/>
                  <a:moveTo>
                    <a:pt x="3237454" y="4202780"/>
                  </a:moveTo>
                  <a:lnTo>
                    <a:pt x="3237621" y="4221774"/>
                  </a:lnTo>
                  <a:lnTo>
                    <a:pt x="3237622" y="4221774"/>
                  </a:lnTo>
                  <a:lnTo>
                    <a:pt x="3237455" y="4202781"/>
                  </a:lnTo>
                  <a:close/>
                  <a:moveTo>
                    <a:pt x="3657638" y="4201073"/>
                  </a:moveTo>
                  <a:lnTo>
                    <a:pt x="3632165" y="4203070"/>
                  </a:lnTo>
                  <a:lnTo>
                    <a:pt x="3632165" y="4203071"/>
                  </a:lnTo>
                  <a:lnTo>
                    <a:pt x="3657639" y="4201074"/>
                  </a:lnTo>
                  <a:close/>
                  <a:moveTo>
                    <a:pt x="610501" y="4195913"/>
                  </a:moveTo>
                  <a:lnTo>
                    <a:pt x="606912" y="4196051"/>
                  </a:lnTo>
                  <a:lnTo>
                    <a:pt x="606850" y="4196437"/>
                  </a:lnTo>
                  <a:close/>
                  <a:moveTo>
                    <a:pt x="7539811" y="4184961"/>
                  </a:moveTo>
                  <a:lnTo>
                    <a:pt x="7539792" y="4184994"/>
                  </a:lnTo>
                  <a:lnTo>
                    <a:pt x="7501197" y="4216920"/>
                  </a:lnTo>
                  <a:lnTo>
                    <a:pt x="7501348" y="4268957"/>
                  </a:lnTo>
                  <a:lnTo>
                    <a:pt x="7499408" y="4270646"/>
                  </a:lnTo>
                  <a:lnTo>
                    <a:pt x="7501355" y="4268959"/>
                  </a:lnTo>
                  <a:lnTo>
                    <a:pt x="7501205" y="4216922"/>
                  </a:lnTo>
                  <a:lnTo>
                    <a:pt x="7539799" y="4184996"/>
                  </a:lnTo>
                  <a:close/>
                  <a:moveTo>
                    <a:pt x="6795104" y="4181999"/>
                  </a:moveTo>
                  <a:lnTo>
                    <a:pt x="6795116" y="4182042"/>
                  </a:lnTo>
                  <a:lnTo>
                    <a:pt x="6862417" y="4205674"/>
                  </a:lnTo>
                  <a:lnTo>
                    <a:pt x="6867350" y="4265110"/>
                  </a:lnTo>
                  <a:lnTo>
                    <a:pt x="6867475" y="4265120"/>
                  </a:lnTo>
                  <a:lnTo>
                    <a:pt x="6862638" y="4205055"/>
                  </a:lnTo>
                  <a:close/>
                  <a:moveTo>
                    <a:pt x="3200418" y="4175703"/>
                  </a:moveTo>
                  <a:lnTo>
                    <a:pt x="3195103" y="4178297"/>
                  </a:lnTo>
                  <a:lnTo>
                    <a:pt x="3198651" y="4180348"/>
                  </a:lnTo>
                  <a:close/>
                  <a:moveTo>
                    <a:pt x="3616263" y="4174996"/>
                  </a:moveTo>
                  <a:lnTo>
                    <a:pt x="3600050" y="4179670"/>
                  </a:lnTo>
                  <a:lnTo>
                    <a:pt x="3600050" y="4179672"/>
                  </a:lnTo>
                  <a:lnTo>
                    <a:pt x="3616263" y="4174997"/>
                  </a:lnTo>
                  <a:lnTo>
                    <a:pt x="3625286" y="4190925"/>
                  </a:lnTo>
                  <a:close/>
                  <a:moveTo>
                    <a:pt x="2584318" y="4172900"/>
                  </a:moveTo>
                  <a:lnTo>
                    <a:pt x="2558188" y="4211588"/>
                  </a:lnTo>
                  <a:lnTo>
                    <a:pt x="2524653" y="4217167"/>
                  </a:lnTo>
                  <a:lnTo>
                    <a:pt x="2524664" y="4217169"/>
                  </a:lnTo>
                  <a:lnTo>
                    <a:pt x="2558190" y="4211593"/>
                  </a:lnTo>
                  <a:lnTo>
                    <a:pt x="2584322" y="4172901"/>
                  </a:lnTo>
                  <a:close/>
                  <a:moveTo>
                    <a:pt x="5399957" y="4165969"/>
                  </a:moveTo>
                  <a:lnTo>
                    <a:pt x="5431821" y="4183059"/>
                  </a:lnTo>
                  <a:lnTo>
                    <a:pt x="5433627" y="4214553"/>
                  </a:lnTo>
                  <a:lnTo>
                    <a:pt x="5439692" y="4216336"/>
                  </a:lnTo>
                  <a:lnTo>
                    <a:pt x="5433628" y="4214553"/>
                  </a:lnTo>
                  <a:lnTo>
                    <a:pt x="5431823" y="4183059"/>
                  </a:lnTo>
                  <a:close/>
                  <a:moveTo>
                    <a:pt x="4059305" y="4164762"/>
                  </a:moveTo>
                  <a:lnTo>
                    <a:pt x="4076615" y="4170358"/>
                  </a:lnTo>
                  <a:lnTo>
                    <a:pt x="4076608" y="4170291"/>
                  </a:lnTo>
                  <a:close/>
                  <a:moveTo>
                    <a:pt x="4059047" y="4164680"/>
                  </a:moveTo>
                  <a:lnTo>
                    <a:pt x="4039820" y="4182667"/>
                  </a:lnTo>
                  <a:lnTo>
                    <a:pt x="4040908" y="4184668"/>
                  </a:lnTo>
                  <a:lnTo>
                    <a:pt x="4059050" y="4164681"/>
                  </a:lnTo>
                  <a:close/>
                  <a:moveTo>
                    <a:pt x="1305841" y="4161210"/>
                  </a:moveTo>
                  <a:lnTo>
                    <a:pt x="1283135" y="4228145"/>
                  </a:lnTo>
                  <a:lnTo>
                    <a:pt x="1289636" y="4289126"/>
                  </a:lnTo>
                  <a:lnTo>
                    <a:pt x="1244609" y="4284649"/>
                  </a:lnTo>
                  <a:lnTo>
                    <a:pt x="1289637" y="4289127"/>
                  </a:lnTo>
                  <a:lnTo>
                    <a:pt x="1283136" y="4228145"/>
                  </a:lnTo>
                  <a:lnTo>
                    <a:pt x="1305842" y="4161210"/>
                  </a:lnTo>
                  <a:close/>
                  <a:moveTo>
                    <a:pt x="9053639" y="4157223"/>
                  </a:moveTo>
                  <a:lnTo>
                    <a:pt x="9048093" y="4173292"/>
                  </a:lnTo>
                  <a:lnTo>
                    <a:pt x="9065978" y="4201298"/>
                  </a:lnTo>
                  <a:lnTo>
                    <a:pt x="9041769" y="4196556"/>
                  </a:lnTo>
                  <a:lnTo>
                    <a:pt x="9041788" y="4196701"/>
                  </a:lnTo>
                  <a:lnTo>
                    <a:pt x="9065979" y="4201299"/>
                  </a:lnTo>
                  <a:lnTo>
                    <a:pt x="9048095" y="4173293"/>
                  </a:lnTo>
                  <a:lnTo>
                    <a:pt x="9055375" y="4158551"/>
                  </a:lnTo>
                  <a:close/>
                  <a:moveTo>
                    <a:pt x="7824077" y="4148344"/>
                  </a:moveTo>
                  <a:lnTo>
                    <a:pt x="7838884" y="4162485"/>
                  </a:lnTo>
                  <a:lnTo>
                    <a:pt x="7838898" y="4162348"/>
                  </a:lnTo>
                  <a:close/>
                  <a:moveTo>
                    <a:pt x="7904290" y="4148180"/>
                  </a:moveTo>
                  <a:lnTo>
                    <a:pt x="7937298" y="4268673"/>
                  </a:lnTo>
                  <a:lnTo>
                    <a:pt x="7972085" y="4281546"/>
                  </a:lnTo>
                  <a:lnTo>
                    <a:pt x="7970557" y="4277712"/>
                  </a:lnTo>
                  <a:lnTo>
                    <a:pt x="7937272" y="4268535"/>
                  </a:lnTo>
                  <a:lnTo>
                    <a:pt x="7904819" y="4148433"/>
                  </a:lnTo>
                  <a:close/>
                  <a:moveTo>
                    <a:pt x="7823613" y="4147906"/>
                  </a:moveTo>
                  <a:lnTo>
                    <a:pt x="7811693" y="4165199"/>
                  </a:lnTo>
                  <a:lnTo>
                    <a:pt x="7811475" y="4165206"/>
                  </a:lnTo>
                  <a:lnTo>
                    <a:pt x="7811699" y="4165200"/>
                  </a:lnTo>
                  <a:lnTo>
                    <a:pt x="7823618" y="4147911"/>
                  </a:lnTo>
                  <a:close/>
                  <a:moveTo>
                    <a:pt x="2557947" y="4144150"/>
                  </a:moveTo>
                  <a:lnTo>
                    <a:pt x="2557947" y="4144151"/>
                  </a:lnTo>
                  <a:lnTo>
                    <a:pt x="2566227" y="4169606"/>
                  </a:lnTo>
                  <a:lnTo>
                    <a:pt x="2566229" y="4169606"/>
                  </a:lnTo>
                  <a:close/>
                  <a:moveTo>
                    <a:pt x="621480" y="4141701"/>
                  </a:moveTo>
                  <a:lnTo>
                    <a:pt x="621480" y="4141702"/>
                  </a:lnTo>
                  <a:lnTo>
                    <a:pt x="657550" y="4189157"/>
                  </a:lnTo>
                  <a:lnTo>
                    <a:pt x="662699" y="4188418"/>
                  </a:lnTo>
                  <a:close/>
                  <a:moveTo>
                    <a:pt x="7771259" y="4141592"/>
                  </a:moveTo>
                  <a:lnTo>
                    <a:pt x="7771621" y="4154069"/>
                  </a:lnTo>
                  <a:lnTo>
                    <a:pt x="7771741" y="4154168"/>
                  </a:lnTo>
                  <a:close/>
                  <a:moveTo>
                    <a:pt x="5249043" y="4141169"/>
                  </a:moveTo>
                  <a:lnTo>
                    <a:pt x="5248924" y="4142418"/>
                  </a:lnTo>
                  <a:lnTo>
                    <a:pt x="5249831" y="4142560"/>
                  </a:lnTo>
                  <a:close/>
                  <a:moveTo>
                    <a:pt x="4312455" y="4138468"/>
                  </a:moveTo>
                  <a:lnTo>
                    <a:pt x="4368051" y="4162564"/>
                  </a:lnTo>
                  <a:lnTo>
                    <a:pt x="4368918" y="4162202"/>
                  </a:lnTo>
                  <a:lnTo>
                    <a:pt x="4368050" y="4162563"/>
                  </a:lnTo>
                  <a:close/>
                  <a:moveTo>
                    <a:pt x="3215884" y="4135058"/>
                  </a:moveTo>
                  <a:lnTo>
                    <a:pt x="3215886" y="4135058"/>
                  </a:lnTo>
                  <a:lnTo>
                    <a:pt x="3215885" y="4135059"/>
                  </a:lnTo>
                  <a:close/>
                  <a:moveTo>
                    <a:pt x="3215884" y="4135056"/>
                  </a:moveTo>
                  <a:lnTo>
                    <a:pt x="3215883" y="4135064"/>
                  </a:lnTo>
                  <a:lnTo>
                    <a:pt x="3215885" y="4135059"/>
                  </a:lnTo>
                  <a:lnTo>
                    <a:pt x="3230031" y="4150862"/>
                  </a:lnTo>
                  <a:lnTo>
                    <a:pt x="3244019" y="4143245"/>
                  </a:lnTo>
                  <a:lnTo>
                    <a:pt x="3244018" y="4143243"/>
                  </a:lnTo>
                  <a:lnTo>
                    <a:pt x="3230031" y="4150861"/>
                  </a:lnTo>
                  <a:lnTo>
                    <a:pt x="3215886" y="4135058"/>
                  </a:lnTo>
                  <a:close/>
                  <a:moveTo>
                    <a:pt x="2891183" y="4132482"/>
                  </a:moveTo>
                  <a:lnTo>
                    <a:pt x="2891183" y="4132483"/>
                  </a:lnTo>
                  <a:lnTo>
                    <a:pt x="2912571" y="4139002"/>
                  </a:lnTo>
                  <a:lnTo>
                    <a:pt x="2912573" y="4139001"/>
                  </a:lnTo>
                  <a:close/>
                  <a:moveTo>
                    <a:pt x="7200916" y="4132112"/>
                  </a:moveTo>
                  <a:lnTo>
                    <a:pt x="7186911" y="4167399"/>
                  </a:lnTo>
                  <a:lnTo>
                    <a:pt x="7185052" y="4257950"/>
                  </a:lnTo>
                  <a:lnTo>
                    <a:pt x="7185053" y="4257948"/>
                  </a:lnTo>
                  <a:lnTo>
                    <a:pt x="7186913" y="4167397"/>
                  </a:lnTo>
                  <a:close/>
                  <a:moveTo>
                    <a:pt x="588170" y="4127686"/>
                  </a:moveTo>
                  <a:lnTo>
                    <a:pt x="538203" y="4128371"/>
                  </a:lnTo>
                  <a:lnTo>
                    <a:pt x="548802" y="4133905"/>
                  </a:lnTo>
                  <a:lnTo>
                    <a:pt x="588168" y="4127734"/>
                  </a:lnTo>
                  <a:close/>
                  <a:moveTo>
                    <a:pt x="4285838" y="4126932"/>
                  </a:moveTo>
                  <a:lnTo>
                    <a:pt x="4252365" y="4139971"/>
                  </a:lnTo>
                  <a:lnTo>
                    <a:pt x="4252510" y="4140040"/>
                  </a:lnTo>
                  <a:lnTo>
                    <a:pt x="4285841" y="4126933"/>
                  </a:lnTo>
                  <a:close/>
                  <a:moveTo>
                    <a:pt x="7856609" y="4125378"/>
                  </a:moveTo>
                  <a:lnTo>
                    <a:pt x="7849352" y="4128131"/>
                  </a:lnTo>
                  <a:lnTo>
                    <a:pt x="7856770" y="4125455"/>
                  </a:lnTo>
                  <a:close/>
                  <a:moveTo>
                    <a:pt x="4468380" y="4120853"/>
                  </a:moveTo>
                  <a:lnTo>
                    <a:pt x="4460213" y="4124249"/>
                  </a:lnTo>
                  <a:lnTo>
                    <a:pt x="4474006" y="4149503"/>
                  </a:lnTo>
                  <a:close/>
                  <a:moveTo>
                    <a:pt x="9004891" y="4120105"/>
                  </a:moveTo>
                  <a:lnTo>
                    <a:pt x="9008455" y="4122666"/>
                  </a:lnTo>
                  <a:lnTo>
                    <a:pt x="9005172" y="4120155"/>
                  </a:lnTo>
                  <a:close/>
                  <a:moveTo>
                    <a:pt x="2945001" y="4119647"/>
                  </a:moveTo>
                  <a:lnTo>
                    <a:pt x="2944996" y="4119650"/>
                  </a:lnTo>
                  <a:lnTo>
                    <a:pt x="2970175" y="4144663"/>
                  </a:lnTo>
                  <a:lnTo>
                    <a:pt x="2970177" y="4144658"/>
                  </a:lnTo>
                  <a:close/>
                  <a:moveTo>
                    <a:pt x="7562070" y="4117493"/>
                  </a:moveTo>
                  <a:lnTo>
                    <a:pt x="7559266" y="4119596"/>
                  </a:lnTo>
                  <a:lnTo>
                    <a:pt x="7560159" y="4123287"/>
                  </a:lnTo>
                  <a:close/>
                  <a:moveTo>
                    <a:pt x="526956" y="4116056"/>
                  </a:moveTo>
                  <a:lnTo>
                    <a:pt x="524084" y="4120998"/>
                  </a:lnTo>
                  <a:lnTo>
                    <a:pt x="529558" y="4123856"/>
                  </a:lnTo>
                  <a:close/>
                  <a:moveTo>
                    <a:pt x="6775540" y="4114927"/>
                  </a:moveTo>
                  <a:lnTo>
                    <a:pt x="6775526" y="4114976"/>
                  </a:lnTo>
                  <a:lnTo>
                    <a:pt x="6780495" y="4131985"/>
                  </a:lnTo>
                  <a:close/>
                  <a:moveTo>
                    <a:pt x="7752387" y="4108872"/>
                  </a:moveTo>
                  <a:lnTo>
                    <a:pt x="7752012" y="4109256"/>
                  </a:lnTo>
                  <a:lnTo>
                    <a:pt x="7770136" y="4112275"/>
                  </a:lnTo>
                  <a:lnTo>
                    <a:pt x="7770124" y="4111967"/>
                  </a:lnTo>
                  <a:close/>
                  <a:moveTo>
                    <a:pt x="614544" y="4097869"/>
                  </a:moveTo>
                  <a:lnTo>
                    <a:pt x="614234" y="4103609"/>
                  </a:lnTo>
                  <a:lnTo>
                    <a:pt x="589470" y="4104147"/>
                  </a:lnTo>
                  <a:lnTo>
                    <a:pt x="589451" y="4104579"/>
                  </a:lnTo>
                  <a:lnTo>
                    <a:pt x="589475" y="4104147"/>
                  </a:lnTo>
                  <a:lnTo>
                    <a:pt x="613083" y="4104725"/>
                  </a:lnTo>
                  <a:lnTo>
                    <a:pt x="630628" y="4118614"/>
                  </a:lnTo>
                  <a:close/>
                  <a:moveTo>
                    <a:pt x="4197231" y="4097145"/>
                  </a:moveTo>
                  <a:lnTo>
                    <a:pt x="4204389" y="4116956"/>
                  </a:lnTo>
                  <a:lnTo>
                    <a:pt x="4197572" y="4097235"/>
                  </a:lnTo>
                  <a:close/>
                  <a:moveTo>
                    <a:pt x="7202569" y="4095536"/>
                  </a:moveTo>
                  <a:lnTo>
                    <a:pt x="7202381" y="4095596"/>
                  </a:lnTo>
                  <a:lnTo>
                    <a:pt x="7210477" y="4108019"/>
                  </a:lnTo>
                  <a:lnTo>
                    <a:pt x="7210477" y="4108018"/>
                  </a:lnTo>
                  <a:close/>
                  <a:moveTo>
                    <a:pt x="3266079" y="4089743"/>
                  </a:moveTo>
                  <a:lnTo>
                    <a:pt x="3261663" y="4106766"/>
                  </a:lnTo>
                  <a:lnTo>
                    <a:pt x="3245480" y="4103156"/>
                  </a:lnTo>
                  <a:lnTo>
                    <a:pt x="3245319" y="4107593"/>
                  </a:lnTo>
                  <a:lnTo>
                    <a:pt x="3261663" y="4106767"/>
                  </a:lnTo>
                  <a:lnTo>
                    <a:pt x="3266079" y="4089744"/>
                  </a:lnTo>
                  <a:lnTo>
                    <a:pt x="3302340" y="4103137"/>
                  </a:lnTo>
                  <a:close/>
                  <a:moveTo>
                    <a:pt x="7591535" y="4089176"/>
                  </a:moveTo>
                  <a:lnTo>
                    <a:pt x="7590575" y="4096118"/>
                  </a:lnTo>
                  <a:lnTo>
                    <a:pt x="7590547" y="4096139"/>
                  </a:lnTo>
                  <a:lnTo>
                    <a:pt x="7590581" y="4096120"/>
                  </a:lnTo>
                  <a:close/>
                  <a:moveTo>
                    <a:pt x="2502665" y="4089074"/>
                  </a:moveTo>
                  <a:lnTo>
                    <a:pt x="2515074" y="4121072"/>
                  </a:lnTo>
                  <a:lnTo>
                    <a:pt x="2495117" y="4148312"/>
                  </a:lnTo>
                  <a:lnTo>
                    <a:pt x="2495121" y="4148316"/>
                  </a:lnTo>
                  <a:lnTo>
                    <a:pt x="2515076" y="4121076"/>
                  </a:lnTo>
                  <a:lnTo>
                    <a:pt x="2502670" y="4089081"/>
                  </a:lnTo>
                  <a:close/>
                  <a:moveTo>
                    <a:pt x="8999950" y="4087830"/>
                  </a:moveTo>
                  <a:lnTo>
                    <a:pt x="8999995" y="4088031"/>
                  </a:lnTo>
                  <a:lnTo>
                    <a:pt x="8966465" y="4112390"/>
                  </a:lnTo>
                  <a:lnTo>
                    <a:pt x="8967531" y="4112602"/>
                  </a:lnTo>
                  <a:lnTo>
                    <a:pt x="8999997" y="4088033"/>
                  </a:lnTo>
                  <a:close/>
                  <a:moveTo>
                    <a:pt x="7773750" y="4086939"/>
                  </a:moveTo>
                  <a:lnTo>
                    <a:pt x="7773439" y="4086975"/>
                  </a:lnTo>
                  <a:lnTo>
                    <a:pt x="7773748" y="4086941"/>
                  </a:lnTo>
                  <a:close/>
                  <a:moveTo>
                    <a:pt x="2526327" y="4086210"/>
                  </a:moveTo>
                  <a:lnTo>
                    <a:pt x="2510484" y="4102400"/>
                  </a:lnTo>
                  <a:lnTo>
                    <a:pt x="2510486" y="4102404"/>
                  </a:lnTo>
                  <a:lnTo>
                    <a:pt x="2526332" y="4086213"/>
                  </a:lnTo>
                  <a:close/>
                  <a:moveTo>
                    <a:pt x="979010" y="4084245"/>
                  </a:moveTo>
                  <a:lnTo>
                    <a:pt x="990730" y="4086372"/>
                  </a:lnTo>
                  <a:lnTo>
                    <a:pt x="990730" y="4086371"/>
                  </a:lnTo>
                  <a:close/>
                  <a:moveTo>
                    <a:pt x="4060710" y="4077404"/>
                  </a:moveTo>
                  <a:lnTo>
                    <a:pt x="4060837" y="4136022"/>
                  </a:lnTo>
                  <a:lnTo>
                    <a:pt x="4063609" y="4134507"/>
                  </a:lnTo>
                  <a:close/>
                  <a:moveTo>
                    <a:pt x="5272510" y="4075355"/>
                  </a:moveTo>
                  <a:lnTo>
                    <a:pt x="5252909" y="4100547"/>
                  </a:lnTo>
                  <a:lnTo>
                    <a:pt x="5251468" y="4115690"/>
                  </a:lnTo>
                  <a:lnTo>
                    <a:pt x="5272510" y="4075356"/>
                  </a:lnTo>
                  <a:close/>
                  <a:moveTo>
                    <a:pt x="7726350" y="4069962"/>
                  </a:moveTo>
                  <a:lnTo>
                    <a:pt x="7745743" y="4089979"/>
                  </a:lnTo>
                  <a:lnTo>
                    <a:pt x="7745760" y="4089977"/>
                  </a:lnTo>
                  <a:close/>
                  <a:moveTo>
                    <a:pt x="966954" y="4067895"/>
                  </a:moveTo>
                  <a:lnTo>
                    <a:pt x="949734" y="4076129"/>
                  </a:lnTo>
                  <a:lnTo>
                    <a:pt x="949734" y="4076129"/>
                  </a:lnTo>
                  <a:close/>
                  <a:moveTo>
                    <a:pt x="984174" y="4059661"/>
                  </a:moveTo>
                  <a:lnTo>
                    <a:pt x="981051" y="4071855"/>
                  </a:lnTo>
                  <a:lnTo>
                    <a:pt x="984174" y="4059661"/>
                  </a:lnTo>
                  <a:close/>
                  <a:moveTo>
                    <a:pt x="6815590" y="4059659"/>
                  </a:moveTo>
                  <a:lnTo>
                    <a:pt x="6785872" y="4077475"/>
                  </a:lnTo>
                  <a:lnTo>
                    <a:pt x="6779364" y="4101066"/>
                  </a:lnTo>
                  <a:lnTo>
                    <a:pt x="6785979" y="4077468"/>
                  </a:lnTo>
                  <a:lnTo>
                    <a:pt x="6815878" y="4060023"/>
                  </a:lnTo>
                  <a:close/>
                  <a:moveTo>
                    <a:pt x="616896" y="4054336"/>
                  </a:moveTo>
                  <a:lnTo>
                    <a:pt x="616895" y="4054359"/>
                  </a:lnTo>
                  <a:lnTo>
                    <a:pt x="616901" y="4054338"/>
                  </a:lnTo>
                  <a:close/>
                  <a:moveTo>
                    <a:pt x="927046" y="4053870"/>
                  </a:moveTo>
                  <a:lnTo>
                    <a:pt x="927037" y="4054340"/>
                  </a:lnTo>
                  <a:lnTo>
                    <a:pt x="949710" y="4076106"/>
                  </a:lnTo>
                  <a:close/>
                  <a:moveTo>
                    <a:pt x="7603595" y="4050927"/>
                  </a:moveTo>
                  <a:lnTo>
                    <a:pt x="7596355" y="4054310"/>
                  </a:lnTo>
                  <a:lnTo>
                    <a:pt x="7596331" y="4054484"/>
                  </a:lnTo>
                  <a:close/>
                  <a:moveTo>
                    <a:pt x="1042945" y="4046925"/>
                  </a:moveTo>
                  <a:lnTo>
                    <a:pt x="1008045" y="4047626"/>
                  </a:lnTo>
                  <a:lnTo>
                    <a:pt x="993660" y="4079816"/>
                  </a:lnTo>
                  <a:lnTo>
                    <a:pt x="1008046" y="4047626"/>
                  </a:lnTo>
                  <a:close/>
                  <a:moveTo>
                    <a:pt x="2964964" y="4046593"/>
                  </a:moveTo>
                  <a:lnTo>
                    <a:pt x="2914289" y="4048475"/>
                  </a:lnTo>
                  <a:lnTo>
                    <a:pt x="2914289" y="4048476"/>
                  </a:lnTo>
                  <a:lnTo>
                    <a:pt x="2964967" y="4046595"/>
                  </a:lnTo>
                  <a:close/>
                  <a:moveTo>
                    <a:pt x="4156809" y="4045911"/>
                  </a:moveTo>
                  <a:lnTo>
                    <a:pt x="4134687" y="4080555"/>
                  </a:lnTo>
                  <a:lnTo>
                    <a:pt x="4135272" y="4080708"/>
                  </a:lnTo>
                  <a:close/>
                  <a:moveTo>
                    <a:pt x="665945" y="4043986"/>
                  </a:moveTo>
                  <a:lnTo>
                    <a:pt x="665997" y="4044051"/>
                  </a:lnTo>
                  <a:lnTo>
                    <a:pt x="636353" y="4061949"/>
                  </a:lnTo>
                  <a:lnTo>
                    <a:pt x="636356" y="4061950"/>
                  </a:lnTo>
                  <a:lnTo>
                    <a:pt x="666002" y="4044051"/>
                  </a:lnTo>
                  <a:close/>
                  <a:moveTo>
                    <a:pt x="3028267" y="4040318"/>
                  </a:moveTo>
                  <a:lnTo>
                    <a:pt x="2976772" y="4061499"/>
                  </a:lnTo>
                  <a:lnTo>
                    <a:pt x="2976774" y="4061502"/>
                  </a:lnTo>
                  <a:lnTo>
                    <a:pt x="3028270" y="4040321"/>
                  </a:lnTo>
                  <a:close/>
                  <a:moveTo>
                    <a:pt x="7634037" y="4036703"/>
                  </a:moveTo>
                  <a:lnTo>
                    <a:pt x="7633413" y="4036995"/>
                  </a:lnTo>
                  <a:lnTo>
                    <a:pt x="7704101" y="4047018"/>
                  </a:lnTo>
                  <a:lnTo>
                    <a:pt x="7704010" y="4046924"/>
                  </a:lnTo>
                  <a:close/>
                  <a:moveTo>
                    <a:pt x="1306483" y="4027451"/>
                  </a:moveTo>
                  <a:lnTo>
                    <a:pt x="1311369" y="4030174"/>
                  </a:lnTo>
                  <a:lnTo>
                    <a:pt x="1287297" y="4074511"/>
                  </a:lnTo>
                  <a:lnTo>
                    <a:pt x="1287075" y="4139452"/>
                  </a:lnTo>
                  <a:lnTo>
                    <a:pt x="1294742" y="4141017"/>
                  </a:lnTo>
                  <a:lnTo>
                    <a:pt x="1287076" y="4139452"/>
                  </a:lnTo>
                  <a:lnTo>
                    <a:pt x="1287297" y="4074511"/>
                  </a:lnTo>
                  <a:lnTo>
                    <a:pt x="1311370" y="4030174"/>
                  </a:lnTo>
                  <a:close/>
                  <a:moveTo>
                    <a:pt x="4154838" y="4026206"/>
                  </a:moveTo>
                  <a:lnTo>
                    <a:pt x="4162247" y="4037123"/>
                  </a:lnTo>
                  <a:lnTo>
                    <a:pt x="4162312" y="4037017"/>
                  </a:lnTo>
                  <a:close/>
                  <a:moveTo>
                    <a:pt x="2906360" y="4024202"/>
                  </a:moveTo>
                  <a:lnTo>
                    <a:pt x="2862050" y="4024933"/>
                  </a:lnTo>
                  <a:lnTo>
                    <a:pt x="2862051" y="4024935"/>
                  </a:lnTo>
                  <a:lnTo>
                    <a:pt x="2906360" y="4024203"/>
                  </a:lnTo>
                  <a:close/>
                  <a:moveTo>
                    <a:pt x="3313903" y="4020123"/>
                  </a:moveTo>
                  <a:lnTo>
                    <a:pt x="3306259" y="4074992"/>
                  </a:lnTo>
                  <a:lnTo>
                    <a:pt x="3317408" y="4061465"/>
                  </a:lnTo>
                  <a:close/>
                  <a:moveTo>
                    <a:pt x="4320181" y="4019567"/>
                  </a:moveTo>
                  <a:lnTo>
                    <a:pt x="4320112" y="4019805"/>
                  </a:lnTo>
                  <a:lnTo>
                    <a:pt x="4468143" y="4119643"/>
                  </a:lnTo>
                  <a:lnTo>
                    <a:pt x="4466630" y="4111934"/>
                  </a:lnTo>
                  <a:lnTo>
                    <a:pt x="4526070" y="4083127"/>
                  </a:lnTo>
                  <a:lnTo>
                    <a:pt x="4534341" y="4045843"/>
                  </a:lnTo>
                  <a:lnTo>
                    <a:pt x="4571711" y="4024594"/>
                  </a:lnTo>
                  <a:lnTo>
                    <a:pt x="4563660" y="4025210"/>
                  </a:lnTo>
                  <a:lnTo>
                    <a:pt x="4534341" y="4045843"/>
                  </a:lnTo>
                  <a:lnTo>
                    <a:pt x="4526069" y="4083127"/>
                  </a:lnTo>
                  <a:lnTo>
                    <a:pt x="4466628" y="4111934"/>
                  </a:lnTo>
                  <a:close/>
                  <a:moveTo>
                    <a:pt x="9008290" y="4018618"/>
                  </a:moveTo>
                  <a:lnTo>
                    <a:pt x="8990571" y="4045636"/>
                  </a:lnTo>
                  <a:lnTo>
                    <a:pt x="8990608" y="4045804"/>
                  </a:lnTo>
                  <a:lnTo>
                    <a:pt x="9008998" y="4019037"/>
                  </a:lnTo>
                  <a:close/>
                  <a:moveTo>
                    <a:pt x="903317" y="4014722"/>
                  </a:moveTo>
                  <a:lnTo>
                    <a:pt x="916701" y="4083418"/>
                  </a:lnTo>
                  <a:lnTo>
                    <a:pt x="904375" y="4014828"/>
                  </a:lnTo>
                  <a:close/>
                  <a:moveTo>
                    <a:pt x="2526612" y="4011781"/>
                  </a:moveTo>
                  <a:lnTo>
                    <a:pt x="2505484" y="4073195"/>
                  </a:lnTo>
                  <a:lnTo>
                    <a:pt x="2505487" y="4073197"/>
                  </a:lnTo>
                  <a:lnTo>
                    <a:pt x="2526615" y="4011784"/>
                  </a:lnTo>
                  <a:close/>
                  <a:moveTo>
                    <a:pt x="3528807" y="4005715"/>
                  </a:moveTo>
                  <a:lnTo>
                    <a:pt x="3527890" y="4006642"/>
                  </a:lnTo>
                  <a:lnTo>
                    <a:pt x="3572678" y="4014733"/>
                  </a:lnTo>
                  <a:lnTo>
                    <a:pt x="3570146" y="4044280"/>
                  </a:lnTo>
                  <a:lnTo>
                    <a:pt x="3574638" y="4028232"/>
                  </a:lnTo>
                  <a:lnTo>
                    <a:pt x="3592148" y="4039261"/>
                  </a:lnTo>
                  <a:lnTo>
                    <a:pt x="3592150" y="4039260"/>
                  </a:lnTo>
                  <a:lnTo>
                    <a:pt x="3572680" y="4014733"/>
                  </a:lnTo>
                  <a:close/>
                  <a:moveTo>
                    <a:pt x="7186964" y="4004666"/>
                  </a:moveTo>
                  <a:lnTo>
                    <a:pt x="7227942" y="4016724"/>
                  </a:lnTo>
                  <a:lnTo>
                    <a:pt x="7227981" y="4016386"/>
                  </a:lnTo>
                  <a:close/>
                  <a:moveTo>
                    <a:pt x="4137401" y="4000985"/>
                  </a:moveTo>
                  <a:lnTo>
                    <a:pt x="4060702" y="4073720"/>
                  </a:lnTo>
                  <a:lnTo>
                    <a:pt x="4060702" y="4073804"/>
                  </a:lnTo>
                  <a:lnTo>
                    <a:pt x="4137560" y="4001213"/>
                  </a:lnTo>
                  <a:close/>
                  <a:moveTo>
                    <a:pt x="3455812" y="3990073"/>
                  </a:moveTo>
                  <a:lnTo>
                    <a:pt x="3455810" y="3990074"/>
                  </a:lnTo>
                  <a:lnTo>
                    <a:pt x="3495161" y="4039725"/>
                  </a:lnTo>
                  <a:lnTo>
                    <a:pt x="3495161" y="4039724"/>
                  </a:lnTo>
                  <a:close/>
                  <a:moveTo>
                    <a:pt x="5226312" y="3987541"/>
                  </a:moveTo>
                  <a:lnTo>
                    <a:pt x="5253052" y="3998855"/>
                  </a:lnTo>
                  <a:lnTo>
                    <a:pt x="5250517" y="3988889"/>
                  </a:lnTo>
                  <a:lnTo>
                    <a:pt x="5250455" y="3988910"/>
                  </a:lnTo>
                  <a:close/>
                  <a:moveTo>
                    <a:pt x="1144143" y="3979026"/>
                  </a:moveTo>
                  <a:lnTo>
                    <a:pt x="1121933" y="4008237"/>
                  </a:lnTo>
                  <a:lnTo>
                    <a:pt x="1146402" y="3987155"/>
                  </a:lnTo>
                  <a:close/>
                  <a:moveTo>
                    <a:pt x="846866" y="3976802"/>
                  </a:moveTo>
                  <a:lnTo>
                    <a:pt x="828456" y="3994608"/>
                  </a:lnTo>
                  <a:lnTo>
                    <a:pt x="848212" y="3977757"/>
                  </a:lnTo>
                  <a:close/>
                  <a:moveTo>
                    <a:pt x="1084610" y="3970758"/>
                  </a:moveTo>
                  <a:lnTo>
                    <a:pt x="1084609" y="3970759"/>
                  </a:lnTo>
                  <a:lnTo>
                    <a:pt x="1094387" y="3982891"/>
                  </a:lnTo>
                  <a:lnTo>
                    <a:pt x="1104098" y="3975469"/>
                  </a:lnTo>
                  <a:close/>
                  <a:moveTo>
                    <a:pt x="3614906" y="3968333"/>
                  </a:moveTo>
                  <a:lnTo>
                    <a:pt x="3595267" y="4005089"/>
                  </a:lnTo>
                  <a:lnTo>
                    <a:pt x="3597574" y="4007612"/>
                  </a:lnTo>
                  <a:close/>
                  <a:moveTo>
                    <a:pt x="833818" y="3967542"/>
                  </a:moveTo>
                  <a:lnTo>
                    <a:pt x="806793" y="3979241"/>
                  </a:lnTo>
                  <a:lnTo>
                    <a:pt x="808038" y="3980692"/>
                  </a:lnTo>
                  <a:lnTo>
                    <a:pt x="833819" y="3967543"/>
                  </a:lnTo>
                  <a:close/>
                  <a:moveTo>
                    <a:pt x="1140676" y="3966546"/>
                  </a:moveTo>
                  <a:lnTo>
                    <a:pt x="1135176" y="3971859"/>
                  </a:lnTo>
                  <a:lnTo>
                    <a:pt x="1142363" y="3972620"/>
                  </a:lnTo>
                  <a:close/>
                  <a:moveTo>
                    <a:pt x="7169029" y="3963425"/>
                  </a:moveTo>
                  <a:lnTo>
                    <a:pt x="7169328" y="3963966"/>
                  </a:lnTo>
                  <a:lnTo>
                    <a:pt x="7165822" y="3998445"/>
                  </a:lnTo>
                  <a:lnTo>
                    <a:pt x="7165902" y="3998468"/>
                  </a:lnTo>
                  <a:lnTo>
                    <a:pt x="7169329" y="3963964"/>
                  </a:lnTo>
                  <a:close/>
                  <a:moveTo>
                    <a:pt x="8986610" y="3960819"/>
                  </a:moveTo>
                  <a:lnTo>
                    <a:pt x="8928192" y="3969099"/>
                  </a:lnTo>
                  <a:lnTo>
                    <a:pt x="8931243" y="3970951"/>
                  </a:lnTo>
                  <a:lnTo>
                    <a:pt x="8986613" y="3960820"/>
                  </a:lnTo>
                  <a:close/>
                  <a:moveTo>
                    <a:pt x="1430402" y="3958049"/>
                  </a:moveTo>
                  <a:lnTo>
                    <a:pt x="1433633" y="3962524"/>
                  </a:lnTo>
                  <a:lnTo>
                    <a:pt x="1432436" y="3958050"/>
                  </a:lnTo>
                  <a:close/>
                  <a:moveTo>
                    <a:pt x="1372127" y="3958010"/>
                  </a:moveTo>
                  <a:lnTo>
                    <a:pt x="1379194" y="3961893"/>
                  </a:lnTo>
                  <a:lnTo>
                    <a:pt x="1410548" y="3958035"/>
                  </a:lnTo>
                  <a:close/>
                  <a:moveTo>
                    <a:pt x="10049175" y="3956405"/>
                  </a:moveTo>
                  <a:lnTo>
                    <a:pt x="10130579" y="3989044"/>
                  </a:lnTo>
                  <a:lnTo>
                    <a:pt x="10150587" y="4030255"/>
                  </a:lnTo>
                  <a:lnTo>
                    <a:pt x="10274713" y="4136019"/>
                  </a:lnTo>
                  <a:lnTo>
                    <a:pt x="10329097" y="4242819"/>
                  </a:lnTo>
                  <a:lnTo>
                    <a:pt x="10525080" y="4416571"/>
                  </a:lnTo>
                  <a:lnTo>
                    <a:pt x="10673483" y="4529997"/>
                  </a:lnTo>
                  <a:lnTo>
                    <a:pt x="10737944" y="4550893"/>
                  </a:lnTo>
                  <a:lnTo>
                    <a:pt x="10772886" y="4584089"/>
                  </a:lnTo>
                  <a:lnTo>
                    <a:pt x="10775368" y="4614129"/>
                  </a:lnTo>
                  <a:lnTo>
                    <a:pt x="10750140" y="4636360"/>
                  </a:lnTo>
                  <a:lnTo>
                    <a:pt x="10636275" y="4598722"/>
                  </a:lnTo>
                  <a:lnTo>
                    <a:pt x="10588662" y="4634822"/>
                  </a:lnTo>
                  <a:lnTo>
                    <a:pt x="10661669" y="4825730"/>
                  </a:lnTo>
                  <a:lnTo>
                    <a:pt x="10742699" y="4856123"/>
                  </a:lnTo>
                  <a:lnTo>
                    <a:pt x="10767760" y="4882019"/>
                  </a:lnTo>
                  <a:lnTo>
                    <a:pt x="10820407" y="4881564"/>
                  </a:lnTo>
                  <a:lnTo>
                    <a:pt x="10887759" y="4945263"/>
                  </a:lnTo>
                  <a:lnTo>
                    <a:pt x="10904487" y="5014430"/>
                  </a:lnTo>
                  <a:lnTo>
                    <a:pt x="10891545" y="5040258"/>
                  </a:lnTo>
                  <a:lnTo>
                    <a:pt x="10860000" y="5043521"/>
                  </a:lnTo>
                  <a:lnTo>
                    <a:pt x="10828431" y="5007904"/>
                  </a:lnTo>
                  <a:lnTo>
                    <a:pt x="10795692" y="4996089"/>
                  </a:lnTo>
                  <a:lnTo>
                    <a:pt x="10771409" y="5026682"/>
                  </a:lnTo>
                  <a:lnTo>
                    <a:pt x="10805192" y="5132178"/>
                  </a:lnTo>
                  <a:lnTo>
                    <a:pt x="10745485" y="5156734"/>
                  </a:lnTo>
                  <a:lnTo>
                    <a:pt x="10659305" y="5067187"/>
                  </a:lnTo>
                  <a:lnTo>
                    <a:pt x="10627926" y="4975359"/>
                  </a:lnTo>
                  <a:lnTo>
                    <a:pt x="10574443" y="4913175"/>
                  </a:lnTo>
                  <a:lnTo>
                    <a:pt x="10557425" y="4849181"/>
                  </a:lnTo>
                  <a:lnTo>
                    <a:pt x="10466426" y="4776401"/>
                  </a:lnTo>
                  <a:lnTo>
                    <a:pt x="10423404" y="4660744"/>
                  </a:lnTo>
                  <a:lnTo>
                    <a:pt x="10302155" y="4502138"/>
                  </a:lnTo>
                  <a:lnTo>
                    <a:pt x="10296232" y="4456518"/>
                  </a:lnTo>
                  <a:lnTo>
                    <a:pt x="10250289" y="4424903"/>
                  </a:lnTo>
                  <a:lnTo>
                    <a:pt x="10212415" y="4422302"/>
                  </a:lnTo>
                  <a:lnTo>
                    <a:pt x="10212415" y="4422303"/>
                  </a:lnTo>
                  <a:lnTo>
                    <a:pt x="10089407" y="4190115"/>
                  </a:lnTo>
                  <a:lnTo>
                    <a:pt x="10040173" y="4156897"/>
                  </a:lnTo>
                  <a:lnTo>
                    <a:pt x="10081744" y="4080971"/>
                  </a:lnTo>
                  <a:lnTo>
                    <a:pt x="10018696" y="4049262"/>
                  </a:lnTo>
                  <a:lnTo>
                    <a:pt x="10006036" y="4020910"/>
                  </a:lnTo>
                  <a:close/>
                  <a:moveTo>
                    <a:pt x="2972771" y="3956020"/>
                  </a:moveTo>
                  <a:lnTo>
                    <a:pt x="2981893" y="3982946"/>
                  </a:lnTo>
                  <a:lnTo>
                    <a:pt x="2972772" y="3956020"/>
                  </a:lnTo>
                  <a:close/>
                  <a:moveTo>
                    <a:pt x="3379970" y="3954736"/>
                  </a:moveTo>
                  <a:lnTo>
                    <a:pt x="3379706" y="3954814"/>
                  </a:lnTo>
                  <a:lnTo>
                    <a:pt x="3383616" y="3970860"/>
                  </a:lnTo>
                  <a:lnTo>
                    <a:pt x="3430889" y="3980427"/>
                  </a:lnTo>
                  <a:lnTo>
                    <a:pt x="3436325" y="4000806"/>
                  </a:lnTo>
                  <a:lnTo>
                    <a:pt x="3436327" y="4000805"/>
                  </a:lnTo>
                  <a:lnTo>
                    <a:pt x="3430892" y="3980427"/>
                  </a:lnTo>
                  <a:lnTo>
                    <a:pt x="3383616" y="3970860"/>
                  </a:lnTo>
                  <a:close/>
                  <a:moveTo>
                    <a:pt x="6871640" y="3951640"/>
                  </a:moveTo>
                  <a:lnTo>
                    <a:pt x="6871385" y="3951904"/>
                  </a:lnTo>
                  <a:lnTo>
                    <a:pt x="6879466" y="3974480"/>
                  </a:lnTo>
                  <a:close/>
                  <a:moveTo>
                    <a:pt x="891221" y="3949066"/>
                  </a:moveTo>
                  <a:lnTo>
                    <a:pt x="900703" y="3980809"/>
                  </a:lnTo>
                  <a:lnTo>
                    <a:pt x="928284" y="3992281"/>
                  </a:lnTo>
                  <a:lnTo>
                    <a:pt x="928281" y="3992412"/>
                  </a:lnTo>
                  <a:lnTo>
                    <a:pt x="928284" y="3992281"/>
                  </a:lnTo>
                  <a:lnTo>
                    <a:pt x="900703" y="3980809"/>
                  </a:lnTo>
                  <a:close/>
                  <a:moveTo>
                    <a:pt x="3083269" y="3948940"/>
                  </a:moveTo>
                  <a:lnTo>
                    <a:pt x="3084085" y="3951724"/>
                  </a:lnTo>
                  <a:lnTo>
                    <a:pt x="3089263" y="3952479"/>
                  </a:lnTo>
                  <a:close/>
                  <a:moveTo>
                    <a:pt x="2992942" y="3947267"/>
                  </a:moveTo>
                  <a:lnTo>
                    <a:pt x="2986285" y="3964555"/>
                  </a:lnTo>
                  <a:lnTo>
                    <a:pt x="2992943" y="3947267"/>
                  </a:lnTo>
                  <a:close/>
                  <a:moveTo>
                    <a:pt x="3044041" y="3945884"/>
                  </a:moveTo>
                  <a:lnTo>
                    <a:pt x="3019759" y="3959676"/>
                  </a:lnTo>
                  <a:lnTo>
                    <a:pt x="3044042" y="3945884"/>
                  </a:lnTo>
                  <a:close/>
                  <a:moveTo>
                    <a:pt x="5174718" y="3944656"/>
                  </a:moveTo>
                  <a:lnTo>
                    <a:pt x="5172232" y="3946230"/>
                  </a:lnTo>
                  <a:lnTo>
                    <a:pt x="5198578" y="3949026"/>
                  </a:lnTo>
                  <a:close/>
                  <a:moveTo>
                    <a:pt x="8975189" y="3943328"/>
                  </a:moveTo>
                  <a:lnTo>
                    <a:pt x="8970065" y="3955365"/>
                  </a:lnTo>
                  <a:lnTo>
                    <a:pt x="8970068" y="3955366"/>
                  </a:lnTo>
                  <a:close/>
                  <a:moveTo>
                    <a:pt x="2949285" y="3938445"/>
                  </a:moveTo>
                  <a:lnTo>
                    <a:pt x="2908550" y="3960406"/>
                  </a:lnTo>
                  <a:lnTo>
                    <a:pt x="2949299" y="3940604"/>
                  </a:lnTo>
                  <a:close/>
                  <a:moveTo>
                    <a:pt x="2923262" y="3936783"/>
                  </a:moveTo>
                  <a:lnTo>
                    <a:pt x="2908490" y="3960435"/>
                  </a:lnTo>
                  <a:lnTo>
                    <a:pt x="2908498" y="3960432"/>
                  </a:lnTo>
                  <a:close/>
                  <a:moveTo>
                    <a:pt x="1310794" y="3935329"/>
                  </a:moveTo>
                  <a:lnTo>
                    <a:pt x="1246713" y="3961829"/>
                  </a:lnTo>
                  <a:lnTo>
                    <a:pt x="1226895" y="3941994"/>
                  </a:lnTo>
                  <a:lnTo>
                    <a:pt x="1226895" y="3941995"/>
                  </a:lnTo>
                  <a:lnTo>
                    <a:pt x="1246714" y="3961830"/>
                  </a:lnTo>
                  <a:lnTo>
                    <a:pt x="1282050" y="3948648"/>
                  </a:lnTo>
                  <a:lnTo>
                    <a:pt x="1291352" y="3999959"/>
                  </a:lnTo>
                  <a:lnTo>
                    <a:pt x="1282051" y="3948648"/>
                  </a:lnTo>
                  <a:lnTo>
                    <a:pt x="1310795" y="3935330"/>
                  </a:lnTo>
                  <a:lnTo>
                    <a:pt x="1340727" y="3958253"/>
                  </a:lnTo>
                  <a:lnTo>
                    <a:pt x="1332041" y="3936163"/>
                  </a:lnTo>
                  <a:lnTo>
                    <a:pt x="1331911" y="3936064"/>
                  </a:lnTo>
                  <a:lnTo>
                    <a:pt x="1340726" y="3958252"/>
                  </a:lnTo>
                  <a:close/>
                  <a:moveTo>
                    <a:pt x="5368778" y="3934237"/>
                  </a:moveTo>
                  <a:lnTo>
                    <a:pt x="5368770" y="3934240"/>
                  </a:lnTo>
                  <a:lnTo>
                    <a:pt x="5370234" y="3947800"/>
                  </a:lnTo>
                  <a:lnTo>
                    <a:pt x="5368772" y="3934240"/>
                  </a:lnTo>
                  <a:close/>
                  <a:moveTo>
                    <a:pt x="839828" y="3931225"/>
                  </a:moveTo>
                  <a:lnTo>
                    <a:pt x="855075" y="3947849"/>
                  </a:lnTo>
                  <a:lnTo>
                    <a:pt x="855075" y="3947849"/>
                  </a:lnTo>
                  <a:lnTo>
                    <a:pt x="839828" y="3931225"/>
                  </a:lnTo>
                  <a:close/>
                  <a:moveTo>
                    <a:pt x="4883073" y="3927782"/>
                  </a:moveTo>
                  <a:lnTo>
                    <a:pt x="4883098" y="3927884"/>
                  </a:lnTo>
                  <a:lnTo>
                    <a:pt x="4985867" y="3930932"/>
                  </a:lnTo>
                  <a:close/>
                  <a:moveTo>
                    <a:pt x="3217112" y="3919377"/>
                  </a:moveTo>
                  <a:lnTo>
                    <a:pt x="3245010" y="3942533"/>
                  </a:lnTo>
                  <a:lnTo>
                    <a:pt x="3245011" y="3942533"/>
                  </a:lnTo>
                  <a:close/>
                  <a:moveTo>
                    <a:pt x="2089720" y="3917342"/>
                  </a:moveTo>
                  <a:lnTo>
                    <a:pt x="2090504" y="3918401"/>
                  </a:lnTo>
                  <a:lnTo>
                    <a:pt x="2090500" y="3918410"/>
                  </a:lnTo>
                  <a:lnTo>
                    <a:pt x="2090505" y="3918400"/>
                  </a:lnTo>
                  <a:close/>
                  <a:moveTo>
                    <a:pt x="881739" y="3917323"/>
                  </a:moveTo>
                  <a:lnTo>
                    <a:pt x="865741" y="3935639"/>
                  </a:lnTo>
                  <a:lnTo>
                    <a:pt x="881740" y="3917323"/>
                  </a:lnTo>
                  <a:close/>
                  <a:moveTo>
                    <a:pt x="6905115" y="3917038"/>
                  </a:moveTo>
                  <a:lnTo>
                    <a:pt x="6889234" y="3933455"/>
                  </a:lnTo>
                  <a:lnTo>
                    <a:pt x="6905135" y="3917518"/>
                  </a:lnTo>
                  <a:close/>
                  <a:moveTo>
                    <a:pt x="803092" y="3916747"/>
                  </a:moveTo>
                  <a:lnTo>
                    <a:pt x="802508" y="3917647"/>
                  </a:lnTo>
                  <a:lnTo>
                    <a:pt x="814854" y="3939474"/>
                  </a:lnTo>
                  <a:lnTo>
                    <a:pt x="814854" y="3939474"/>
                  </a:lnTo>
                  <a:close/>
                  <a:moveTo>
                    <a:pt x="1129270" y="3916080"/>
                  </a:moveTo>
                  <a:lnTo>
                    <a:pt x="1100201" y="3940360"/>
                  </a:lnTo>
                  <a:lnTo>
                    <a:pt x="1101698" y="3942140"/>
                  </a:lnTo>
                  <a:lnTo>
                    <a:pt x="1084613" y="3970753"/>
                  </a:lnTo>
                  <a:lnTo>
                    <a:pt x="1129270" y="3916081"/>
                  </a:lnTo>
                  <a:lnTo>
                    <a:pt x="1150148" y="3929713"/>
                  </a:lnTo>
                  <a:lnTo>
                    <a:pt x="1176513" y="3924110"/>
                  </a:lnTo>
                  <a:lnTo>
                    <a:pt x="1191465" y="3949526"/>
                  </a:lnTo>
                  <a:lnTo>
                    <a:pt x="1195541" y="3945100"/>
                  </a:lnTo>
                  <a:lnTo>
                    <a:pt x="1176513" y="3924109"/>
                  </a:lnTo>
                  <a:lnTo>
                    <a:pt x="1150147" y="3929712"/>
                  </a:lnTo>
                  <a:close/>
                  <a:moveTo>
                    <a:pt x="1236698" y="3914976"/>
                  </a:moveTo>
                  <a:lnTo>
                    <a:pt x="1242417" y="3927059"/>
                  </a:lnTo>
                  <a:lnTo>
                    <a:pt x="1242417" y="3927059"/>
                  </a:lnTo>
                  <a:close/>
                  <a:moveTo>
                    <a:pt x="3224625" y="3906156"/>
                  </a:moveTo>
                  <a:lnTo>
                    <a:pt x="3214953" y="3917586"/>
                  </a:lnTo>
                  <a:lnTo>
                    <a:pt x="3214955" y="3917587"/>
                  </a:lnTo>
                  <a:lnTo>
                    <a:pt x="3224627" y="3906156"/>
                  </a:lnTo>
                  <a:close/>
                  <a:moveTo>
                    <a:pt x="3633602" y="3905506"/>
                  </a:moveTo>
                  <a:lnTo>
                    <a:pt x="3639390" y="3922027"/>
                  </a:lnTo>
                  <a:lnTo>
                    <a:pt x="3639417" y="3922002"/>
                  </a:lnTo>
                  <a:close/>
                  <a:moveTo>
                    <a:pt x="1232142" y="3905348"/>
                  </a:moveTo>
                  <a:lnTo>
                    <a:pt x="1232131" y="3905363"/>
                  </a:lnTo>
                  <a:lnTo>
                    <a:pt x="1232143" y="3905349"/>
                  </a:lnTo>
                  <a:close/>
                  <a:moveTo>
                    <a:pt x="688521" y="3904013"/>
                  </a:moveTo>
                  <a:lnTo>
                    <a:pt x="667715" y="3922205"/>
                  </a:lnTo>
                  <a:lnTo>
                    <a:pt x="647737" y="3968118"/>
                  </a:lnTo>
                  <a:lnTo>
                    <a:pt x="670164" y="3984143"/>
                  </a:lnTo>
                  <a:lnTo>
                    <a:pt x="651487" y="4025974"/>
                  </a:lnTo>
                  <a:lnTo>
                    <a:pt x="651908" y="4026499"/>
                  </a:lnTo>
                  <a:lnTo>
                    <a:pt x="670168" y="3984143"/>
                  </a:lnTo>
                  <a:lnTo>
                    <a:pt x="647742" y="3968118"/>
                  </a:lnTo>
                  <a:lnTo>
                    <a:pt x="667721" y="3922205"/>
                  </a:lnTo>
                  <a:lnTo>
                    <a:pt x="688522" y="3904015"/>
                  </a:lnTo>
                  <a:close/>
                  <a:moveTo>
                    <a:pt x="741302" y="3902896"/>
                  </a:moveTo>
                  <a:lnTo>
                    <a:pt x="805055" y="3977214"/>
                  </a:lnTo>
                  <a:lnTo>
                    <a:pt x="785326" y="3944494"/>
                  </a:lnTo>
                  <a:lnTo>
                    <a:pt x="791484" y="3934615"/>
                  </a:lnTo>
                  <a:lnTo>
                    <a:pt x="785134" y="3944388"/>
                  </a:lnTo>
                  <a:close/>
                  <a:moveTo>
                    <a:pt x="3689995" y="3902051"/>
                  </a:moveTo>
                  <a:lnTo>
                    <a:pt x="3690367" y="3919196"/>
                  </a:lnTo>
                  <a:lnTo>
                    <a:pt x="3690369" y="3919195"/>
                  </a:lnTo>
                  <a:lnTo>
                    <a:pt x="3689998" y="3902051"/>
                  </a:lnTo>
                  <a:close/>
                  <a:moveTo>
                    <a:pt x="8957635" y="3901271"/>
                  </a:moveTo>
                  <a:lnTo>
                    <a:pt x="8979043" y="3934267"/>
                  </a:lnTo>
                  <a:lnTo>
                    <a:pt x="8979058" y="3934232"/>
                  </a:lnTo>
                  <a:close/>
                  <a:moveTo>
                    <a:pt x="3182806" y="3899742"/>
                  </a:moveTo>
                  <a:lnTo>
                    <a:pt x="3183367" y="3900338"/>
                  </a:lnTo>
                  <a:lnTo>
                    <a:pt x="3224555" y="3906145"/>
                  </a:lnTo>
                  <a:close/>
                  <a:moveTo>
                    <a:pt x="3071345" y="3899096"/>
                  </a:moveTo>
                  <a:lnTo>
                    <a:pt x="3068119" y="3901820"/>
                  </a:lnTo>
                  <a:lnTo>
                    <a:pt x="3079525" y="3913503"/>
                  </a:lnTo>
                  <a:lnTo>
                    <a:pt x="3058603" y="3934381"/>
                  </a:lnTo>
                  <a:lnTo>
                    <a:pt x="3058605" y="3934381"/>
                  </a:lnTo>
                  <a:lnTo>
                    <a:pt x="3079528" y="3913503"/>
                  </a:lnTo>
                  <a:close/>
                  <a:moveTo>
                    <a:pt x="4862450" y="3892398"/>
                  </a:moveTo>
                  <a:lnTo>
                    <a:pt x="4875012" y="3894505"/>
                  </a:lnTo>
                  <a:lnTo>
                    <a:pt x="4879276" y="3912107"/>
                  </a:lnTo>
                  <a:lnTo>
                    <a:pt x="4876038" y="3894612"/>
                  </a:lnTo>
                  <a:close/>
                  <a:moveTo>
                    <a:pt x="8978156" y="3889344"/>
                  </a:moveTo>
                  <a:lnTo>
                    <a:pt x="8978252" y="3890032"/>
                  </a:lnTo>
                  <a:lnTo>
                    <a:pt x="8978171" y="3890070"/>
                  </a:lnTo>
                  <a:lnTo>
                    <a:pt x="8978253" y="3890032"/>
                  </a:lnTo>
                  <a:close/>
                  <a:moveTo>
                    <a:pt x="7147360" y="3888061"/>
                  </a:moveTo>
                  <a:lnTo>
                    <a:pt x="7139793" y="3910596"/>
                  </a:lnTo>
                  <a:lnTo>
                    <a:pt x="7139905" y="3910798"/>
                  </a:lnTo>
                  <a:close/>
                  <a:moveTo>
                    <a:pt x="2884934" y="3875945"/>
                  </a:moveTo>
                  <a:lnTo>
                    <a:pt x="2911843" y="3881208"/>
                  </a:lnTo>
                  <a:lnTo>
                    <a:pt x="2944943" y="3927762"/>
                  </a:lnTo>
                  <a:lnTo>
                    <a:pt x="2944817" y="3927760"/>
                  </a:lnTo>
                  <a:lnTo>
                    <a:pt x="2944945" y="3927763"/>
                  </a:lnTo>
                  <a:lnTo>
                    <a:pt x="2911846" y="3881208"/>
                  </a:lnTo>
                  <a:close/>
                  <a:moveTo>
                    <a:pt x="4715760" y="3869982"/>
                  </a:moveTo>
                  <a:lnTo>
                    <a:pt x="4707692" y="3889815"/>
                  </a:lnTo>
                  <a:lnTo>
                    <a:pt x="4677634" y="3903750"/>
                  </a:lnTo>
                  <a:lnTo>
                    <a:pt x="4629674" y="4020162"/>
                  </a:lnTo>
                  <a:lnTo>
                    <a:pt x="4629676" y="4020162"/>
                  </a:lnTo>
                  <a:lnTo>
                    <a:pt x="4677724" y="3904130"/>
                  </a:lnTo>
                  <a:lnTo>
                    <a:pt x="4707757" y="3889972"/>
                  </a:lnTo>
                  <a:close/>
                  <a:moveTo>
                    <a:pt x="2258554" y="3867292"/>
                  </a:moveTo>
                  <a:lnTo>
                    <a:pt x="2236671" y="3894590"/>
                  </a:lnTo>
                  <a:lnTo>
                    <a:pt x="2216300" y="3882464"/>
                  </a:lnTo>
                  <a:lnTo>
                    <a:pt x="2201991" y="3911027"/>
                  </a:lnTo>
                  <a:lnTo>
                    <a:pt x="2182732" y="3907940"/>
                  </a:lnTo>
                  <a:lnTo>
                    <a:pt x="2154716" y="3944625"/>
                  </a:lnTo>
                  <a:lnTo>
                    <a:pt x="2080401" y="3941573"/>
                  </a:lnTo>
                  <a:lnTo>
                    <a:pt x="2154716" y="3944626"/>
                  </a:lnTo>
                  <a:lnTo>
                    <a:pt x="2182732" y="3907941"/>
                  </a:lnTo>
                  <a:lnTo>
                    <a:pt x="2201991" y="3911028"/>
                  </a:lnTo>
                  <a:lnTo>
                    <a:pt x="2216300" y="3882465"/>
                  </a:lnTo>
                  <a:lnTo>
                    <a:pt x="2236671" y="3894591"/>
                  </a:lnTo>
                  <a:lnTo>
                    <a:pt x="2258554" y="3867293"/>
                  </a:lnTo>
                  <a:lnTo>
                    <a:pt x="2311802" y="3868313"/>
                  </a:lnTo>
                  <a:close/>
                  <a:moveTo>
                    <a:pt x="2075591" y="3865420"/>
                  </a:moveTo>
                  <a:lnTo>
                    <a:pt x="2058602" y="3875334"/>
                  </a:lnTo>
                  <a:lnTo>
                    <a:pt x="2058802" y="3875604"/>
                  </a:lnTo>
                  <a:close/>
                  <a:moveTo>
                    <a:pt x="769193" y="3853027"/>
                  </a:moveTo>
                  <a:lnTo>
                    <a:pt x="746835" y="3871267"/>
                  </a:lnTo>
                  <a:lnTo>
                    <a:pt x="727030" y="3932001"/>
                  </a:lnTo>
                  <a:lnTo>
                    <a:pt x="709559" y="3932223"/>
                  </a:lnTo>
                  <a:lnTo>
                    <a:pt x="727035" y="3932001"/>
                  </a:lnTo>
                  <a:lnTo>
                    <a:pt x="741275" y="3902870"/>
                  </a:lnTo>
                  <a:lnTo>
                    <a:pt x="741271" y="3902867"/>
                  </a:lnTo>
                  <a:lnTo>
                    <a:pt x="746834" y="3871268"/>
                  </a:lnTo>
                  <a:lnTo>
                    <a:pt x="769193" y="3853027"/>
                  </a:lnTo>
                  <a:close/>
                  <a:moveTo>
                    <a:pt x="5313182" y="3851645"/>
                  </a:moveTo>
                  <a:lnTo>
                    <a:pt x="5313200" y="3851973"/>
                  </a:lnTo>
                  <a:lnTo>
                    <a:pt x="5390668" y="3902662"/>
                  </a:lnTo>
                  <a:lnTo>
                    <a:pt x="5394909" y="3922588"/>
                  </a:lnTo>
                  <a:lnTo>
                    <a:pt x="5396995" y="3921658"/>
                  </a:lnTo>
                  <a:lnTo>
                    <a:pt x="5390668" y="3902662"/>
                  </a:lnTo>
                  <a:lnTo>
                    <a:pt x="5313203" y="3851973"/>
                  </a:lnTo>
                  <a:close/>
                  <a:moveTo>
                    <a:pt x="3096722" y="3845096"/>
                  </a:moveTo>
                  <a:lnTo>
                    <a:pt x="3073788" y="3856240"/>
                  </a:lnTo>
                  <a:lnTo>
                    <a:pt x="3093897" y="3848074"/>
                  </a:lnTo>
                  <a:lnTo>
                    <a:pt x="3114280" y="3862838"/>
                  </a:lnTo>
                  <a:lnTo>
                    <a:pt x="3114245" y="3862867"/>
                  </a:lnTo>
                  <a:lnTo>
                    <a:pt x="3114282" y="3862838"/>
                  </a:lnTo>
                  <a:close/>
                  <a:moveTo>
                    <a:pt x="748267" y="3842667"/>
                  </a:moveTo>
                  <a:lnTo>
                    <a:pt x="756568" y="3854873"/>
                  </a:lnTo>
                  <a:lnTo>
                    <a:pt x="769192" y="3853026"/>
                  </a:lnTo>
                  <a:close/>
                  <a:moveTo>
                    <a:pt x="4727324" y="3841559"/>
                  </a:moveTo>
                  <a:lnTo>
                    <a:pt x="4727267" y="3841697"/>
                  </a:lnTo>
                  <a:lnTo>
                    <a:pt x="4749705" y="3856673"/>
                  </a:lnTo>
                  <a:close/>
                  <a:moveTo>
                    <a:pt x="3114167" y="3836620"/>
                  </a:moveTo>
                  <a:lnTo>
                    <a:pt x="3097345" y="3844793"/>
                  </a:lnTo>
                  <a:lnTo>
                    <a:pt x="3105625" y="3850152"/>
                  </a:lnTo>
                  <a:close/>
                  <a:moveTo>
                    <a:pt x="3122967" y="3832344"/>
                  </a:moveTo>
                  <a:lnTo>
                    <a:pt x="3120538" y="3833524"/>
                  </a:lnTo>
                  <a:lnTo>
                    <a:pt x="3179289" y="3896001"/>
                  </a:lnTo>
                  <a:close/>
                  <a:moveTo>
                    <a:pt x="7152798" y="3826570"/>
                  </a:moveTo>
                  <a:lnTo>
                    <a:pt x="7120013" y="3833023"/>
                  </a:lnTo>
                  <a:lnTo>
                    <a:pt x="7120098" y="3833128"/>
                  </a:lnTo>
                  <a:lnTo>
                    <a:pt x="7152797" y="3826572"/>
                  </a:lnTo>
                  <a:lnTo>
                    <a:pt x="7161539" y="3844821"/>
                  </a:lnTo>
                  <a:lnTo>
                    <a:pt x="7161620" y="3844573"/>
                  </a:lnTo>
                  <a:close/>
                  <a:moveTo>
                    <a:pt x="6925719" y="3825802"/>
                  </a:moveTo>
                  <a:lnTo>
                    <a:pt x="6924662" y="3844323"/>
                  </a:lnTo>
                  <a:lnTo>
                    <a:pt x="6924755" y="3844247"/>
                  </a:lnTo>
                  <a:close/>
                  <a:moveTo>
                    <a:pt x="3059575" y="3824378"/>
                  </a:moveTo>
                  <a:lnTo>
                    <a:pt x="3073762" y="3856250"/>
                  </a:lnTo>
                  <a:lnTo>
                    <a:pt x="3073764" y="3856249"/>
                  </a:lnTo>
                  <a:lnTo>
                    <a:pt x="3059578" y="3824378"/>
                  </a:lnTo>
                  <a:close/>
                  <a:moveTo>
                    <a:pt x="2507814" y="3819033"/>
                  </a:moveTo>
                  <a:lnTo>
                    <a:pt x="2502424" y="3827338"/>
                  </a:lnTo>
                  <a:lnTo>
                    <a:pt x="2485089" y="3829965"/>
                  </a:lnTo>
                  <a:lnTo>
                    <a:pt x="2485088" y="3829967"/>
                  </a:lnTo>
                  <a:lnTo>
                    <a:pt x="2503017" y="3828253"/>
                  </a:lnTo>
                  <a:lnTo>
                    <a:pt x="2483780" y="3872623"/>
                  </a:lnTo>
                  <a:lnTo>
                    <a:pt x="2485926" y="3946304"/>
                  </a:lnTo>
                  <a:lnTo>
                    <a:pt x="2485930" y="3946309"/>
                  </a:lnTo>
                  <a:lnTo>
                    <a:pt x="2483783" y="3872628"/>
                  </a:lnTo>
                  <a:close/>
                  <a:moveTo>
                    <a:pt x="2351014" y="3811237"/>
                  </a:moveTo>
                  <a:lnTo>
                    <a:pt x="2346225" y="3813725"/>
                  </a:lnTo>
                  <a:lnTo>
                    <a:pt x="2345751" y="3818900"/>
                  </a:lnTo>
                  <a:close/>
                  <a:moveTo>
                    <a:pt x="3866546" y="3803613"/>
                  </a:moveTo>
                  <a:lnTo>
                    <a:pt x="3996103" y="3812163"/>
                  </a:lnTo>
                  <a:lnTo>
                    <a:pt x="4000976" y="3808091"/>
                  </a:lnTo>
                  <a:close/>
                  <a:moveTo>
                    <a:pt x="2471935" y="3801494"/>
                  </a:moveTo>
                  <a:lnTo>
                    <a:pt x="2471935" y="3801495"/>
                  </a:lnTo>
                  <a:lnTo>
                    <a:pt x="2488985" y="3805478"/>
                  </a:lnTo>
                  <a:lnTo>
                    <a:pt x="2488985" y="3805477"/>
                  </a:lnTo>
                  <a:close/>
                  <a:moveTo>
                    <a:pt x="4187382" y="3799626"/>
                  </a:moveTo>
                  <a:lnTo>
                    <a:pt x="4187383" y="3799629"/>
                  </a:lnTo>
                  <a:lnTo>
                    <a:pt x="4247646" y="3814789"/>
                  </a:lnTo>
                  <a:lnTo>
                    <a:pt x="4245921" y="3834157"/>
                  </a:lnTo>
                  <a:lnTo>
                    <a:pt x="4290073" y="3896765"/>
                  </a:lnTo>
                  <a:lnTo>
                    <a:pt x="4299358" y="3965235"/>
                  </a:lnTo>
                  <a:lnTo>
                    <a:pt x="4331195" y="3982007"/>
                  </a:lnTo>
                  <a:lnTo>
                    <a:pt x="4331168" y="3982098"/>
                  </a:lnTo>
                  <a:lnTo>
                    <a:pt x="4331196" y="3982007"/>
                  </a:lnTo>
                  <a:lnTo>
                    <a:pt x="4299360" y="3965235"/>
                  </a:lnTo>
                  <a:lnTo>
                    <a:pt x="4290074" y="3896766"/>
                  </a:lnTo>
                  <a:lnTo>
                    <a:pt x="4245923" y="3834158"/>
                  </a:lnTo>
                  <a:lnTo>
                    <a:pt x="4247647" y="3814789"/>
                  </a:lnTo>
                  <a:close/>
                  <a:moveTo>
                    <a:pt x="3767677" y="3798405"/>
                  </a:moveTo>
                  <a:lnTo>
                    <a:pt x="3785504" y="3815604"/>
                  </a:lnTo>
                  <a:lnTo>
                    <a:pt x="3785504" y="3815605"/>
                  </a:lnTo>
                  <a:lnTo>
                    <a:pt x="3790267" y="3817530"/>
                  </a:lnTo>
                  <a:close/>
                  <a:moveTo>
                    <a:pt x="721692" y="3797213"/>
                  </a:moveTo>
                  <a:lnTo>
                    <a:pt x="719563" y="3800460"/>
                  </a:lnTo>
                  <a:lnTo>
                    <a:pt x="734128" y="3821877"/>
                  </a:lnTo>
                  <a:close/>
                  <a:moveTo>
                    <a:pt x="2055941" y="3793261"/>
                  </a:moveTo>
                  <a:lnTo>
                    <a:pt x="2049334" y="3833778"/>
                  </a:lnTo>
                  <a:lnTo>
                    <a:pt x="2075610" y="3865408"/>
                  </a:lnTo>
                  <a:lnTo>
                    <a:pt x="2075611" y="3865407"/>
                  </a:lnTo>
                  <a:lnTo>
                    <a:pt x="2049335" y="3833778"/>
                  </a:lnTo>
                  <a:lnTo>
                    <a:pt x="2055942" y="3793261"/>
                  </a:lnTo>
                  <a:close/>
                  <a:moveTo>
                    <a:pt x="6887994" y="3790063"/>
                  </a:moveTo>
                  <a:lnTo>
                    <a:pt x="6901240" y="3815048"/>
                  </a:lnTo>
                  <a:lnTo>
                    <a:pt x="6901411" y="3815114"/>
                  </a:lnTo>
                  <a:close/>
                  <a:moveTo>
                    <a:pt x="2983216" y="3788604"/>
                  </a:moveTo>
                  <a:lnTo>
                    <a:pt x="2983180" y="3788769"/>
                  </a:lnTo>
                  <a:lnTo>
                    <a:pt x="2983559" y="3788844"/>
                  </a:lnTo>
                  <a:close/>
                  <a:moveTo>
                    <a:pt x="2479396" y="3775604"/>
                  </a:moveTo>
                  <a:lnTo>
                    <a:pt x="2471975" y="3801361"/>
                  </a:lnTo>
                  <a:lnTo>
                    <a:pt x="2479447" y="3775630"/>
                  </a:lnTo>
                  <a:close/>
                  <a:moveTo>
                    <a:pt x="2038793" y="3770127"/>
                  </a:moveTo>
                  <a:lnTo>
                    <a:pt x="2034405" y="3776844"/>
                  </a:lnTo>
                  <a:lnTo>
                    <a:pt x="2039601" y="3794624"/>
                  </a:lnTo>
                  <a:close/>
                  <a:moveTo>
                    <a:pt x="2499193" y="3766589"/>
                  </a:moveTo>
                  <a:lnTo>
                    <a:pt x="2495001" y="3783626"/>
                  </a:lnTo>
                  <a:lnTo>
                    <a:pt x="2495065" y="3783660"/>
                  </a:lnTo>
                  <a:close/>
                  <a:moveTo>
                    <a:pt x="2499322" y="3766051"/>
                  </a:moveTo>
                  <a:lnTo>
                    <a:pt x="2482351" y="3767023"/>
                  </a:lnTo>
                  <a:lnTo>
                    <a:pt x="2484611" y="3771616"/>
                  </a:lnTo>
                  <a:lnTo>
                    <a:pt x="2499322" y="3766053"/>
                  </a:lnTo>
                  <a:close/>
                  <a:moveTo>
                    <a:pt x="1042344" y="3753512"/>
                  </a:moveTo>
                  <a:lnTo>
                    <a:pt x="1042044" y="3753726"/>
                  </a:lnTo>
                  <a:lnTo>
                    <a:pt x="1077454" y="3793214"/>
                  </a:lnTo>
                  <a:lnTo>
                    <a:pt x="1077454" y="3793213"/>
                  </a:lnTo>
                  <a:close/>
                  <a:moveTo>
                    <a:pt x="2936729" y="3749835"/>
                  </a:moveTo>
                  <a:lnTo>
                    <a:pt x="2936774" y="3752761"/>
                  </a:lnTo>
                  <a:lnTo>
                    <a:pt x="2943253" y="3752012"/>
                  </a:lnTo>
                  <a:close/>
                  <a:moveTo>
                    <a:pt x="6889949" y="3749032"/>
                  </a:moveTo>
                  <a:lnTo>
                    <a:pt x="6870279" y="3756648"/>
                  </a:lnTo>
                  <a:lnTo>
                    <a:pt x="6870534" y="3757129"/>
                  </a:lnTo>
                  <a:lnTo>
                    <a:pt x="6889959" y="3749279"/>
                  </a:lnTo>
                  <a:close/>
                  <a:moveTo>
                    <a:pt x="8999476" y="3739074"/>
                  </a:moveTo>
                  <a:lnTo>
                    <a:pt x="8964386" y="3790952"/>
                  </a:lnTo>
                  <a:lnTo>
                    <a:pt x="8964404" y="3791079"/>
                  </a:lnTo>
                  <a:lnTo>
                    <a:pt x="8999476" y="3739075"/>
                  </a:lnTo>
                  <a:lnTo>
                    <a:pt x="9000993" y="3739850"/>
                  </a:lnTo>
                  <a:close/>
                  <a:moveTo>
                    <a:pt x="2436210" y="3738702"/>
                  </a:moveTo>
                  <a:lnTo>
                    <a:pt x="2426166" y="3746793"/>
                  </a:lnTo>
                  <a:lnTo>
                    <a:pt x="2426482" y="3748705"/>
                  </a:lnTo>
                  <a:close/>
                  <a:moveTo>
                    <a:pt x="1617940" y="3736016"/>
                  </a:moveTo>
                  <a:lnTo>
                    <a:pt x="1617935" y="3736017"/>
                  </a:lnTo>
                  <a:lnTo>
                    <a:pt x="1625651" y="3763345"/>
                  </a:lnTo>
                  <a:lnTo>
                    <a:pt x="1608448" y="3776807"/>
                  </a:lnTo>
                  <a:lnTo>
                    <a:pt x="1624057" y="3791568"/>
                  </a:lnTo>
                  <a:lnTo>
                    <a:pt x="1624378" y="3791627"/>
                  </a:lnTo>
                  <a:lnTo>
                    <a:pt x="1624061" y="3791567"/>
                  </a:lnTo>
                  <a:lnTo>
                    <a:pt x="1608452" y="3776806"/>
                  </a:lnTo>
                  <a:lnTo>
                    <a:pt x="1625655" y="3763344"/>
                  </a:lnTo>
                  <a:close/>
                  <a:moveTo>
                    <a:pt x="2443363" y="3732940"/>
                  </a:moveTo>
                  <a:lnTo>
                    <a:pt x="2441907" y="3734113"/>
                  </a:lnTo>
                  <a:lnTo>
                    <a:pt x="2452006" y="3735970"/>
                  </a:lnTo>
                  <a:close/>
                  <a:moveTo>
                    <a:pt x="2594563" y="3731076"/>
                  </a:moveTo>
                  <a:lnTo>
                    <a:pt x="2594570" y="3731113"/>
                  </a:lnTo>
                  <a:lnTo>
                    <a:pt x="2545726" y="3760622"/>
                  </a:lnTo>
                  <a:lnTo>
                    <a:pt x="2538757" y="3771359"/>
                  </a:lnTo>
                  <a:lnTo>
                    <a:pt x="2594573" y="3731119"/>
                  </a:lnTo>
                  <a:close/>
                  <a:moveTo>
                    <a:pt x="9039460" y="3727107"/>
                  </a:moveTo>
                  <a:lnTo>
                    <a:pt x="9039269" y="3727108"/>
                  </a:lnTo>
                  <a:lnTo>
                    <a:pt x="9013553" y="3746267"/>
                  </a:lnTo>
                  <a:lnTo>
                    <a:pt x="9013586" y="3746284"/>
                  </a:lnTo>
                  <a:close/>
                  <a:moveTo>
                    <a:pt x="2469393" y="3724843"/>
                  </a:moveTo>
                  <a:lnTo>
                    <a:pt x="2464270" y="3738224"/>
                  </a:lnTo>
                  <a:lnTo>
                    <a:pt x="2468579" y="3739016"/>
                  </a:lnTo>
                  <a:lnTo>
                    <a:pt x="2478240" y="3758660"/>
                  </a:lnTo>
                  <a:close/>
                  <a:moveTo>
                    <a:pt x="5278156" y="3722163"/>
                  </a:moveTo>
                  <a:lnTo>
                    <a:pt x="5251321" y="3728238"/>
                  </a:lnTo>
                  <a:lnTo>
                    <a:pt x="5278156" y="3722164"/>
                  </a:lnTo>
                  <a:close/>
                  <a:moveTo>
                    <a:pt x="2016612" y="3718834"/>
                  </a:moveTo>
                  <a:lnTo>
                    <a:pt x="2008311" y="3748641"/>
                  </a:lnTo>
                  <a:lnTo>
                    <a:pt x="2038455" y="3759869"/>
                  </a:lnTo>
                  <a:lnTo>
                    <a:pt x="2038331" y="3756145"/>
                  </a:lnTo>
                  <a:lnTo>
                    <a:pt x="2008311" y="3748641"/>
                  </a:lnTo>
                  <a:close/>
                  <a:moveTo>
                    <a:pt x="2428943" y="3714352"/>
                  </a:moveTo>
                  <a:lnTo>
                    <a:pt x="2428943" y="3714353"/>
                  </a:lnTo>
                  <a:lnTo>
                    <a:pt x="2468511" y="3721471"/>
                  </a:lnTo>
                  <a:lnTo>
                    <a:pt x="2467087" y="3716027"/>
                  </a:lnTo>
                  <a:close/>
                  <a:moveTo>
                    <a:pt x="6888391" y="3712827"/>
                  </a:moveTo>
                  <a:lnTo>
                    <a:pt x="6888391" y="3712828"/>
                  </a:lnTo>
                  <a:lnTo>
                    <a:pt x="6902984" y="3718155"/>
                  </a:lnTo>
                  <a:lnTo>
                    <a:pt x="6902985" y="3718153"/>
                  </a:lnTo>
                  <a:close/>
                  <a:moveTo>
                    <a:pt x="9090943" y="3707151"/>
                  </a:moveTo>
                  <a:lnTo>
                    <a:pt x="9090859" y="3707157"/>
                  </a:lnTo>
                  <a:lnTo>
                    <a:pt x="9080360" y="3726776"/>
                  </a:lnTo>
                  <a:lnTo>
                    <a:pt x="9080525" y="3726775"/>
                  </a:lnTo>
                  <a:close/>
                  <a:moveTo>
                    <a:pt x="3024507" y="3705113"/>
                  </a:moveTo>
                  <a:lnTo>
                    <a:pt x="3024506" y="3705123"/>
                  </a:lnTo>
                  <a:lnTo>
                    <a:pt x="3024501" y="3705129"/>
                  </a:lnTo>
                  <a:lnTo>
                    <a:pt x="3024507" y="3705124"/>
                  </a:lnTo>
                  <a:close/>
                  <a:moveTo>
                    <a:pt x="9130882" y="3704228"/>
                  </a:moveTo>
                  <a:lnTo>
                    <a:pt x="9094983" y="3706855"/>
                  </a:lnTo>
                  <a:lnTo>
                    <a:pt x="9130866" y="3704451"/>
                  </a:lnTo>
                  <a:close/>
                  <a:moveTo>
                    <a:pt x="2894661" y="3686624"/>
                  </a:moveTo>
                  <a:lnTo>
                    <a:pt x="2894652" y="3686888"/>
                  </a:lnTo>
                  <a:lnTo>
                    <a:pt x="2935908" y="3696092"/>
                  </a:lnTo>
                  <a:close/>
                  <a:moveTo>
                    <a:pt x="7096552" y="3686007"/>
                  </a:moveTo>
                  <a:lnTo>
                    <a:pt x="7096958" y="3686431"/>
                  </a:lnTo>
                  <a:lnTo>
                    <a:pt x="7127482" y="3765876"/>
                  </a:lnTo>
                  <a:lnTo>
                    <a:pt x="7102591" y="3811500"/>
                  </a:lnTo>
                  <a:lnTo>
                    <a:pt x="7103637" y="3812792"/>
                  </a:lnTo>
                  <a:lnTo>
                    <a:pt x="7102743" y="3811655"/>
                  </a:lnTo>
                  <a:lnTo>
                    <a:pt x="7127649" y="3766011"/>
                  </a:lnTo>
                  <a:lnTo>
                    <a:pt x="7096959" y="3686429"/>
                  </a:lnTo>
                  <a:close/>
                  <a:moveTo>
                    <a:pt x="6889433" y="3683545"/>
                  </a:moveTo>
                  <a:lnTo>
                    <a:pt x="6889243" y="3684126"/>
                  </a:lnTo>
                  <a:lnTo>
                    <a:pt x="6909796" y="3704669"/>
                  </a:lnTo>
                  <a:close/>
                  <a:moveTo>
                    <a:pt x="5419328" y="3673581"/>
                  </a:moveTo>
                  <a:lnTo>
                    <a:pt x="5414580" y="3685095"/>
                  </a:lnTo>
                  <a:lnTo>
                    <a:pt x="5420228" y="3679501"/>
                  </a:lnTo>
                  <a:close/>
                  <a:moveTo>
                    <a:pt x="2711210" y="3666758"/>
                  </a:moveTo>
                  <a:lnTo>
                    <a:pt x="2621762" y="3691497"/>
                  </a:lnTo>
                  <a:lnTo>
                    <a:pt x="2585132" y="3672370"/>
                  </a:lnTo>
                  <a:lnTo>
                    <a:pt x="2586021" y="3677900"/>
                  </a:lnTo>
                  <a:lnTo>
                    <a:pt x="2621763" y="3691498"/>
                  </a:lnTo>
                  <a:lnTo>
                    <a:pt x="2711420" y="3667933"/>
                  </a:lnTo>
                  <a:close/>
                  <a:moveTo>
                    <a:pt x="705010" y="3661769"/>
                  </a:moveTo>
                  <a:lnTo>
                    <a:pt x="679046" y="3675295"/>
                  </a:lnTo>
                  <a:lnTo>
                    <a:pt x="679072" y="3675336"/>
                  </a:lnTo>
                  <a:close/>
                  <a:moveTo>
                    <a:pt x="5171728" y="3656749"/>
                  </a:moveTo>
                  <a:lnTo>
                    <a:pt x="5138412" y="3665374"/>
                  </a:lnTo>
                  <a:lnTo>
                    <a:pt x="5138412" y="3665375"/>
                  </a:lnTo>
                  <a:lnTo>
                    <a:pt x="5171729" y="3656750"/>
                  </a:lnTo>
                  <a:close/>
                  <a:moveTo>
                    <a:pt x="2895816" y="3656691"/>
                  </a:moveTo>
                  <a:lnTo>
                    <a:pt x="2894822" y="3682474"/>
                  </a:lnTo>
                  <a:lnTo>
                    <a:pt x="2897836" y="3657255"/>
                  </a:lnTo>
                  <a:close/>
                  <a:moveTo>
                    <a:pt x="653818" y="3654321"/>
                  </a:moveTo>
                  <a:lnTo>
                    <a:pt x="652303" y="3655598"/>
                  </a:lnTo>
                  <a:lnTo>
                    <a:pt x="653940" y="3654423"/>
                  </a:lnTo>
                  <a:close/>
                  <a:moveTo>
                    <a:pt x="1993187" y="3653816"/>
                  </a:moveTo>
                  <a:lnTo>
                    <a:pt x="2018873" y="3671775"/>
                  </a:lnTo>
                  <a:lnTo>
                    <a:pt x="1996969" y="3680445"/>
                  </a:lnTo>
                  <a:lnTo>
                    <a:pt x="2019117" y="3709846"/>
                  </a:lnTo>
                  <a:lnTo>
                    <a:pt x="2019117" y="3709845"/>
                  </a:lnTo>
                  <a:lnTo>
                    <a:pt x="1996970" y="3680445"/>
                  </a:lnTo>
                  <a:lnTo>
                    <a:pt x="2033643" y="3674370"/>
                  </a:lnTo>
                  <a:close/>
                  <a:moveTo>
                    <a:pt x="1929380" y="3644445"/>
                  </a:moveTo>
                  <a:lnTo>
                    <a:pt x="1944518" y="3656128"/>
                  </a:lnTo>
                  <a:lnTo>
                    <a:pt x="1957122" y="3648951"/>
                  </a:lnTo>
                  <a:lnTo>
                    <a:pt x="1943230" y="3655124"/>
                  </a:lnTo>
                  <a:close/>
                  <a:moveTo>
                    <a:pt x="2421718" y="3643483"/>
                  </a:moveTo>
                  <a:lnTo>
                    <a:pt x="2437845" y="3679953"/>
                  </a:lnTo>
                  <a:lnTo>
                    <a:pt x="2421959" y="3643493"/>
                  </a:lnTo>
                  <a:close/>
                  <a:moveTo>
                    <a:pt x="1970043" y="3643209"/>
                  </a:moveTo>
                  <a:lnTo>
                    <a:pt x="1967897" y="3644162"/>
                  </a:lnTo>
                  <a:lnTo>
                    <a:pt x="1966911" y="3660799"/>
                  </a:lnTo>
                  <a:lnTo>
                    <a:pt x="1966912" y="3660799"/>
                  </a:lnTo>
                  <a:close/>
                  <a:moveTo>
                    <a:pt x="1175489" y="3642930"/>
                  </a:moveTo>
                  <a:lnTo>
                    <a:pt x="1192350" y="3660277"/>
                  </a:lnTo>
                  <a:lnTo>
                    <a:pt x="1192350" y="3660276"/>
                  </a:lnTo>
                  <a:close/>
                  <a:moveTo>
                    <a:pt x="2235969" y="3638142"/>
                  </a:moveTo>
                  <a:lnTo>
                    <a:pt x="2234567" y="3653026"/>
                  </a:lnTo>
                  <a:lnTo>
                    <a:pt x="2235971" y="3638142"/>
                  </a:lnTo>
                  <a:close/>
                  <a:moveTo>
                    <a:pt x="2038635" y="3637126"/>
                  </a:moveTo>
                  <a:lnTo>
                    <a:pt x="2036686" y="3673866"/>
                  </a:lnTo>
                  <a:lnTo>
                    <a:pt x="2038596" y="3673550"/>
                  </a:lnTo>
                  <a:close/>
                  <a:moveTo>
                    <a:pt x="2413755" y="3632963"/>
                  </a:moveTo>
                  <a:lnTo>
                    <a:pt x="2405173" y="3642308"/>
                  </a:lnTo>
                  <a:lnTo>
                    <a:pt x="2406198" y="3642380"/>
                  </a:lnTo>
                  <a:close/>
                  <a:moveTo>
                    <a:pt x="9136236" y="3631126"/>
                  </a:moveTo>
                  <a:lnTo>
                    <a:pt x="9135810" y="3631221"/>
                  </a:lnTo>
                  <a:lnTo>
                    <a:pt x="9132873" y="3677045"/>
                  </a:lnTo>
                  <a:close/>
                  <a:moveTo>
                    <a:pt x="688002" y="3629962"/>
                  </a:moveTo>
                  <a:lnTo>
                    <a:pt x="687995" y="3629967"/>
                  </a:lnTo>
                  <a:lnTo>
                    <a:pt x="688002" y="3629963"/>
                  </a:lnTo>
                  <a:close/>
                  <a:moveTo>
                    <a:pt x="5420772" y="3627258"/>
                  </a:moveTo>
                  <a:lnTo>
                    <a:pt x="5435570" y="3631616"/>
                  </a:lnTo>
                  <a:lnTo>
                    <a:pt x="5436238" y="3630757"/>
                  </a:lnTo>
                  <a:close/>
                  <a:moveTo>
                    <a:pt x="2022672" y="3626288"/>
                  </a:moveTo>
                  <a:lnTo>
                    <a:pt x="2030743" y="3631748"/>
                  </a:lnTo>
                  <a:lnTo>
                    <a:pt x="2022673" y="3626288"/>
                  </a:lnTo>
                  <a:close/>
                  <a:moveTo>
                    <a:pt x="2375689" y="3625381"/>
                  </a:moveTo>
                  <a:lnTo>
                    <a:pt x="2414469" y="3632072"/>
                  </a:lnTo>
                  <a:lnTo>
                    <a:pt x="2414501" y="3632033"/>
                  </a:lnTo>
                  <a:close/>
                  <a:moveTo>
                    <a:pt x="2375531" y="3625354"/>
                  </a:moveTo>
                  <a:lnTo>
                    <a:pt x="2350826" y="3646685"/>
                  </a:lnTo>
                  <a:lnTo>
                    <a:pt x="2350826" y="3646686"/>
                  </a:lnTo>
                  <a:lnTo>
                    <a:pt x="2375533" y="3625354"/>
                  </a:lnTo>
                  <a:close/>
                  <a:moveTo>
                    <a:pt x="7011431" y="3623430"/>
                  </a:moveTo>
                  <a:lnTo>
                    <a:pt x="7004013" y="3661868"/>
                  </a:lnTo>
                  <a:lnTo>
                    <a:pt x="7070024" y="3658518"/>
                  </a:lnTo>
                  <a:lnTo>
                    <a:pt x="7069999" y="3658492"/>
                  </a:lnTo>
                  <a:lnTo>
                    <a:pt x="7004014" y="3661866"/>
                  </a:lnTo>
                  <a:lnTo>
                    <a:pt x="7011433" y="3623430"/>
                  </a:lnTo>
                  <a:close/>
                  <a:moveTo>
                    <a:pt x="6949502" y="3622783"/>
                  </a:moveTo>
                  <a:lnTo>
                    <a:pt x="6949078" y="3623000"/>
                  </a:lnTo>
                  <a:lnTo>
                    <a:pt x="6949237" y="3623053"/>
                  </a:lnTo>
                  <a:close/>
                  <a:moveTo>
                    <a:pt x="6902394" y="3621536"/>
                  </a:moveTo>
                  <a:lnTo>
                    <a:pt x="6906407" y="3631280"/>
                  </a:lnTo>
                  <a:lnTo>
                    <a:pt x="6906487" y="3631039"/>
                  </a:lnTo>
                  <a:close/>
                  <a:moveTo>
                    <a:pt x="4926318" y="3620571"/>
                  </a:moveTo>
                  <a:lnTo>
                    <a:pt x="4875252" y="3626905"/>
                  </a:lnTo>
                  <a:lnTo>
                    <a:pt x="4926318" y="3620571"/>
                  </a:lnTo>
                  <a:close/>
                  <a:moveTo>
                    <a:pt x="3703087" y="3620061"/>
                  </a:moveTo>
                  <a:lnTo>
                    <a:pt x="3774757" y="3686791"/>
                  </a:lnTo>
                  <a:lnTo>
                    <a:pt x="3774772" y="3686549"/>
                  </a:lnTo>
                  <a:close/>
                  <a:moveTo>
                    <a:pt x="2290539" y="3617036"/>
                  </a:moveTo>
                  <a:lnTo>
                    <a:pt x="2265445" y="3640026"/>
                  </a:lnTo>
                  <a:lnTo>
                    <a:pt x="2265446" y="3640026"/>
                  </a:lnTo>
                  <a:lnTo>
                    <a:pt x="2289277" y="3619874"/>
                  </a:lnTo>
                  <a:close/>
                  <a:moveTo>
                    <a:pt x="2728628" y="3614215"/>
                  </a:moveTo>
                  <a:lnTo>
                    <a:pt x="2727716" y="3614417"/>
                  </a:lnTo>
                  <a:lnTo>
                    <a:pt x="2727934" y="3614500"/>
                  </a:lnTo>
                  <a:close/>
                  <a:moveTo>
                    <a:pt x="3148179" y="3613539"/>
                  </a:moveTo>
                  <a:lnTo>
                    <a:pt x="3101495" y="3687727"/>
                  </a:lnTo>
                  <a:lnTo>
                    <a:pt x="3029710" y="3669320"/>
                  </a:lnTo>
                  <a:lnTo>
                    <a:pt x="3029208" y="3672773"/>
                  </a:lnTo>
                  <a:lnTo>
                    <a:pt x="3101495" y="3687728"/>
                  </a:lnTo>
                  <a:close/>
                  <a:moveTo>
                    <a:pt x="2700501" y="3606623"/>
                  </a:moveTo>
                  <a:lnTo>
                    <a:pt x="2694923" y="3608321"/>
                  </a:lnTo>
                  <a:lnTo>
                    <a:pt x="2696672" y="3609193"/>
                  </a:lnTo>
                  <a:lnTo>
                    <a:pt x="2707412" y="3645429"/>
                  </a:lnTo>
                  <a:close/>
                  <a:moveTo>
                    <a:pt x="6895555" y="3604932"/>
                  </a:moveTo>
                  <a:lnTo>
                    <a:pt x="6895625" y="3605101"/>
                  </a:lnTo>
                  <a:lnTo>
                    <a:pt x="6924741" y="3614851"/>
                  </a:lnTo>
                  <a:close/>
                  <a:moveTo>
                    <a:pt x="2151068" y="3604639"/>
                  </a:moveTo>
                  <a:lnTo>
                    <a:pt x="2151041" y="3604656"/>
                  </a:lnTo>
                  <a:lnTo>
                    <a:pt x="2151042" y="3604656"/>
                  </a:lnTo>
                  <a:close/>
                  <a:moveTo>
                    <a:pt x="2717030" y="3601592"/>
                  </a:moveTo>
                  <a:lnTo>
                    <a:pt x="2704248" y="3605483"/>
                  </a:lnTo>
                  <a:lnTo>
                    <a:pt x="2724125" y="3613050"/>
                  </a:lnTo>
                  <a:close/>
                  <a:moveTo>
                    <a:pt x="2326323" y="3595027"/>
                  </a:moveTo>
                  <a:lnTo>
                    <a:pt x="2318459" y="3622175"/>
                  </a:lnTo>
                  <a:lnTo>
                    <a:pt x="2319644" y="3622403"/>
                  </a:lnTo>
                  <a:close/>
                  <a:moveTo>
                    <a:pt x="1888723" y="3593699"/>
                  </a:moveTo>
                  <a:lnTo>
                    <a:pt x="1893977" y="3617019"/>
                  </a:lnTo>
                  <a:lnTo>
                    <a:pt x="1900227" y="3600535"/>
                  </a:lnTo>
                  <a:close/>
                  <a:moveTo>
                    <a:pt x="7008025" y="3592799"/>
                  </a:moveTo>
                  <a:lnTo>
                    <a:pt x="6996034" y="3598942"/>
                  </a:lnTo>
                  <a:lnTo>
                    <a:pt x="7008883" y="3598008"/>
                  </a:lnTo>
                  <a:close/>
                  <a:moveTo>
                    <a:pt x="1243013" y="3590100"/>
                  </a:moveTo>
                  <a:lnTo>
                    <a:pt x="1169733" y="3636890"/>
                  </a:lnTo>
                  <a:lnTo>
                    <a:pt x="1243015" y="3591927"/>
                  </a:lnTo>
                  <a:close/>
                  <a:moveTo>
                    <a:pt x="2660438" y="3589781"/>
                  </a:moveTo>
                  <a:lnTo>
                    <a:pt x="2659037" y="3590430"/>
                  </a:lnTo>
                  <a:lnTo>
                    <a:pt x="2660278" y="3591049"/>
                  </a:lnTo>
                  <a:close/>
                  <a:moveTo>
                    <a:pt x="2176388" y="3588845"/>
                  </a:moveTo>
                  <a:lnTo>
                    <a:pt x="2176186" y="3588970"/>
                  </a:lnTo>
                  <a:lnTo>
                    <a:pt x="2234252" y="3654371"/>
                  </a:lnTo>
                  <a:close/>
                  <a:moveTo>
                    <a:pt x="5396821" y="3587489"/>
                  </a:moveTo>
                  <a:lnTo>
                    <a:pt x="5396802" y="3587495"/>
                  </a:lnTo>
                  <a:lnTo>
                    <a:pt x="5416918" y="3626123"/>
                  </a:lnTo>
                  <a:lnTo>
                    <a:pt x="5417019" y="3626153"/>
                  </a:lnTo>
                  <a:close/>
                  <a:moveTo>
                    <a:pt x="1898769" y="3587044"/>
                  </a:moveTo>
                  <a:lnTo>
                    <a:pt x="1887384" y="3587758"/>
                  </a:lnTo>
                  <a:lnTo>
                    <a:pt x="1888049" y="3590707"/>
                  </a:lnTo>
                  <a:close/>
                  <a:moveTo>
                    <a:pt x="5082340" y="3583538"/>
                  </a:moveTo>
                  <a:lnTo>
                    <a:pt x="5016574" y="3616753"/>
                  </a:lnTo>
                  <a:lnTo>
                    <a:pt x="5002781" y="3642829"/>
                  </a:lnTo>
                  <a:lnTo>
                    <a:pt x="5002783" y="3642830"/>
                  </a:lnTo>
                  <a:lnTo>
                    <a:pt x="5016576" y="3616752"/>
                  </a:lnTo>
                  <a:lnTo>
                    <a:pt x="5082341" y="3583538"/>
                  </a:lnTo>
                  <a:close/>
                  <a:moveTo>
                    <a:pt x="2813563" y="3579387"/>
                  </a:moveTo>
                  <a:lnTo>
                    <a:pt x="2813562" y="3579388"/>
                  </a:lnTo>
                  <a:lnTo>
                    <a:pt x="2833806" y="3639396"/>
                  </a:lnTo>
                  <a:lnTo>
                    <a:pt x="2833823" y="3639400"/>
                  </a:lnTo>
                  <a:lnTo>
                    <a:pt x="2833807" y="3639396"/>
                  </a:lnTo>
                  <a:close/>
                  <a:moveTo>
                    <a:pt x="888090" y="3576974"/>
                  </a:moveTo>
                  <a:lnTo>
                    <a:pt x="874248" y="3587584"/>
                  </a:lnTo>
                  <a:lnTo>
                    <a:pt x="888090" y="3576974"/>
                  </a:lnTo>
                  <a:close/>
                  <a:moveTo>
                    <a:pt x="1554788" y="3575396"/>
                  </a:moveTo>
                  <a:lnTo>
                    <a:pt x="1554785" y="3575398"/>
                  </a:lnTo>
                  <a:lnTo>
                    <a:pt x="1601541" y="3634244"/>
                  </a:lnTo>
                  <a:lnTo>
                    <a:pt x="1594707" y="3686552"/>
                  </a:lnTo>
                  <a:lnTo>
                    <a:pt x="1553603" y="3709950"/>
                  </a:lnTo>
                  <a:lnTo>
                    <a:pt x="1587113" y="3745232"/>
                  </a:lnTo>
                  <a:lnTo>
                    <a:pt x="1587117" y="3745231"/>
                  </a:lnTo>
                  <a:lnTo>
                    <a:pt x="1553607" y="3709950"/>
                  </a:lnTo>
                  <a:lnTo>
                    <a:pt x="1594711" y="3686552"/>
                  </a:lnTo>
                  <a:lnTo>
                    <a:pt x="1601547" y="3634244"/>
                  </a:lnTo>
                  <a:close/>
                  <a:moveTo>
                    <a:pt x="2060864" y="3572557"/>
                  </a:moveTo>
                  <a:lnTo>
                    <a:pt x="2054434" y="3574613"/>
                  </a:lnTo>
                  <a:lnTo>
                    <a:pt x="2060864" y="3572557"/>
                  </a:lnTo>
                  <a:close/>
                  <a:moveTo>
                    <a:pt x="9248130" y="3568156"/>
                  </a:moveTo>
                  <a:lnTo>
                    <a:pt x="9223687" y="3611449"/>
                  </a:lnTo>
                  <a:lnTo>
                    <a:pt x="9223866" y="3611410"/>
                  </a:lnTo>
                  <a:close/>
                  <a:moveTo>
                    <a:pt x="7002168" y="3566307"/>
                  </a:moveTo>
                  <a:lnTo>
                    <a:pt x="7004489" y="3571331"/>
                  </a:lnTo>
                  <a:lnTo>
                    <a:pt x="7003718" y="3566653"/>
                  </a:lnTo>
                  <a:close/>
                  <a:moveTo>
                    <a:pt x="1882179" y="3564666"/>
                  </a:moveTo>
                  <a:lnTo>
                    <a:pt x="1882613" y="3566589"/>
                  </a:lnTo>
                  <a:lnTo>
                    <a:pt x="1882724" y="3564932"/>
                  </a:lnTo>
                  <a:close/>
                  <a:moveTo>
                    <a:pt x="6993633" y="3564405"/>
                  </a:moveTo>
                  <a:lnTo>
                    <a:pt x="6982565" y="3574243"/>
                  </a:lnTo>
                  <a:lnTo>
                    <a:pt x="6982567" y="3574245"/>
                  </a:lnTo>
                  <a:lnTo>
                    <a:pt x="6995458" y="3564812"/>
                  </a:lnTo>
                  <a:close/>
                  <a:moveTo>
                    <a:pt x="6955844" y="3557617"/>
                  </a:moveTo>
                  <a:lnTo>
                    <a:pt x="6937844" y="3565018"/>
                  </a:lnTo>
                  <a:lnTo>
                    <a:pt x="6940109" y="3566519"/>
                  </a:lnTo>
                  <a:close/>
                  <a:moveTo>
                    <a:pt x="6957730" y="3556841"/>
                  </a:moveTo>
                  <a:lnTo>
                    <a:pt x="6957536" y="3556921"/>
                  </a:lnTo>
                  <a:lnTo>
                    <a:pt x="6982437" y="3574155"/>
                  </a:lnTo>
                  <a:close/>
                  <a:moveTo>
                    <a:pt x="924380" y="3554578"/>
                  </a:moveTo>
                  <a:lnTo>
                    <a:pt x="929980" y="3574426"/>
                  </a:lnTo>
                  <a:lnTo>
                    <a:pt x="920034" y="3575031"/>
                  </a:lnTo>
                  <a:lnTo>
                    <a:pt x="929984" y="3574426"/>
                  </a:lnTo>
                  <a:lnTo>
                    <a:pt x="924384" y="3554578"/>
                  </a:lnTo>
                  <a:close/>
                  <a:moveTo>
                    <a:pt x="1856378" y="3552096"/>
                  </a:moveTo>
                  <a:lnTo>
                    <a:pt x="1849019" y="3553347"/>
                  </a:lnTo>
                  <a:lnTo>
                    <a:pt x="1880815" y="3564002"/>
                  </a:lnTo>
                  <a:close/>
                  <a:moveTo>
                    <a:pt x="2700651" y="3549571"/>
                  </a:moveTo>
                  <a:lnTo>
                    <a:pt x="2716969" y="3563611"/>
                  </a:lnTo>
                  <a:lnTo>
                    <a:pt x="2675576" y="3582773"/>
                  </a:lnTo>
                  <a:lnTo>
                    <a:pt x="2688615" y="3583809"/>
                  </a:lnTo>
                  <a:lnTo>
                    <a:pt x="2716970" y="3563612"/>
                  </a:lnTo>
                  <a:close/>
                  <a:moveTo>
                    <a:pt x="7010958" y="3549006"/>
                  </a:moveTo>
                  <a:lnTo>
                    <a:pt x="7010800" y="3549147"/>
                  </a:lnTo>
                  <a:lnTo>
                    <a:pt x="7045142" y="3615580"/>
                  </a:lnTo>
                  <a:lnTo>
                    <a:pt x="7045143" y="3615580"/>
                  </a:lnTo>
                  <a:lnTo>
                    <a:pt x="7022717" y="3557988"/>
                  </a:lnTo>
                  <a:close/>
                  <a:moveTo>
                    <a:pt x="2672056" y="3548925"/>
                  </a:moveTo>
                  <a:lnTo>
                    <a:pt x="2671920" y="3549425"/>
                  </a:lnTo>
                  <a:lnTo>
                    <a:pt x="2683647" y="3572128"/>
                  </a:lnTo>
                  <a:lnTo>
                    <a:pt x="2683648" y="3572125"/>
                  </a:lnTo>
                  <a:lnTo>
                    <a:pt x="2671921" y="3549426"/>
                  </a:lnTo>
                  <a:close/>
                  <a:moveTo>
                    <a:pt x="827687" y="3547257"/>
                  </a:moveTo>
                  <a:lnTo>
                    <a:pt x="827260" y="3550204"/>
                  </a:lnTo>
                  <a:lnTo>
                    <a:pt x="862485" y="3596555"/>
                  </a:lnTo>
                  <a:lnTo>
                    <a:pt x="827688" y="3547258"/>
                  </a:lnTo>
                  <a:close/>
                  <a:moveTo>
                    <a:pt x="2789249" y="3541946"/>
                  </a:moveTo>
                  <a:lnTo>
                    <a:pt x="2777066" y="3594353"/>
                  </a:lnTo>
                  <a:lnTo>
                    <a:pt x="2786946" y="3590301"/>
                  </a:lnTo>
                  <a:close/>
                  <a:moveTo>
                    <a:pt x="2280616" y="3541934"/>
                  </a:moveTo>
                  <a:lnTo>
                    <a:pt x="2308401" y="3576885"/>
                  </a:lnTo>
                  <a:lnTo>
                    <a:pt x="2308402" y="3576884"/>
                  </a:lnTo>
                  <a:lnTo>
                    <a:pt x="2326321" y="3594999"/>
                  </a:lnTo>
                  <a:close/>
                  <a:moveTo>
                    <a:pt x="1797024" y="3534395"/>
                  </a:moveTo>
                  <a:lnTo>
                    <a:pt x="1804620" y="3560893"/>
                  </a:lnTo>
                  <a:lnTo>
                    <a:pt x="1804621" y="3560893"/>
                  </a:lnTo>
                  <a:close/>
                  <a:moveTo>
                    <a:pt x="2769439" y="3533374"/>
                  </a:moveTo>
                  <a:lnTo>
                    <a:pt x="2789286" y="3541143"/>
                  </a:lnTo>
                  <a:lnTo>
                    <a:pt x="2789322" y="3540425"/>
                  </a:lnTo>
                  <a:close/>
                  <a:moveTo>
                    <a:pt x="6844646" y="3531857"/>
                  </a:moveTo>
                  <a:lnTo>
                    <a:pt x="6835503" y="3536495"/>
                  </a:lnTo>
                  <a:lnTo>
                    <a:pt x="6854110" y="3550586"/>
                  </a:lnTo>
                  <a:lnTo>
                    <a:pt x="6856160" y="3548978"/>
                  </a:lnTo>
                  <a:close/>
                  <a:moveTo>
                    <a:pt x="2648159" y="3530419"/>
                  </a:moveTo>
                  <a:lnTo>
                    <a:pt x="2648157" y="3530422"/>
                  </a:lnTo>
                  <a:lnTo>
                    <a:pt x="2652247" y="3543678"/>
                  </a:lnTo>
                  <a:lnTo>
                    <a:pt x="2652250" y="3543676"/>
                  </a:lnTo>
                  <a:close/>
                  <a:moveTo>
                    <a:pt x="6882118" y="3528203"/>
                  </a:moveTo>
                  <a:lnTo>
                    <a:pt x="6878166" y="3531705"/>
                  </a:lnTo>
                  <a:lnTo>
                    <a:pt x="6882392" y="3528389"/>
                  </a:lnTo>
                  <a:close/>
                  <a:moveTo>
                    <a:pt x="9249732" y="3521640"/>
                  </a:moveTo>
                  <a:lnTo>
                    <a:pt x="9249021" y="3522518"/>
                  </a:lnTo>
                  <a:lnTo>
                    <a:pt x="9256541" y="3553163"/>
                  </a:lnTo>
                  <a:lnTo>
                    <a:pt x="9256665" y="3552941"/>
                  </a:lnTo>
                  <a:close/>
                  <a:moveTo>
                    <a:pt x="804180" y="3519835"/>
                  </a:moveTo>
                  <a:lnTo>
                    <a:pt x="777800" y="3532483"/>
                  </a:lnTo>
                  <a:lnTo>
                    <a:pt x="777800" y="3532483"/>
                  </a:lnTo>
                  <a:close/>
                  <a:moveTo>
                    <a:pt x="1972931" y="3513788"/>
                  </a:moveTo>
                  <a:lnTo>
                    <a:pt x="1917067" y="3580792"/>
                  </a:lnTo>
                  <a:lnTo>
                    <a:pt x="1919860" y="3579838"/>
                  </a:lnTo>
                  <a:close/>
                  <a:moveTo>
                    <a:pt x="2613369" y="3508798"/>
                  </a:moveTo>
                  <a:lnTo>
                    <a:pt x="2613368" y="3508799"/>
                  </a:lnTo>
                  <a:lnTo>
                    <a:pt x="2637452" y="3549926"/>
                  </a:lnTo>
                  <a:lnTo>
                    <a:pt x="2637452" y="3549925"/>
                  </a:lnTo>
                  <a:close/>
                  <a:moveTo>
                    <a:pt x="2583180" y="3505951"/>
                  </a:moveTo>
                  <a:lnTo>
                    <a:pt x="2588480" y="3527470"/>
                  </a:lnTo>
                  <a:lnTo>
                    <a:pt x="2588483" y="3527468"/>
                  </a:lnTo>
                  <a:lnTo>
                    <a:pt x="2583182" y="3505951"/>
                  </a:lnTo>
                  <a:close/>
                  <a:moveTo>
                    <a:pt x="2787934" y="3504196"/>
                  </a:moveTo>
                  <a:lnTo>
                    <a:pt x="2787934" y="3504197"/>
                  </a:lnTo>
                  <a:lnTo>
                    <a:pt x="2797699" y="3523468"/>
                  </a:lnTo>
                  <a:lnTo>
                    <a:pt x="2797699" y="3523467"/>
                  </a:lnTo>
                  <a:close/>
                  <a:moveTo>
                    <a:pt x="1749832" y="3503303"/>
                  </a:moveTo>
                  <a:lnTo>
                    <a:pt x="1767452" y="3526754"/>
                  </a:lnTo>
                  <a:lnTo>
                    <a:pt x="1794705" y="3527302"/>
                  </a:lnTo>
                  <a:lnTo>
                    <a:pt x="1767431" y="3526662"/>
                  </a:lnTo>
                  <a:lnTo>
                    <a:pt x="1749833" y="3503303"/>
                  </a:lnTo>
                  <a:close/>
                  <a:moveTo>
                    <a:pt x="2827024" y="3502172"/>
                  </a:moveTo>
                  <a:lnTo>
                    <a:pt x="2851137" y="3509816"/>
                  </a:lnTo>
                  <a:lnTo>
                    <a:pt x="2851137" y="3509815"/>
                  </a:lnTo>
                  <a:close/>
                  <a:moveTo>
                    <a:pt x="984611" y="3497189"/>
                  </a:moveTo>
                  <a:lnTo>
                    <a:pt x="957725" y="3505500"/>
                  </a:lnTo>
                  <a:lnTo>
                    <a:pt x="942998" y="3509949"/>
                  </a:lnTo>
                  <a:lnTo>
                    <a:pt x="955550" y="3528696"/>
                  </a:lnTo>
                  <a:lnTo>
                    <a:pt x="937861" y="3554333"/>
                  </a:lnTo>
                  <a:lnTo>
                    <a:pt x="924386" y="3554578"/>
                  </a:lnTo>
                  <a:lnTo>
                    <a:pt x="936809" y="3558360"/>
                  </a:lnTo>
                  <a:lnTo>
                    <a:pt x="955554" y="3528695"/>
                  </a:lnTo>
                  <a:lnTo>
                    <a:pt x="947822" y="3509854"/>
                  </a:lnTo>
                  <a:close/>
                  <a:moveTo>
                    <a:pt x="9270945" y="3495411"/>
                  </a:moveTo>
                  <a:lnTo>
                    <a:pt x="9269409" y="3497310"/>
                  </a:lnTo>
                  <a:lnTo>
                    <a:pt x="9270946" y="3495413"/>
                  </a:lnTo>
                  <a:close/>
                  <a:moveTo>
                    <a:pt x="2567791" y="3495240"/>
                  </a:moveTo>
                  <a:lnTo>
                    <a:pt x="2561436" y="3508931"/>
                  </a:lnTo>
                  <a:lnTo>
                    <a:pt x="2561438" y="3508931"/>
                  </a:lnTo>
                  <a:lnTo>
                    <a:pt x="2568283" y="3495389"/>
                  </a:lnTo>
                  <a:close/>
                  <a:moveTo>
                    <a:pt x="2702516" y="3495178"/>
                  </a:moveTo>
                  <a:lnTo>
                    <a:pt x="2689921" y="3507658"/>
                  </a:lnTo>
                  <a:lnTo>
                    <a:pt x="2694091" y="3507601"/>
                  </a:lnTo>
                  <a:close/>
                  <a:moveTo>
                    <a:pt x="2704631" y="3493080"/>
                  </a:moveTo>
                  <a:lnTo>
                    <a:pt x="2704450" y="3493261"/>
                  </a:lnTo>
                  <a:lnTo>
                    <a:pt x="2715566" y="3505479"/>
                  </a:lnTo>
                  <a:lnTo>
                    <a:pt x="2678872" y="3523982"/>
                  </a:lnTo>
                  <a:lnTo>
                    <a:pt x="2678760" y="3524396"/>
                  </a:lnTo>
                  <a:lnTo>
                    <a:pt x="2715569" y="3505481"/>
                  </a:lnTo>
                  <a:close/>
                  <a:moveTo>
                    <a:pt x="1199346" y="3481789"/>
                  </a:moveTo>
                  <a:lnTo>
                    <a:pt x="1199344" y="3481790"/>
                  </a:lnTo>
                  <a:lnTo>
                    <a:pt x="1235538" y="3489968"/>
                  </a:lnTo>
                  <a:lnTo>
                    <a:pt x="1235539" y="3489967"/>
                  </a:lnTo>
                  <a:close/>
                  <a:moveTo>
                    <a:pt x="6832406" y="3476931"/>
                  </a:moveTo>
                  <a:lnTo>
                    <a:pt x="6823079" y="3527088"/>
                  </a:lnTo>
                  <a:lnTo>
                    <a:pt x="6827956" y="3530781"/>
                  </a:lnTo>
                  <a:close/>
                  <a:moveTo>
                    <a:pt x="597577" y="3473732"/>
                  </a:moveTo>
                  <a:lnTo>
                    <a:pt x="597577" y="3473732"/>
                  </a:lnTo>
                  <a:lnTo>
                    <a:pt x="610660" y="3474875"/>
                  </a:lnTo>
                  <a:lnTo>
                    <a:pt x="610661" y="3474875"/>
                  </a:lnTo>
                  <a:close/>
                  <a:moveTo>
                    <a:pt x="1256071" y="3472712"/>
                  </a:moveTo>
                  <a:lnTo>
                    <a:pt x="1238674" y="3474318"/>
                  </a:lnTo>
                  <a:lnTo>
                    <a:pt x="1235544" y="3489960"/>
                  </a:lnTo>
                  <a:lnTo>
                    <a:pt x="1248697" y="3473522"/>
                  </a:lnTo>
                  <a:lnTo>
                    <a:pt x="1248288" y="3484578"/>
                  </a:lnTo>
                  <a:lnTo>
                    <a:pt x="1252301" y="3474554"/>
                  </a:lnTo>
                  <a:close/>
                  <a:moveTo>
                    <a:pt x="1459685" y="3471944"/>
                  </a:moveTo>
                  <a:lnTo>
                    <a:pt x="1473188" y="3535842"/>
                  </a:lnTo>
                  <a:lnTo>
                    <a:pt x="1529820" y="3558092"/>
                  </a:lnTo>
                  <a:lnTo>
                    <a:pt x="1540054" y="3583896"/>
                  </a:lnTo>
                  <a:lnTo>
                    <a:pt x="1540058" y="3583893"/>
                  </a:lnTo>
                  <a:lnTo>
                    <a:pt x="1529825" y="3558091"/>
                  </a:lnTo>
                  <a:lnTo>
                    <a:pt x="1473192" y="3535842"/>
                  </a:lnTo>
                  <a:lnTo>
                    <a:pt x="1467681" y="3476966"/>
                  </a:lnTo>
                  <a:lnTo>
                    <a:pt x="1469058" y="3475436"/>
                  </a:lnTo>
                  <a:close/>
                  <a:moveTo>
                    <a:pt x="2546727" y="3471279"/>
                  </a:moveTo>
                  <a:lnTo>
                    <a:pt x="2543431" y="3487943"/>
                  </a:lnTo>
                  <a:lnTo>
                    <a:pt x="2548685" y="3489476"/>
                  </a:lnTo>
                  <a:lnTo>
                    <a:pt x="2543667" y="3487962"/>
                  </a:lnTo>
                  <a:close/>
                  <a:moveTo>
                    <a:pt x="2256513" y="3471192"/>
                  </a:moveTo>
                  <a:lnTo>
                    <a:pt x="2238757" y="3491031"/>
                  </a:lnTo>
                  <a:lnTo>
                    <a:pt x="2238759" y="3491032"/>
                  </a:lnTo>
                  <a:lnTo>
                    <a:pt x="2256513" y="3471193"/>
                  </a:lnTo>
                  <a:lnTo>
                    <a:pt x="2293554" y="3484237"/>
                  </a:lnTo>
                  <a:lnTo>
                    <a:pt x="2293554" y="3484236"/>
                  </a:lnTo>
                  <a:close/>
                  <a:moveTo>
                    <a:pt x="997572" y="3469815"/>
                  </a:moveTo>
                  <a:lnTo>
                    <a:pt x="991666" y="3494623"/>
                  </a:lnTo>
                  <a:lnTo>
                    <a:pt x="1006594" y="3516047"/>
                  </a:lnTo>
                  <a:lnTo>
                    <a:pt x="1006598" y="3516047"/>
                  </a:lnTo>
                  <a:lnTo>
                    <a:pt x="991671" y="3494622"/>
                  </a:lnTo>
                  <a:lnTo>
                    <a:pt x="998411" y="3470453"/>
                  </a:lnTo>
                  <a:close/>
                  <a:moveTo>
                    <a:pt x="3360510" y="3467767"/>
                  </a:moveTo>
                  <a:lnTo>
                    <a:pt x="3322371" y="3512318"/>
                  </a:lnTo>
                  <a:lnTo>
                    <a:pt x="3336487" y="3533863"/>
                  </a:lnTo>
                  <a:lnTo>
                    <a:pt x="3320593" y="3566305"/>
                  </a:lnTo>
                  <a:lnTo>
                    <a:pt x="3223900" y="3583857"/>
                  </a:lnTo>
                  <a:lnTo>
                    <a:pt x="3214447" y="3636728"/>
                  </a:lnTo>
                  <a:lnTo>
                    <a:pt x="3178980" y="3643328"/>
                  </a:lnTo>
                  <a:lnTo>
                    <a:pt x="3178979" y="3643329"/>
                  </a:lnTo>
                  <a:lnTo>
                    <a:pt x="3214447" y="3636729"/>
                  </a:lnTo>
                  <a:lnTo>
                    <a:pt x="3223900" y="3583858"/>
                  </a:lnTo>
                  <a:lnTo>
                    <a:pt x="3320594" y="3566305"/>
                  </a:lnTo>
                  <a:lnTo>
                    <a:pt x="3336488" y="3533864"/>
                  </a:lnTo>
                  <a:lnTo>
                    <a:pt x="3322371" y="3512318"/>
                  </a:lnTo>
                  <a:lnTo>
                    <a:pt x="3360511" y="3467768"/>
                  </a:lnTo>
                  <a:close/>
                  <a:moveTo>
                    <a:pt x="2548793" y="3465676"/>
                  </a:moveTo>
                  <a:lnTo>
                    <a:pt x="2576586" y="3471250"/>
                  </a:lnTo>
                  <a:lnTo>
                    <a:pt x="2576107" y="3470906"/>
                  </a:lnTo>
                  <a:close/>
                  <a:moveTo>
                    <a:pt x="2563581" y="3458567"/>
                  </a:moveTo>
                  <a:lnTo>
                    <a:pt x="2560560" y="3459577"/>
                  </a:lnTo>
                  <a:lnTo>
                    <a:pt x="2562848" y="3461226"/>
                  </a:lnTo>
                  <a:close/>
                  <a:moveTo>
                    <a:pt x="6833156" y="3454879"/>
                  </a:moveTo>
                  <a:lnTo>
                    <a:pt x="6833110" y="3454940"/>
                  </a:lnTo>
                  <a:lnTo>
                    <a:pt x="6851820" y="3478386"/>
                  </a:lnTo>
                  <a:close/>
                  <a:moveTo>
                    <a:pt x="1072701" y="3452536"/>
                  </a:moveTo>
                  <a:lnTo>
                    <a:pt x="1060904" y="3488045"/>
                  </a:lnTo>
                  <a:lnTo>
                    <a:pt x="1060904" y="3488045"/>
                  </a:lnTo>
                  <a:lnTo>
                    <a:pt x="1072702" y="3452536"/>
                  </a:lnTo>
                  <a:close/>
                  <a:moveTo>
                    <a:pt x="1723538" y="3450566"/>
                  </a:moveTo>
                  <a:lnTo>
                    <a:pt x="1734916" y="3511848"/>
                  </a:lnTo>
                  <a:lnTo>
                    <a:pt x="1744436" y="3506394"/>
                  </a:lnTo>
                  <a:lnTo>
                    <a:pt x="1734916" y="3511847"/>
                  </a:lnTo>
                  <a:close/>
                  <a:moveTo>
                    <a:pt x="1302816" y="3447066"/>
                  </a:moveTo>
                  <a:lnTo>
                    <a:pt x="1296441" y="3452985"/>
                  </a:lnTo>
                  <a:lnTo>
                    <a:pt x="1302893" y="3449832"/>
                  </a:lnTo>
                  <a:close/>
                  <a:moveTo>
                    <a:pt x="1486416" y="3446295"/>
                  </a:moveTo>
                  <a:lnTo>
                    <a:pt x="1481320" y="3461817"/>
                  </a:lnTo>
                  <a:lnTo>
                    <a:pt x="1484866" y="3457878"/>
                  </a:lnTo>
                  <a:close/>
                  <a:moveTo>
                    <a:pt x="654138" y="3437841"/>
                  </a:moveTo>
                  <a:lnTo>
                    <a:pt x="652982" y="3444600"/>
                  </a:lnTo>
                  <a:lnTo>
                    <a:pt x="662062" y="3441119"/>
                  </a:lnTo>
                  <a:lnTo>
                    <a:pt x="652983" y="3444599"/>
                  </a:lnTo>
                  <a:close/>
                  <a:moveTo>
                    <a:pt x="654427" y="3436149"/>
                  </a:moveTo>
                  <a:lnTo>
                    <a:pt x="651575" y="3436714"/>
                  </a:lnTo>
                  <a:lnTo>
                    <a:pt x="654427" y="3436149"/>
                  </a:lnTo>
                  <a:close/>
                  <a:moveTo>
                    <a:pt x="5487657" y="3433856"/>
                  </a:moveTo>
                  <a:lnTo>
                    <a:pt x="5475887" y="3529595"/>
                  </a:lnTo>
                  <a:lnTo>
                    <a:pt x="5440688" y="3541729"/>
                  </a:lnTo>
                  <a:lnTo>
                    <a:pt x="5418172" y="3580872"/>
                  </a:lnTo>
                  <a:lnTo>
                    <a:pt x="5418317" y="3580828"/>
                  </a:lnTo>
                  <a:lnTo>
                    <a:pt x="5440683" y="3541902"/>
                  </a:lnTo>
                  <a:lnTo>
                    <a:pt x="5475889" y="3529595"/>
                  </a:lnTo>
                  <a:lnTo>
                    <a:pt x="5488896" y="3444711"/>
                  </a:lnTo>
                  <a:close/>
                  <a:moveTo>
                    <a:pt x="839621" y="3433533"/>
                  </a:moveTo>
                  <a:lnTo>
                    <a:pt x="838323" y="3436348"/>
                  </a:lnTo>
                  <a:lnTo>
                    <a:pt x="840489" y="3444357"/>
                  </a:lnTo>
                  <a:lnTo>
                    <a:pt x="840485" y="3444364"/>
                  </a:lnTo>
                  <a:lnTo>
                    <a:pt x="840490" y="3444358"/>
                  </a:lnTo>
                  <a:close/>
                  <a:moveTo>
                    <a:pt x="634214" y="3428880"/>
                  </a:moveTo>
                  <a:lnTo>
                    <a:pt x="634214" y="3428881"/>
                  </a:lnTo>
                  <a:lnTo>
                    <a:pt x="640163" y="3438976"/>
                  </a:lnTo>
                  <a:lnTo>
                    <a:pt x="640164" y="3438976"/>
                  </a:lnTo>
                  <a:close/>
                  <a:moveTo>
                    <a:pt x="2534670" y="3427601"/>
                  </a:moveTo>
                  <a:lnTo>
                    <a:pt x="2535747" y="3441709"/>
                  </a:lnTo>
                  <a:lnTo>
                    <a:pt x="2543369" y="3447199"/>
                  </a:lnTo>
                  <a:close/>
                  <a:moveTo>
                    <a:pt x="2169625" y="3424747"/>
                  </a:moveTo>
                  <a:lnTo>
                    <a:pt x="2169625" y="3424748"/>
                  </a:lnTo>
                  <a:lnTo>
                    <a:pt x="2201745" y="3427840"/>
                  </a:lnTo>
                  <a:lnTo>
                    <a:pt x="2203807" y="3436403"/>
                  </a:lnTo>
                  <a:lnTo>
                    <a:pt x="2201745" y="3427839"/>
                  </a:lnTo>
                  <a:close/>
                  <a:moveTo>
                    <a:pt x="37399" y="3416283"/>
                  </a:moveTo>
                  <a:lnTo>
                    <a:pt x="39852" y="3418288"/>
                  </a:lnTo>
                  <a:lnTo>
                    <a:pt x="37399" y="3416283"/>
                  </a:lnTo>
                  <a:close/>
                  <a:moveTo>
                    <a:pt x="1400036" y="3413030"/>
                  </a:moveTo>
                  <a:lnTo>
                    <a:pt x="1400031" y="3413031"/>
                  </a:lnTo>
                  <a:lnTo>
                    <a:pt x="1435767" y="3463036"/>
                  </a:lnTo>
                  <a:lnTo>
                    <a:pt x="1435772" y="3463036"/>
                  </a:lnTo>
                  <a:close/>
                  <a:moveTo>
                    <a:pt x="1491190" y="3410613"/>
                  </a:moveTo>
                  <a:lnTo>
                    <a:pt x="1486939" y="3412126"/>
                  </a:lnTo>
                  <a:lnTo>
                    <a:pt x="1488114" y="3433600"/>
                  </a:lnTo>
                  <a:close/>
                  <a:moveTo>
                    <a:pt x="9240882" y="3409652"/>
                  </a:moveTo>
                  <a:lnTo>
                    <a:pt x="9249864" y="3438432"/>
                  </a:lnTo>
                  <a:lnTo>
                    <a:pt x="9297372" y="3512527"/>
                  </a:lnTo>
                  <a:lnTo>
                    <a:pt x="9284371" y="3517596"/>
                  </a:lnTo>
                  <a:lnTo>
                    <a:pt x="9284528" y="3517856"/>
                  </a:lnTo>
                  <a:lnTo>
                    <a:pt x="9297374" y="3512527"/>
                  </a:lnTo>
                  <a:close/>
                  <a:moveTo>
                    <a:pt x="2540078" y="3408902"/>
                  </a:moveTo>
                  <a:lnTo>
                    <a:pt x="2533623" y="3413868"/>
                  </a:lnTo>
                  <a:lnTo>
                    <a:pt x="2533989" y="3418674"/>
                  </a:lnTo>
                  <a:close/>
                  <a:moveTo>
                    <a:pt x="5484715" y="3408082"/>
                  </a:moveTo>
                  <a:lnTo>
                    <a:pt x="5482088" y="3408128"/>
                  </a:lnTo>
                  <a:lnTo>
                    <a:pt x="5485032" y="3410863"/>
                  </a:lnTo>
                  <a:close/>
                  <a:moveTo>
                    <a:pt x="2172988" y="3408052"/>
                  </a:moveTo>
                  <a:lnTo>
                    <a:pt x="2144228" y="3422804"/>
                  </a:lnTo>
                  <a:lnTo>
                    <a:pt x="2126536" y="3415653"/>
                  </a:lnTo>
                  <a:lnTo>
                    <a:pt x="2126536" y="3415653"/>
                  </a:lnTo>
                  <a:lnTo>
                    <a:pt x="2144228" y="3422805"/>
                  </a:lnTo>
                  <a:lnTo>
                    <a:pt x="2172988" y="3408054"/>
                  </a:lnTo>
                  <a:close/>
                  <a:moveTo>
                    <a:pt x="852717" y="3407839"/>
                  </a:moveTo>
                  <a:lnTo>
                    <a:pt x="850501" y="3408076"/>
                  </a:lnTo>
                  <a:lnTo>
                    <a:pt x="851454" y="3416769"/>
                  </a:lnTo>
                  <a:lnTo>
                    <a:pt x="851449" y="3416777"/>
                  </a:lnTo>
                  <a:lnTo>
                    <a:pt x="851455" y="3416769"/>
                  </a:lnTo>
                  <a:close/>
                  <a:moveTo>
                    <a:pt x="656899" y="3403801"/>
                  </a:moveTo>
                  <a:lnTo>
                    <a:pt x="666432" y="3439357"/>
                  </a:lnTo>
                  <a:lnTo>
                    <a:pt x="664527" y="3431943"/>
                  </a:lnTo>
                  <a:close/>
                  <a:moveTo>
                    <a:pt x="1301824" y="3401624"/>
                  </a:moveTo>
                  <a:lnTo>
                    <a:pt x="1301842" y="3401833"/>
                  </a:lnTo>
                  <a:lnTo>
                    <a:pt x="1369419" y="3420656"/>
                  </a:lnTo>
                  <a:lnTo>
                    <a:pt x="1399546" y="3413151"/>
                  </a:lnTo>
                  <a:lnTo>
                    <a:pt x="1369256" y="3420608"/>
                  </a:lnTo>
                  <a:close/>
                  <a:moveTo>
                    <a:pt x="2580296" y="3397907"/>
                  </a:moveTo>
                  <a:lnTo>
                    <a:pt x="2564122" y="3447041"/>
                  </a:lnTo>
                  <a:lnTo>
                    <a:pt x="2566289" y="3448741"/>
                  </a:lnTo>
                  <a:close/>
                  <a:moveTo>
                    <a:pt x="2548897" y="3394746"/>
                  </a:moveTo>
                  <a:lnTo>
                    <a:pt x="2543662" y="3396915"/>
                  </a:lnTo>
                  <a:lnTo>
                    <a:pt x="2546436" y="3398695"/>
                  </a:lnTo>
                  <a:close/>
                  <a:moveTo>
                    <a:pt x="72779" y="3394695"/>
                  </a:moveTo>
                  <a:lnTo>
                    <a:pt x="52117" y="3428312"/>
                  </a:lnTo>
                  <a:lnTo>
                    <a:pt x="52118" y="3428312"/>
                  </a:lnTo>
                  <a:close/>
                  <a:moveTo>
                    <a:pt x="2062952" y="3389678"/>
                  </a:moveTo>
                  <a:lnTo>
                    <a:pt x="2060335" y="3390912"/>
                  </a:lnTo>
                  <a:lnTo>
                    <a:pt x="2062921" y="3391956"/>
                  </a:lnTo>
                  <a:close/>
                  <a:moveTo>
                    <a:pt x="2192576" y="3389254"/>
                  </a:moveTo>
                  <a:lnTo>
                    <a:pt x="2192570" y="3389264"/>
                  </a:lnTo>
                  <a:lnTo>
                    <a:pt x="2192576" y="3389256"/>
                  </a:lnTo>
                  <a:close/>
                  <a:moveTo>
                    <a:pt x="1981030" y="3388752"/>
                  </a:moveTo>
                  <a:lnTo>
                    <a:pt x="1978802" y="3408023"/>
                  </a:lnTo>
                  <a:lnTo>
                    <a:pt x="1984204" y="3392268"/>
                  </a:lnTo>
                  <a:close/>
                  <a:moveTo>
                    <a:pt x="2138175" y="3387228"/>
                  </a:moveTo>
                  <a:lnTo>
                    <a:pt x="2135870" y="3388457"/>
                  </a:lnTo>
                  <a:lnTo>
                    <a:pt x="2140412" y="3391754"/>
                  </a:lnTo>
                  <a:lnTo>
                    <a:pt x="2126541" y="3415645"/>
                  </a:lnTo>
                  <a:lnTo>
                    <a:pt x="2146260" y="3391102"/>
                  </a:lnTo>
                  <a:close/>
                  <a:moveTo>
                    <a:pt x="2199877" y="3385419"/>
                  </a:moveTo>
                  <a:lnTo>
                    <a:pt x="2188535" y="3406628"/>
                  </a:lnTo>
                  <a:lnTo>
                    <a:pt x="2188535" y="3406631"/>
                  </a:lnTo>
                  <a:close/>
                  <a:moveTo>
                    <a:pt x="653036" y="3384492"/>
                  </a:moveTo>
                  <a:lnTo>
                    <a:pt x="652408" y="3386675"/>
                  </a:lnTo>
                  <a:lnTo>
                    <a:pt x="659111" y="3390359"/>
                  </a:lnTo>
                  <a:lnTo>
                    <a:pt x="656892" y="3403774"/>
                  </a:lnTo>
                  <a:lnTo>
                    <a:pt x="656892" y="3403775"/>
                  </a:lnTo>
                  <a:lnTo>
                    <a:pt x="659111" y="3390359"/>
                  </a:lnTo>
                  <a:lnTo>
                    <a:pt x="652408" y="3386675"/>
                  </a:lnTo>
                  <a:close/>
                  <a:moveTo>
                    <a:pt x="661292" y="3381413"/>
                  </a:moveTo>
                  <a:lnTo>
                    <a:pt x="661736" y="3382411"/>
                  </a:lnTo>
                  <a:lnTo>
                    <a:pt x="661736" y="3382411"/>
                  </a:lnTo>
                  <a:close/>
                  <a:moveTo>
                    <a:pt x="1480023" y="3379099"/>
                  </a:moveTo>
                  <a:lnTo>
                    <a:pt x="1461346" y="3379742"/>
                  </a:lnTo>
                  <a:lnTo>
                    <a:pt x="1461389" y="3379873"/>
                  </a:lnTo>
                  <a:lnTo>
                    <a:pt x="1480023" y="3379099"/>
                  </a:lnTo>
                  <a:lnTo>
                    <a:pt x="1469440" y="3393894"/>
                  </a:lnTo>
                  <a:lnTo>
                    <a:pt x="1473923" y="3397143"/>
                  </a:lnTo>
                  <a:close/>
                  <a:moveTo>
                    <a:pt x="885635" y="3378883"/>
                  </a:moveTo>
                  <a:lnTo>
                    <a:pt x="877289" y="3387249"/>
                  </a:lnTo>
                  <a:lnTo>
                    <a:pt x="867899" y="3396767"/>
                  </a:lnTo>
                  <a:lnTo>
                    <a:pt x="869986" y="3405987"/>
                  </a:lnTo>
                  <a:lnTo>
                    <a:pt x="869981" y="3405988"/>
                  </a:lnTo>
                  <a:lnTo>
                    <a:pt x="869987" y="3405988"/>
                  </a:lnTo>
                  <a:lnTo>
                    <a:pt x="869373" y="3396079"/>
                  </a:lnTo>
                  <a:lnTo>
                    <a:pt x="877289" y="3387250"/>
                  </a:lnTo>
                  <a:lnTo>
                    <a:pt x="885636" y="3378884"/>
                  </a:lnTo>
                  <a:close/>
                  <a:moveTo>
                    <a:pt x="2222760" y="3378309"/>
                  </a:moveTo>
                  <a:lnTo>
                    <a:pt x="2212937" y="3398705"/>
                  </a:lnTo>
                  <a:lnTo>
                    <a:pt x="2202959" y="3388556"/>
                  </a:lnTo>
                  <a:lnTo>
                    <a:pt x="2212981" y="3398756"/>
                  </a:lnTo>
                  <a:lnTo>
                    <a:pt x="2222619" y="3378638"/>
                  </a:lnTo>
                  <a:lnTo>
                    <a:pt x="2241923" y="3384464"/>
                  </a:lnTo>
                  <a:close/>
                  <a:moveTo>
                    <a:pt x="5435103" y="3376761"/>
                  </a:moveTo>
                  <a:lnTo>
                    <a:pt x="5435520" y="3376827"/>
                  </a:lnTo>
                  <a:lnTo>
                    <a:pt x="5443137" y="3408809"/>
                  </a:lnTo>
                  <a:lnTo>
                    <a:pt x="5443141" y="3408808"/>
                  </a:lnTo>
                  <a:lnTo>
                    <a:pt x="5435523" y="3376826"/>
                  </a:lnTo>
                  <a:close/>
                  <a:moveTo>
                    <a:pt x="880074" y="3373710"/>
                  </a:moveTo>
                  <a:lnTo>
                    <a:pt x="880078" y="3373715"/>
                  </a:lnTo>
                  <a:lnTo>
                    <a:pt x="883407" y="3376810"/>
                  </a:lnTo>
                  <a:close/>
                  <a:moveTo>
                    <a:pt x="81881" y="3371262"/>
                  </a:moveTo>
                  <a:lnTo>
                    <a:pt x="68623" y="3373637"/>
                  </a:lnTo>
                  <a:lnTo>
                    <a:pt x="81960" y="3372308"/>
                  </a:lnTo>
                  <a:close/>
                  <a:moveTo>
                    <a:pt x="2169083" y="3370741"/>
                  </a:moveTo>
                  <a:lnTo>
                    <a:pt x="2168870" y="3370855"/>
                  </a:lnTo>
                  <a:lnTo>
                    <a:pt x="2182854" y="3400971"/>
                  </a:lnTo>
                  <a:lnTo>
                    <a:pt x="2183501" y="3400193"/>
                  </a:lnTo>
                  <a:close/>
                  <a:moveTo>
                    <a:pt x="1627819" y="3368226"/>
                  </a:moveTo>
                  <a:lnTo>
                    <a:pt x="1626621" y="3390728"/>
                  </a:lnTo>
                  <a:lnTo>
                    <a:pt x="1640481" y="3397936"/>
                  </a:lnTo>
                  <a:lnTo>
                    <a:pt x="1626622" y="3390728"/>
                  </a:lnTo>
                  <a:lnTo>
                    <a:pt x="1627820" y="3368226"/>
                  </a:lnTo>
                  <a:close/>
                  <a:moveTo>
                    <a:pt x="4590175" y="3367928"/>
                  </a:moveTo>
                  <a:lnTo>
                    <a:pt x="4603678" y="3409045"/>
                  </a:lnTo>
                  <a:lnTo>
                    <a:pt x="4603713" y="3409060"/>
                  </a:lnTo>
                  <a:close/>
                  <a:moveTo>
                    <a:pt x="1583357" y="3365335"/>
                  </a:moveTo>
                  <a:lnTo>
                    <a:pt x="1569111" y="3368112"/>
                  </a:lnTo>
                  <a:lnTo>
                    <a:pt x="1565212" y="3373026"/>
                  </a:lnTo>
                  <a:close/>
                  <a:moveTo>
                    <a:pt x="1996097" y="3364988"/>
                  </a:moveTo>
                  <a:lnTo>
                    <a:pt x="1996054" y="3365001"/>
                  </a:lnTo>
                  <a:lnTo>
                    <a:pt x="1996097" y="3364989"/>
                  </a:lnTo>
                  <a:lnTo>
                    <a:pt x="1996111" y="3364995"/>
                  </a:lnTo>
                  <a:close/>
                  <a:moveTo>
                    <a:pt x="4584274" y="3364442"/>
                  </a:moveTo>
                  <a:lnTo>
                    <a:pt x="4554510" y="3373651"/>
                  </a:lnTo>
                  <a:lnTo>
                    <a:pt x="4554510" y="3373651"/>
                  </a:lnTo>
                  <a:close/>
                  <a:moveTo>
                    <a:pt x="871112" y="3357921"/>
                  </a:moveTo>
                  <a:lnTo>
                    <a:pt x="870509" y="3358056"/>
                  </a:lnTo>
                  <a:lnTo>
                    <a:pt x="872684" y="3364581"/>
                  </a:lnTo>
                  <a:lnTo>
                    <a:pt x="872967" y="3364930"/>
                  </a:lnTo>
                  <a:close/>
                  <a:moveTo>
                    <a:pt x="293575" y="3357443"/>
                  </a:moveTo>
                  <a:lnTo>
                    <a:pt x="287935" y="3397457"/>
                  </a:lnTo>
                  <a:lnTo>
                    <a:pt x="310324" y="3418147"/>
                  </a:lnTo>
                  <a:lnTo>
                    <a:pt x="295437" y="3476488"/>
                  </a:lnTo>
                  <a:lnTo>
                    <a:pt x="329930" y="3481639"/>
                  </a:lnTo>
                  <a:lnTo>
                    <a:pt x="381050" y="3557964"/>
                  </a:lnTo>
                  <a:lnTo>
                    <a:pt x="324211" y="3587763"/>
                  </a:lnTo>
                  <a:lnTo>
                    <a:pt x="297943" y="3619557"/>
                  </a:lnTo>
                  <a:lnTo>
                    <a:pt x="333519" y="3588274"/>
                  </a:lnTo>
                  <a:lnTo>
                    <a:pt x="380927" y="3559684"/>
                  </a:lnTo>
                  <a:lnTo>
                    <a:pt x="597058" y="3522443"/>
                  </a:lnTo>
                  <a:lnTo>
                    <a:pt x="688530" y="3591320"/>
                  </a:lnTo>
                  <a:lnTo>
                    <a:pt x="663918" y="3567094"/>
                  </a:lnTo>
                  <a:lnTo>
                    <a:pt x="673796" y="3543777"/>
                  </a:lnTo>
                  <a:lnTo>
                    <a:pt x="675180" y="3542569"/>
                  </a:lnTo>
                  <a:lnTo>
                    <a:pt x="670402" y="3544940"/>
                  </a:lnTo>
                  <a:lnTo>
                    <a:pt x="657396" y="3558223"/>
                  </a:lnTo>
                  <a:lnTo>
                    <a:pt x="596914" y="3496270"/>
                  </a:lnTo>
                  <a:lnTo>
                    <a:pt x="593386" y="3505638"/>
                  </a:lnTo>
                  <a:lnTo>
                    <a:pt x="561749" y="3490679"/>
                  </a:lnTo>
                  <a:lnTo>
                    <a:pt x="545413" y="3511265"/>
                  </a:lnTo>
                  <a:lnTo>
                    <a:pt x="477735" y="3535350"/>
                  </a:lnTo>
                  <a:lnTo>
                    <a:pt x="465212" y="3523703"/>
                  </a:lnTo>
                  <a:lnTo>
                    <a:pt x="472661" y="3501666"/>
                  </a:lnTo>
                  <a:lnTo>
                    <a:pt x="453943" y="3502310"/>
                  </a:lnTo>
                  <a:lnTo>
                    <a:pt x="433966" y="3439619"/>
                  </a:lnTo>
                  <a:lnTo>
                    <a:pt x="387782" y="3403437"/>
                  </a:lnTo>
                  <a:lnTo>
                    <a:pt x="409372" y="3392507"/>
                  </a:lnTo>
                  <a:lnTo>
                    <a:pt x="379093" y="3384892"/>
                  </a:lnTo>
                  <a:lnTo>
                    <a:pt x="374666" y="3420737"/>
                  </a:lnTo>
                  <a:lnTo>
                    <a:pt x="292011" y="3394239"/>
                  </a:lnTo>
                  <a:lnTo>
                    <a:pt x="293578" y="3357464"/>
                  </a:lnTo>
                  <a:close/>
                  <a:moveTo>
                    <a:pt x="1626344" y="3356957"/>
                  </a:moveTo>
                  <a:lnTo>
                    <a:pt x="1604756" y="3361165"/>
                  </a:lnTo>
                  <a:lnTo>
                    <a:pt x="1612778" y="3363621"/>
                  </a:lnTo>
                  <a:close/>
                  <a:moveTo>
                    <a:pt x="1924485" y="3355919"/>
                  </a:moveTo>
                  <a:lnTo>
                    <a:pt x="1925187" y="3357227"/>
                  </a:lnTo>
                  <a:lnTo>
                    <a:pt x="1951916" y="3377782"/>
                  </a:lnTo>
                  <a:lnTo>
                    <a:pt x="1971471" y="3378163"/>
                  </a:lnTo>
                  <a:lnTo>
                    <a:pt x="1967147" y="3373371"/>
                  </a:lnTo>
                  <a:lnTo>
                    <a:pt x="1951916" y="3377782"/>
                  </a:lnTo>
                  <a:close/>
                  <a:moveTo>
                    <a:pt x="667181" y="3354303"/>
                  </a:moveTo>
                  <a:lnTo>
                    <a:pt x="660082" y="3357984"/>
                  </a:lnTo>
                  <a:lnTo>
                    <a:pt x="661225" y="3358729"/>
                  </a:lnTo>
                  <a:lnTo>
                    <a:pt x="660082" y="3357984"/>
                  </a:lnTo>
                  <a:lnTo>
                    <a:pt x="667181" y="3354304"/>
                  </a:lnTo>
                  <a:close/>
                  <a:moveTo>
                    <a:pt x="886745" y="3352733"/>
                  </a:moveTo>
                  <a:lnTo>
                    <a:pt x="885483" y="3355492"/>
                  </a:lnTo>
                  <a:lnTo>
                    <a:pt x="880426" y="3355866"/>
                  </a:lnTo>
                  <a:lnTo>
                    <a:pt x="880175" y="3355884"/>
                  </a:lnTo>
                  <a:lnTo>
                    <a:pt x="880175" y="3355884"/>
                  </a:lnTo>
                  <a:lnTo>
                    <a:pt x="880426" y="3355866"/>
                  </a:lnTo>
                  <a:lnTo>
                    <a:pt x="885484" y="3355493"/>
                  </a:lnTo>
                  <a:close/>
                  <a:moveTo>
                    <a:pt x="3751991" y="3351018"/>
                  </a:moveTo>
                  <a:lnTo>
                    <a:pt x="3744019" y="3381091"/>
                  </a:lnTo>
                  <a:lnTo>
                    <a:pt x="3752682" y="3371710"/>
                  </a:lnTo>
                  <a:close/>
                  <a:moveTo>
                    <a:pt x="383482" y="3349357"/>
                  </a:moveTo>
                  <a:lnTo>
                    <a:pt x="382345" y="3358560"/>
                  </a:lnTo>
                  <a:lnTo>
                    <a:pt x="389783" y="3357053"/>
                  </a:lnTo>
                  <a:close/>
                  <a:moveTo>
                    <a:pt x="901092" y="3341953"/>
                  </a:moveTo>
                  <a:lnTo>
                    <a:pt x="895420" y="3347644"/>
                  </a:lnTo>
                  <a:lnTo>
                    <a:pt x="894260" y="3347869"/>
                  </a:lnTo>
                  <a:lnTo>
                    <a:pt x="895421" y="3347644"/>
                  </a:lnTo>
                  <a:lnTo>
                    <a:pt x="901093" y="3341954"/>
                  </a:lnTo>
                  <a:close/>
                  <a:moveTo>
                    <a:pt x="2523847" y="3338688"/>
                  </a:moveTo>
                  <a:lnTo>
                    <a:pt x="2496644" y="3343033"/>
                  </a:lnTo>
                  <a:lnTo>
                    <a:pt x="2524416" y="3341149"/>
                  </a:lnTo>
                  <a:close/>
                  <a:moveTo>
                    <a:pt x="2232462" y="3335065"/>
                  </a:moveTo>
                  <a:lnTo>
                    <a:pt x="2281750" y="3340992"/>
                  </a:lnTo>
                  <a:lnTo>
                    <a:pt x="2281848" y="3340637"/>
                  </a:lnTo>
                  <a:lnTo>
                    <a:pt x="2281591" y="3340963"/>
                  </a:lnTo>
                  <a:close/>
                  <a:moveTo>
                    <a:pt x="2231840" y="3334990"/>
                  </a:moveTo>
                  <a:lnTo>
                    <a:pt x="2220600" y="3350352"/>
                  </a:lnTo>
                  <a:lnTo>
                    <a:pt x="2248459" y="3353167"/>
                  </a:lnTo>
                  <a:lnTo>
                    <a:pt x="2241938" y="3384469"/>
                  </a:lnTo>
                  <a:lnTo>
                    <a:pt x="2241940" y="3384469"/>
                  </a:lnTo>
                  <a:lnTo>
                    <a:pt x="2248461" y="3353166"/>
                  </a:lnTo>
                  <a:lnTo>
                    <a:pt x="2220600" y="3350352"/>
                  </a:lnTo>
                  <a:lnTo>
                    <a:pt x="2231843" y="3334990"/>
                  </a:lnTo>
                  <a:close/>
                  <a:moveTo>
                    <a:pt x="2544670" y="3334978"/>
                  </a:moveTo>
                  <a:lnTo>
                    <a:pt x="2528015" y="3386870"/>
                  </a:lnTo>
                  <a:lnTo>
                    <a:pt x="2528018" y="3386872"/>
                  </a:lnTo>
                  <a:lnTo>
                    <a:pt x="2528017" y="3386870"/>
                  </a:lnTo>
                  <a:lnTo>
                    <a:pt x="2545713" y="3335298"/>
                  </a:lnTo>
                  <a:close/>
                  <a:moveTo>
                    <a:pt x="897767" y="3333492"/>
                  </a:moveTo>
                  <a:lnTo>
                    <a:pt x="897767" y="3333493"/>
                  </a:lnTo>
                  <a:cubicBezTo>
                    <a:pt x="896175" y="3335055"/>
                    <a:pt x="900269" y="3339190"/>
                    <a:pt x="899422" y="3337704"/>
                  </a:cubicBezTo>
                  <a:close/>
                  <a:moveTo>
                    <a:pt x="2093296" y="3327001"/>
                  </a:moveTo>
                  <a:lnTo>
                    <a:pt x="2092984" y="3327733"/>
                  </a:lnTo>
                  <a:lnTo>
                    <a:pt x="2103617" y="3365044"/>
                  </a:lnTo>
                  <a:close/>
                  <a:moveTo>
                    <a:pt x="894675" y="3325625"/>
                  </a:moveTo>
                  <a:lnTo>
                    <a:pt x="894676" y="3325626"/>
                  </a:lnTo>
                  <a:lnTo>
                    <a:pt x="894676" y="3325625"/>
                  </a:lnTo>
                  <a:close/>
                  <a:moveTo>
                    <a:pt x="1906642" y="3322660"/>
                  </a:moveTo>
                  <a:lnTo>
                    <a:pt x="1921994" y="3351276"/>
                  </a:lnTo>
                  <a:lnTo>
                    <a:pt x="1924710" y="3334760"/>
                  </a:lnTo>
                  <a:close/>
                  <a:moveTo>
                    <a:pt x="2298153" y="3319951"/>
                  </a:moveTo>
                  <a:lnTo>
                    <a:pt x="2294670" y="3324370"/>
                  </a:lnTo>
                  <a:lnTo>
                    <a:pt x="2328724" y="3329042"/>
                  </a:lnTo>
                  <a:lnTo>
                    <a:pt x="2329508" y="3328202"/>
                  </a:lnTo>
                  <a:close/>
                  <a:moveTo>
                    <a:pt x="2493597" y="3318536"/>
                  </a:moveTo>
                  <a:lnTo>
                    <a:pt x="2496625" y="3343034"/>
                  </a:lnTo>
                  <a:lnTo>
                    <a:pt x="2496631" y="3343034"/>
                  </a:lnTo>
                  <a:lnTo>
                    <a:pt x="2493602" y="3318536"/>
                  </a:lnTo>
                  <a:close/>
                  <a:moveTo>
                    <a:pt x="1657978" y="3315701"/>
                  </a:moveTo>
                  <a:lnTo>
                    <a:pt x="1652333" y="3344190"/>
                  </a:lnTo>
                  <a:lnTo>
                    <a:pt x="1655439" y="3342664"/>
                  </a:lnTo>
                  <a:close/>
                  <a:moveTo>
                    <a:pt x="2385522" y="3314984"/>
                  </a:moveTo>
                  <a:lnTo>
                    <a:pt x="2412360" y="3319018"/>
                  </a:lnTo>
                  <a:lnTo>
                    <a:pt x="2412360" y="3319017"/>
                  </a:lnTo>
                  <a:close/>
                  <a:moveTo>
                    <a:pt x="2342628" y="3314140"/>
                  </a:moveTo>
                  <a:lnTo>
                    <a:pt x="2342628" y="3314142"/>
                  </a:lnTo>
                  <a:lnTo>
                    <a:pt x="2361284" y="3325980"/>
                  </a:lnTo>
                  <a:lnTo>
                    <a:pt x="2361287" y="3325979"/>
                  </a:lnTo>
                  <a:close/>
                  <a:moveTo>
                    <a:pt x="9187527" y="3312490"/>
                  </a:moveTo>
                  <a:lnTo>
                    <a:pt x="9187472" y="3312591"/>
                  </a:lnTo>
                  <a:lnTo>
                    <a:pt x="9199284" y="3350796"/>
                  </a:lnTo>
                  <a:lnTo>
                    <a:pt x="9211438" y="3356034"/>
                  </a:lnTo>
                  <a:close/>
                  <a:moveTo>
                    <a:pt x="2330436" y="3310513"/>
                  </a:moveTo>
                  <a:lnTo>
                    <a:pt x="2330180" y="3327481"/>
                  </a:lnTo>
                  <a:lnTo>
                    <a:pt x="2334629" y="3322710"/>
                  </a:lnTo>
                  <a:close/>
                  <a:moveTo>
                    <a:pt x="2653322" y="3310362"/>
                  </a:moveTo>
                  <a:lnTo>
                    <a:pt x="2644323" y="3375513"/>
                  </a:lnTo>
                  <a:lnTo>
                    <a:pt x="2653324" y="3310362"/>
                  </a:lnTo>
                  <a:close/>
                  <a:moveTo>
                    <a:pt x="1884679" y="3307952"/>
                  </a:moveTo>
                  <a:lnTo>
                    <a:pt x="1882216" y="3311577"/>
                  </a:lnTo>
                  <a:lnTo>
                    <a:pt x="1891434" y="3312476"/>
                  </a:lnTo>
                  <a:close/>
                  <a:moveTo>
                    <a:pt x="2466112" y="3306692"/>
                  </a:moveTo>
                  <a:lnTo>
                    <a:pt x="2466108" y="3306695"/>
                  </a:lnTo>
                  <a:lnTo>
                    <a:pt x="2466266" y="3318360"/>
                  </a:lnTo>
                  <a:lnTo>
                    <a:pt x="2466271" y="3318360"/>
                  </a:lnTo>
                  <a:close/>
                  <a:moveTo>
                    <a:pt x="387999" y="3303032"/>
                  </a:moveTo>
                  <a:lnTo>
                    <a:pt x="379343" y="3310335"/>
                  </a:lnTo>
                  <a:lnTo>
                    <a:pt x="385356" y="3308856"/>
                  </a:lnTo>
                  <a:close/>
                  <a:moveTo>
                    <a:pt x="2539157" y="3301345"/>
                  </a:moveTo>
                  <a:lnTo>
                    <a:pt x="2519185" y="3327869"/>
                  </a:lnTo>
                  <a:lnTo>
                    <a:pt x="2522262" y="3331826"/>
                  </a:lnTo>
                  <a:lnTo>
                    <a:pt x="2521088" y="3326744"/>
                  </a:lnTo>
                  <a:lnTo>
                    <a:pt x="2522924" y="3327296"/>
                  </a:lnTo>
                  <a:lnTo>
                    <a:pt x="2542092" y="3307997"/>
                  </a:lnTo>
                  <a:close/>
                  <a:moveTo>
                    <a:pt x="2428380" y="3301029"/>
                  </a:moveTo>
                  <a:lnTo>
                    <a:pt x="2428376" y="3301030"/>
                  </a:lnTo>
                  <a:lnTo>
                    <a:pt x="2445040" y="3318898"/>
                  </a:lnTo>
                  <a:lnTo>
                    <a:pt x="2445044" y="3318897"/>
                  </a:lnTo>
                  <a:close/>
                  <a:moveTo>
                    <a:pt x="1831321" y="3300467"/>
                  </a:moveTo>
                  <a:lnTo>
                    <a:pt x="1844528" y="3326672"/>
                  </a:lnTo>
                  <a:lnTo>
                    <a:pt x="1862336" y="3337220"/>
                  </a:lnTo>
                  <a:lnTo>
                    <a:pt x="1863367" y="3334691"/>
                  </a:lnTo>
                  <a:lnTo>
                    <a:pt x="1844528" y="3326671"/>
                  </a:lnTo>
                  <a:lnTo>
                    <a:pt x="1846598" y="3311320"/>
                  </a:lnTo>
                  <a:close/>
                  <a:moveTo>
                    <a:pt x="2744254" y="3296663"/>
                  </a:moveTo>
                  <a:lnTo>
                    <a:pt x="2719596" y="3304615"/>
                  </a:lnTo>
                  <a:lnTo>
                    <a:pt x="2731638" y="3308906"/>
                  </a:lnTo>
                  <a:close/>
                  <a:moveTo>
                    <a:pt x="386395" y="3289730"/>
                  </a:moveTo>
                  <a:lnTo>
                    <a:pt x="386395" y="3289732"/>
                  </a:lnTo>
                  <a:lnTo>
                    <a:pt x="391562" y="3291871"/>
                  </a:lnTo>
                  <a:lnTo>
                    <a:pt x="399110" y="3292649"/>
                  </a:lnTo>
                  <a:lnTo>
                    <a:pt x="399112" y="3292648"/>
                  </a:lnTo>
                  <a:close/>
                  <a:moveTo>
                    <a:pt x="3499331" y="3287273"/>
                  </a:moveTo>
                  <a:lnTo>
                    <a:pt x="3499329" y="3287276"/>
                  </a:lnTo>
                  <a:lnTo>
                    <a:pt x="3412170" y="3359830"/>
                  </a:lnTo>
                  <a:lnTo>
                    <a:pt x="3404558" y="3350210"/>
                  </a:lnTo>
                  <a:lnTo>
                    <a:pt x="3361992" y="3363024"/>
                  </a:lnTo>
                  <a:lnTo>
                    <a:pt x="3332865" y="3389816"/>
                  </a:lnTo>
                  <a:lnTo>
                    <a:pt x="3332865" y="3389817"/>
                  </a:lnTo>
                  <a:lnTo>
                    <a:pt x="3361992" y="3363025"/>
                  </a:lnTo>
                  <a:lnTo>
                    <a:pt x="3404558" y="3350211"/>
                  </a:lnTo>
                  <a:lnTo>
                    <a:pt x="3412170" y="3359830"/>
                  </a:lnTo>
                  <a:lnTo>
                    <a:pt x="3499329" y="3287277"/>
                  </a:lnTo>
                  <a:close/>
                  <a:moveTo>
                    <a:pt x="2097409" y="3282876"/>
                  </a:moveTo>
                  <a:lnTo>
                    <a:pt x="2097091" y="3284981"/>
                  </a:lnTo>
                  <a:lnTo>
                    <a:pt x="2097249" y="3284949"/>
                  </a:lnTo>
                  <a:close/>
                  <a:moveTo>
                    <a:pt x="2113521" y="3277232"/>
                  </a:moveTo>
                  <a:lnTo>
                    <a:pt x="2097780" y="3284841"/>
                  </a:lnTo>
                  <a:lnTo>
                    <a:pt x="2111211" y="3282121"/>
                  </a:lnTo>
                  <a:close/>
                  <a:moveTo>
                    <a:pt x="2982970" y="3269555"/>
                  </a:moveTo>
                  <a:lnTo>
                    <a:pt x="2962816" y="3270232"/>
                  </a:lnTo>
                  <a:lnTo>
                    <a:pt x="2958369" y="3277357"/>
                  </a:lnTo>
                  <a:close/>
                  <a:moveTo>
                    <a:pt x="2779965" y="3262007"/>
                  </a:moveTo>
                  <a:lnTo>
                    <a:pt x="2757765" y="3275422"/>
                  </a:lnTo>
                  <a:lnTo>
                    <a:pt x="2758141" y="3283186"/>
                  </a:lnTo>
                  <a:lnTo>
                    <a:pt x="2779965" y="3262008"/>
                  </a:lnTo>
                  <a:close/>
                  <a:moveTo>
                    <a:pt x="2877042" y="3261660"/>
                  </a:moveTo>
                  <a:lnTo>
                    <a:pt x="2876903" y="3261779"/>
                  </a:lnTo>
                  <a:lnTo>
                    <a:pt x="2876905" y="3261780"/>
                  </a:lnTo>
                  <a:close/>
                  <a:moveTo>
                    <a:pt x="1412133" y="3261614"/>
                  </a:moveTo>
                  <a:lnTo>
                    <a:pt x="1395144" y="3280870"/>
                  </a:lnTo>
                  <a:lnTo>
                    <a:pt x="1401142" y="3292781"/>
                  </a:lnTo>
                  <a:lnTo>
                    <a:pt x="1441327" y="3317052"/>
                  </a:lnTo>
                  <a:lnTo>
                    <a:pt x="1395144" y="3280870"/>
                  </a:lnTo>
                  <a:lnTo>
                    <a:pt x="1416733" y="3269939"/>
                  </a:lnTo>
                  <a:close/>
                  <a:moveTo>
                    <a:pt x="2122369" y="3260408"/>
                  </a:moveTo>
                  <a:lnTo>
                    <a:pt x="2094996" y="3268809"/>
                  </a:lnTo>
                  <a:lnTo>
                    <a:pt x="2098358" y="3270603"/>
                  </a:lnTo>
                  <a:lnTo>
                    <a:pt x="2098478" y="3269042"/>
                  </a:lnTo>
                  <a:close/>
                  <a:moveTo>
                    <a:pt x="2072553" y="3254985"/>
                  </a:moveTo>
                  <a:lnTo>
                    <a:pt x="2071454" y="3256244"/>
                  </a:lnTo>
                  <a:lnTo>
                    <a:pt x="2076604" y="3258992"/>
                  </a:lnTo>
                  <a:close/>
                  <a:moveTo>
                    <a:pt x="2543018" y="3254077"/>
                  </a:moveTo>
                  <a:lnTo>
                    <a:pt x="2528240" y="3275546"/>
                  </a:lnTo>
                  <a:lnTo>
                    <a:pt x="2528602" y="3275960"/>
                  </a:lnTo>
                  <a:close/>
                  <a:moveTo>
                    <a:pt x="1834080" y="3253371"/>
                  </a:moveTo>
                  <a:lnTo>
                    <a:pt x="1822138" y="3282249"/>
                  </a:lnTo>
                  <a:lnTo>
                    <a:pt x="1826355" y="3290616"/>
                  </a:lnTo>
                  <a:close/>
                  <a:moveTo>
                    <a:pt x="1834080" y="3253367"/>
                  </a:moveTo>
                  <a:lnTo>
                    <a:pt x="1834080" y="3253370"/>
                  </a:lnTo>
                  <a:lnTo>
                    <a:pt x="1834080" y="3253369"/>
                  </a:lnTo>
                  <a:close/>
                  <a:moveTo>
                    <a:pt x="1942240" y="3241753"/>
                  </a:moveTo>
                  <a:lnTo>
                    <a:pt x="1942154" y="3241827"/>
                  </a:lnTo>
                  <a:lnTo>
                    <a:pt x="1974990" y="3274562"/>
                  </a:lnTo>
                  <a:lnTo>
                    <a:pt x="1976487" y="3272445"/>
                  </a:lnTo>
                  <a:close/>
                  <a:moveTo>
                    <a:pt x="1999175" y="3240741"/>
                  </a:moveTo>
                  <a:lnTo>
                    <a:pt x="1999032" y="3240988"/>
                  </a:lnTo>
                  <a:lnTo>
                    <a:pt x="2041025" y="3249455"/>
                  </a:lnTo>
                  <a:lnTo>
                    <a:pt x="2041025" y="3249455"/>
                  </a:lnTo>
                  <a:close/>
                  <a:moveTo>
                    <a:pt x="262700" y="3238234"/>
                  </a:moveTo>
                  <a:lnTo>
                    <a:pt x="262694" y="3238236"/>
                  </a:lnTo>
                  <a:lnTo>
                    <a:pt x="279782" y="3337270"/>
                  </a:lnTo>
                  <a:lnTo>
                    <a:pt x="291345" y="3344646"/>
                  </a:lnTo>
                  <a:lnTo>
                    <a:pt x="281236" y="3286632"/>
                  </a:lnTo>
                  <a:close/>
                  <a:moveTo>
                    <a:pt x="424550" y="3236430"/>
                  </a:moveTo>
                  <a:lnTo>
                    <a:pt x="420920" y="3244407"/>
                  </a:lnTo>
                  <a:lnTo>
                    <a:pt x="425176" y="3240766"/>
                  </a:lnTo>
                  <a:close/>
                  <a:moveTo>
                    <a:pt x="1405255" y="3231591"/>
                  </a:moveTo>
                  <a:lnTo>
                    <a:pt x="1398144" y="3232956"/>
                  </a:lnTo>
                  <a:lnTo>
                    <a:pt x="1398730" y="3233920"/>
                  </a:lnTo>
                  <a:close/>
                  <a:moveTo>
                    <a:pt x="2779299" y="3231379"/>
                  </a:moveTo>
                  <a:lnTo>
                    <a:pt x="2779230" y="3231427"/>
                  </a:lnTo>
                  <a:lnTo>
                    <a:pt x="2779965" y="3261998"/>
                  </a:lnTo>
                  <a:close/>
                  <a:moveTo>
                    <a:pt x="2513472" y="3231092"/>
                  </a:moveTo>
                  <a:lnTo>
                    <a:pt x="2513223" y="3231474"/>
                  </a:lnTo>
                  <a:lnTo>
                    <a:pt x="2543056" y="3254021"/>
                  </a:lnTo>
                  <a:close/>
                  <a:moveTo>
                    <a:pt x="3705165" y="3228931"/>
                  </a:moveTo>
                  <a:lnTo>
                    <a:pt x="3751463" y="3335219"/>
                  </a:lnTo>
                  <a:lnTo>
                    <a:pt x="3751077" y="3323626"/>
                  </a:lnTo>
                  <a:close/>
                  <a:moveTo>
                    <a:pt x="2069625" y="3228028"/>
                  </a:moveTo>
                  <a:lnTo>
                    <a:pt x="2069011" y="3228487"/>
                  </a:lnTo>
                  <a:lnTo>
                    <a:pt x="2091858" y="3232837"/>
                  </a:lnTo>
                  <a:lnTo>
                    <a:pt x="2091851" y="3232846"/>
                  </a:lnTo>
                  <a:lnTo>
                    <a:pt x="2091860" y="3232837"/>
                  </a:lnTo>
                  <a:close/>
                  <a:moveTo>
                    <a:pt x="2832150" y="3214762"/>
                  </a:moveTo>
                  <a:lnTo>
                    <a:pt x="2876892" y="3261767"/>
                  </a:lnTo>
                  <a:lnTo>
                    <a:pt x="2844297" y="3216269"/>
                  </a:lnTo>
                  <a:close/>
                  <a:moveTo>
                    <a:pt x="2807393" y="3211691"/>
                  </a:moveTo>
                  <a:lnTo>
                    <a:pt x="2779330" y="3231357"/>
                  </a:lnTo>
                  <a:lnTo>
                    <a:pt x="2819201" y="3213156"/>
                  </a:lnTo>
                  <a:close/>
                  <a:moveTo>
                    <a:pt x="2498285" y="3209318"/>
                  </a:moveTo>
                  <a:lnTo>
                    <a:pt x="2498208" y="3209351"/>
                  </a:lnTo>
                  <a:lnTo>
                    <a:pt x="2498208" y="3209352"/>
                  </a:lnTo>
                  <a:close/>
                  <a:moveTo>
                    <a:pt x="1159254" y="3207399"/>
                  </a:moveTo>
                  <a:lnTo>
                    <a:pt x="1146077" y="3215896"/>
                  </a:lnTo>
                  <a:lnTo>
                    <a:pt x="1151291" y="3264662"/>
                  </a:lnTo>
                  <a:lnTo>
                    <a:pt x="1120335" y="3272915"/>
                  </a:lnTo>
                  <a:lnTo>
                    <a:pt x="1085303" y="3339039"/>
                  </a:lnTo>
                  <a:lnTo>
                    <a:pt x="1041588" y="3334925"/>
                  </a:lnTo>
                  <a:lnTo>
                    <a:pt x="1036463" y="3294377"/>
                  </a:lnTo>
                  <a:lnTo>
                    <a:pt x="1036457" y="3294360"/>
                  </a:lnTo>
                  <a:lnTo>
                    <a:pt x="1036454" y="3294377"/>
                  </a:lnTo>
                  <a:lnTo>
                    <a:pt x="1041579" y="3334926"/>
                  </a:lnTo>
                  <a:lnTo>
                    <a:pt x="1061703" y="3336819"/>
                  </a:lnTo>
                  <a:lnTo>
                    <a:pt x="1085298" y="3339039"/>
                  </a:lnTo>
                  <a:lnTo>
                    <a:pt x="1058871" y="3360086"/>
                  </a:lnTo>
                  <a:lnTo>
                    <a:pt x="1077227" y="3386338"/>
                  </a:lnTo>
                  <a:lnTo>
                    <a:pt x="1067230" y="3426063"/>
                  </a:lnTo>
                  <a:lnTo>
                    <a:pt x="1098157" y="3443943"/>
                  </a:lnTo>
                  <a:lnTo>
                    <a:pt x="1072728" y="3452527"/>
                  </a:lnTo>
                  <a:lnTo>
                    <a:pt x="1102893" y="3443206"/>
                  </a:lnTo>
                  <a:lnTo>
                    <a:pt x="1120205" y="3478432"/>
                  </a:lnTo>
                  <a:lnTo>
                    <a:pt x="1160302" y="3494894"/>
                  </a:lnTo>
                  <a:lnTo>
                    <a:pt x="1160304" y="3494893"/>
                  </a:lnTo>
                  <a:lnTo>
                    <a:pt x="1120211" y="3478432"/>
                  </a:lnTo>
                  <a:lnTo>
                    <a:pt x="1102899" y="3443207"/>
                  </a:lnTo>
                  <a:lnTo>
                    <a:pt x="1069397" y="3424806"/>
                  </a:lnTo>
                  <a:lnTo>
                    <a:pt x="1077233" y="3386338"/>
                  </a:lnTo>
                  <a:lnTo>
                    <a:pt x="1058877" y="3360086"/>
                  </a:lnTo>
                  <a:lnTo>
                    <a:pt x="1091580" y="3336293"/>
                  </a:lnTo>
                  <a:lnTo>
                    <a:pt x="1120335" y="3272916"/>
                  </a:lnTo>
                  <a:lnTo>
                    <a:pt x="1151291" y="3264662"/>
                  </a:lnTo>
                  <a:lnTo>
                    <a:pt x="1146078" y="3215896"/>
                  </a:lnTo>
                  <a:lnTo>
                    <a:pt x="1159254" y="3207400"/>
                  </a:lnTo>
                  <a:lnTo>
                    <a:pt x="1168249" y="3220619"/>
                  </a:lnTo>
                  <a:lnTo>
                    <a:pt x="1168446" y="3220323"/>
                  </a:lnTo>
                  <a:close/>
                  <a:moveTo>
                    <a:pt x="2320548" y="3207305"/>
                  </a:moveTo>
                  <a:lnTo>
                    <a:pt x="2320550" y="3207308"/>
                  </a:lnTo>
                  <a:lnTo>
                    <a:pt x="2304984" y="3228206"/>
                  </a:lnTo>
                  <a:lnTo>
                    <a:pt x="2331201" y="3260039"/>
                  </a:lnTo>
                  <a:lnTo>
                    <a:pt x="2331201" y="3260052"/>
                  </a:lnTo>
                  <a:lnTo>
                    <a:pt x="2331206" y="3260039"/>
                  </a:lnTo>
                  <a:lnTo>
                    <a:pt x="2304988" y="3228206"/>
                  </a:lnTo>
                  <a:lnTo>
                    <a:pt x="2320555" y="3207308"/>
                  </a:lnTo>
                  <a:close/>
                  <a:moveTo>
                    <a:pt x="1441572" y="3201294"/>
                  </a:moveTo>
                  <a:lnTo>
                    <a:pt x="1441617" y="3218610"/>
                  </a:lnTo>
                  <a:lnTo>
                    <a:pt x="1445447" y="3217243"/>
                  </a:lnTo>
                  <a:close/>
                  <a:moveTo>
                    <a:pt x="1794525" y="3200129"/>
                  </a:moveTo>
                  <a:lnTo>
                    <a:pt x="1779092" y="3218441"/>
                  </a:lnTo>
                  <a:lnTo>
                    <a:pt x="1779704" y="3219096"/>
                  </a:lnTo>
                  <a:close/>
                  <a:moveTo>
                    <a:pt x="1794539" y="3200112"/>
                  </a:moveTo>
                  <a:lnTo>
                    <a:pt x="1816203" y="3216754"/>
                  </a:lnTo>
                  <a:lnTo>
                    <a:pt x="1811625" y="3207380"/>
                  </a:lnTo>
                  <a:lnTo>
                    <a:pt x="1794539" y="3200112"/>
                  </a:lnTo>
                  <a:close/>
                  <a:moveTo>
                    <a:pt x="2984607" y="3195998"/>
                  </a:moveTo>
                  <a:lnTo>
                    <a:pt x="2984607" y="3195999"/>
                  </a:lnTo>
                  <a:lnTo>
                    <a:pt x="3008802" y="3209231"/>
                  </a:lnTo>
                  <a:close/>
                  <a:moveTo>
                    <a:pt x="1177515" y="3193626"/>
                  </a:moveTo>
                  <a:lnTo>
                    <a:pt x="1181741" y="3200432"/>
                  </a:lnTo>
                  <a:lnTo>
                    <a:pt x="1185054" y="3195474"/>
                  </a:lnTo>
                  <a:close/>
                  <a:moveTo>
                    <a:pt x="1754275" y="3191904"/>
                  </a:moveTo>
                  <a:lnTo>
                    <a:pt x="1742464" y="3198891"/>
                  </a:lnTo>
                  <a:lnTo>
                    <a:pt x="1742459" y="3198894"/>
                  </a:lnTo>
                  <a:lnTo>
                    <a:pt x="1754275" y="3191905"/>
                  </a:lnTo>
                  <a:lnTo>
                    <a:pt x="1754300" y="3191932"/>
                  </a:lnTo>
                  <a:close/>
                  <a:moveTo>
                    <a:pt x="2539614" y="3191862"/>
                  </a:moveTo>
                  <a:lnTo>
                    <a:pt x="2538558" y="3192308"/>
                  </a:lnTo>
                  <a:lnTo>
                    <a:pt x="2525581" y="3212371"/>
                  </a:lnTo>
                  <a:close/>
                  <a:moveTo>
                    <a:pt x="2159399" y="3191780"/>
                  </a:moveTo>
                  <a:lnTo>
                    <a:pt x="2157431" y="3192630"/>
                  </a:lnTo>
                  <a:lnTo>
                    <a:pt x="2160998" y="3246446"/>
                  </a:lnTo>
                  <a:lnTo>
                    <a:pt x="2165307" y="3244889"/>
                  </a:lnTo>
                  <a:close/>
                  <a:moveTo>
                    <a:pt x="1751004" y="3190214"/>
                  </a:moveTo>
                  <a:lnTo>
                    <a:pt x="1752380" y="3190576"/>
                  </a:lnTo>
                  <a:lnTo>
                    <a:pt x="1742482" y="3198875"/>
                  </a:lnTo>
                  <a:lnTo>
                    <a:pt x="1752823" y="3190642"/>
                  </a:lnTo>
                  <a:close/>
                  <a:moveTo>
                    <a:pt x="5368244" y="3186193"/>
                  </a:moveTo>
                  <a:lnTo>
                    <a:pt x="5368158" y="3186258"/>
                  </a:lnTo>
                  <a:lnTo>
                    <a:pt x="5372466" y="3224773"/>
                  </a:lnTo>
                  <a:lnTo>
                    <a:pt x="5404775" y="3236799"/>
                  </a:lnTo>
                  <a:lnTo>
                    <a:pt x="5426979" y="3294251"/>
                  </a:lnTo>
                  <a:lnTo>
                    <a:pt x="5392443" y="3370061"/>
                  </a:lnTo>
                  <a:lnTo>
                    <a:pt x="5392562" y="3370080"/>
                  </a:lnTo>
                  <a:lnTo>
                    <a:pt x="5426983" y="3294250"/>
                  </a:lnTo>
                  <a:lnTo>
                    <a:pt x="5404781" y="3236794"/>
                  </a:lnTo>
                  <a:lnTo>
                    <a:pt x="5372469" y="3224772"/>
                  </a:lnTo>
                  <a:close/>
                  <a:moveTo>
                    <a:pt x="1348318" y="3181827"/>
                  </a:moveTo>
                  <a:lnTo>
                    <a:pt x="1348942" y="3185172"/>
                  </a:lnTo>
                  <a:lnTo>
                    <a:pt x="1378108" y="3199985"/>
                  </a:lnTo>
                  <a:lnTo>
                    <a:pt x="1378110" y="3199989"/>
                  </a:lnTo>
                  <a:lnTo>
                    <a:pt x="1378108" y="3199984"/>
                  </a:lnTo>
                  <a:close/>
                  <a:moveTo>
                    <a:pt x="6826538" y="3181433"/>
                  </a:moveTo>
                  <a:lnTo>
                    <a:pt x="6838061" y="3229802"/>
                  </a:lnTo>
                  <a:lnTo>
                    <a:pt x="6827740" y="3273478"/>
                  </a:lnTo>
                  <a:lnTo>
                    <a:pt x="6827959" y="3273695"/>
                  </a:lnTo>
                  <a:lnTo>
                    <a:pt x="6838223" y="3230012"/>
                  </a:lnTo>
                  <a:close/>
                  <a:moveTo>
                    <a:pt x="1742842" y="3177904"/>
                  </a:moveTo>
                  <a:lnTo>
                    <a:pt x="1727591" y="3184057"/>
                  </a:lnTo>
                  <a:lnTo>
                    <a:pt x="1732844" y="3185438"/>
                  </a:lnTo>
                  <a:close/>
                  <a:moveTo>
                    <a:pt x="2228249" y="3174199"/>
                  </a:moveTo>
                  <a:lnTo>
                    <a:pt x="2250308" y="3189015"/>
                  </a:lnTo>
                  <a:lnTo>
                    <a:pt x="2283582" y="3194047"/>
                  </a:lnTo>
                  <a:close/>
                  <a:moveTo>
                    <a:pt x="3640029" y="3172591"/>
                  </a:moveTo>
                  <a:lnTo>
                    <a:pt x="3700586" y="3219487"/>
                  </a:lnTo>
                  <a:lnTo>
                    <a:pt x="3699963" y="3218201"/>
                  </a:lnTo>
                  <a:close/>
                  <a:moveTo>
                    <a:pt x="3569479" y="3170449"/>
                  </a:moveTo>
                  <a:lnTo>
                    <a:pt x="3545209" y="3194979"/>
                  </a:lnTo>
                  <a:lnTo>
                    <a:pt x="3537635" y="3223484"/>
                  </a:lnTo>
                  <a:close/>
                  <a:moveTo>
                    <a:pt x="1692659" y="3170149"/>
                  </a:moveTo>
                  <a:lnTo>
                    <a:pt x="1678147" y="3180997"/>
                  </a:lnTo>
                  <a:lnTo>
                    <a:pt x="1679452" y="3189883"/>
                  </a:lnTo>
                  <a:close/>
                  <a:moveTo>
                    <a:pt x="2212865" y="3168681"/>
                  </a:moveTo>
                  <a:lnTo>
                    <a:pt x="2193357" y="3177109"/>
                  </a:lnTo>
                  <a:lnTo>
                    <a:pt x="2214198" y="3169159"/>
                  </a:lnTo>
                  <a:close/>
                  <a:moveTo>
                    <a:pt x="2468245" y="3164712"/>
                  </a:moveTo>
                  <a:lnTo>
                    <a:pt x="2444564" y="3175313"/>
                  </a:lnTo>
                  <a:lnTo>
                    <a:pt x="2434769" y="3171687"/>
                  </a:lnTo>
                  <a:lnTo>
                    <a:pt x="2444564" y="3175314"/>
                  </a:lnTo>
                  <a:lnTo>
                    <a:pt x="2468246" y="3164714"/>
                  </a:lnTo>
                  <a:close/>
                  <a:moveTo>
                    <a:pt x="1939514" y="3164167"/>
                  </a:moveTo>
                  <a:lnTo>
                    <a:pt x="1939767" y="3164903"/>
                  </a:lnTo>
                  <a:lnTo>
                    <a:pt x="1931566" y="3203307"/>
                  </a:lnTo>
                  <a:lnTo>
                    <a:pt x="1939768" y="3164903"/>
                  </a:lnTo>
                  <a:close/>
                  <a:moveTo>
                    <a:pt x="125434" y="3162869"/>
                  </a:moveTo>
                  <a:lnTo>
                    <a:pt x="156573" y="3191078"/>
                  </a:lnTo>
                  <a:lnTo>
                    <a:pt x="156317" y="3196969"/>
                  </a:lnTo>
                  <a:close/>
                  <a:moveTo>
                    <a:pt x="1183560" y="3160840"/>
                  </a:moveTo>
                  <a:lnTo>
                    <a:pt x="1159277" y="3164262"/>
                  </a:lnTo>
                  <a:lnTo>
                    <a:pt x="1159277" y="3164263"/>
                  </a:lnTo>
                  <a:lnTo>
                    <a:pt x="1183560" y="3160841"/>
                  </a:lnTo>
                  <a:close/>
                  <a:moveTo>
                    <a:pt x="3003648" y="3158792"/>
                  </a:moveTo>
                  <a:lnTo>
                    <a:pt x="2994357" y="3162857"/>
                  </a:lnTo>
                  <a:lnTo>
                    <a:pt x="2993637" y="3165301"/>
                  </a:lnTo>
                  <a:close/>
                  <a:moveTo>
                    <a:pt x="6780079" y="3150571"/>
                  </a:moveTo>
                  <a:lnTo>
                    <a:pt x="6779701" y="3150663"/>
                  </a:lnTo>
                  <a:lnTo>
                    <a:pt x="6826280" y="3180363"/>
                  </a:lnTo>
                  <a:close/>
                  <a:moveTo>
                    <a:pt x="3639428" y="3149387"/>
                  </a:moveTo>
                  <a:lnTo>
                    <a:pt x="3630292" y="3165051"/>
                  </a:lnTo>
                  <a:lnTo>
                    <a:pt x="3630532" y="3165237"/>
                  </a:lnTo>
                  <a:close/>
                  <a:moveTo>
                    <a:pt x="4441687" y="3147379"/>
                  </a:moveTo>
                  <a:lnTo>
                    <a:pt x="4469032" y="3156647"/>
                  </a:lnTo>
                  <a:lnTo>
                    <a:pt x="4488216" y="3190013"/>
                  </a:lnTo>
                  <a:lnTo>
                    <a:pt x="4468992" y="3156464"/>
                  </a:lnTo>
                  <a:close/>
                  <a:moveTo>
                    <a:pt x="3583815" y="3146576"/>
                  </a:moveTo>
                  <a:lnTo>
                    <a:pt x="3539912" y="3147651"/>
                  </a:lnTo>
                  <a:lnTo>
                    <a:pt x="3579685" y="3153453"/>
                  </a:lnTo>
                  <a:close/>
                  <a:moveTo>
                    <a:pt x="3642688" y="3142531"/>
                  </a:moveTo>
                  <a:lnTo>
                    <a:pt x="3643016" y="3142993"/>
                  </a:lnTo>
                  <a:lnTo>
                    <a:pt x="3643049" y="3142936"/>
                  </a:lnTo>
                  <a:close/>
                  <a:moveTo>
                    <a:pt x="1753177" y="3130809"/>
                  </a:moveTo>
                  <a:lnTo>
                    <a:pt x="1753935" y="3149923"/>
                  </a:lnTo>
                  <a:lnTo>
                    <a:pt x="1753182" y="3130814"/>
                  </a:lnTo>
                  <a:close/>
                  <a:moveTo>
                    <a:pt x="1606795" y="3125299"/>
                  </a:moveTo>
                  <a:lnTo>
                    <a:pt x="1606795" y="3125302"/>
                  </a:lnTo>
                  <a:lnTo>
                    <a:pt x="1607224" y="3125350"/>
                  </a:lnTo>
                  <a:close/>
                  <a:moveTo>
                    <a:pt x="9224492" y="3124969"/>
                  </a:moveTo>
                  <a:lnTo>
                    <a:pt x="9219750" y="3132221"/>
                  </a:lnTo>
                  <a:lnTo>
                    <a:pt x="9234815" y="3215604"/>
                  </a:lnTo>
                  <a:lnTo>
                    <a:pt x="9194184" y="3266151"/>
                  </a:lnTo>
                  <a:lnTo>
                    <a:pt x="9202638" y="3284444"/>
                  </a:lnTo>
                  <a:lnTo>
                    <a:pt x="9196615" y="3295622"/>
                  </a:lnTo>
                  <a:lnTo>
                    <a:pt x="9202785" y="3284618"/>
                  </a:lnTo>
                  <a:lnTo>
                    <a:pt x="9194186" y="3266151"/>
                  </a:lnTo>
                  <a:lnTo>
                    <a:pt x="9234816" y="3215604"/>
                  </a:lnTo>
                  <a:lnTo>
                    <a:pt x="9219807" y="3132484"/>
                  </a:lnTo>
                  <a:close/>
                  <a:moveTo>
                    <a:pt x="1783215" y="3124338"/>
                  </a:moveTo>
                  <a:lnTo>
                    <a:pt x="1784258" y="3150705"/>
                  </a:lnTo>
                  <a:lnTo>
                    <a:pt x="1785882" y="3151746"/>
                  </a:lnTo>
                  <a:close/>
                  <a:moveTo>
                    <a:pt x="1783202" y="3124320"/>
                  </a:moveTo>
                  <a:lnTo>
                    <a:pt x="1783214" y="3124322"/>
                  </a:lnTo>
                  <a:lnTo>
                    <a:pt x="1783214" y="3124321"/>
                  </a:lnTo>
                  <a:close/>
                  <a:moveTo>
                    <a:pt x="4390575" y="3122596"/>
                  </a:moveTo>
                  <a:lnTo>
                    <a:pt x="4375608" y="3133393"/>
                  </a:lnTo>
                  <a:lnTo>
                    <a:pt x="4375709" y="3133487"/>
                  </a:lnTo>
                  <a:lnTo>
                    <a:pt x="4390596" y="3122700"/>
                  </a:lnTo>
                  <a:close/>
                  <a:moveTo>
                    <a:pt x="1309627" y="3122099"/>
                  </a:moveTo>
                  <a:lnTo>
                    <a:pt x="1310216" y="3124665"/>
                  </a:lnTo>
                  <a:lnTo>
                    <a:pt x="1338472" y="3129090"/>
                  </a:lnTo>
                  <a:close/>
                  <a:moveTo>
                    <a:pt x="5371969" y="3121148"/>
                  </a:moveTo>
                  <a:lnTo>
                    <a:pt x="5371301" y="3121939"/>
                  </a:lnTo>
                  <a:lnTo>
                    <a:pt x="5390223" y="3169865"/>
                  </a:lnTo>
                  <a:lnTo>
                    <a:pt x="5389758" y="3170211"/>
                  </a:lnTo>
                  <a:lnTo>
                    <a:pt x="5390227" y="3169864"/>
                  </a:lnTo>
                  <a:close/>
                  <a:moveTo>
                    <a:pt x="1179296" y="3120216"/>
                  </a:moveTo>
                  <a:lnTo>
                    <a:pt x="1180830" y="3134835"/>
                  </a:lnTo>
                  <a:lnTo>
                    <a:pt x="1182377" y="3134597"/>
                  </a:lnTo>
                  <a:close/>
                  <a:moveTo>
                    <a:pt x="1446492" y="3119159"/>
                  </a:moveTo>
                  <a:lnTo>
                    <a:pt x="1441364" y="3122109"/>
                  </a:lnTo>
                  <a:lnTo>
                    <a:pt x="1441413" y="3140901"/>
                  </a:lnTo>
                  <a:close/>
                  <a:moveTo>
                    <a:pt x="9232157" y="3112363"/>
                  </a:moveTo>
                  <a:lnTo>
                    <a:pt x="9232236" y="3112546"/>
                  </a:lnTo>
                  <a:lnTo>
                    <a:pt x="9232245" y="3112531"/>
                  </a:lnTo>
                  <a:close/>
                  <a:moveTo>
                    <a:pt x="1921174" y="3111185"/>
                  </a:moveTo>
                  <a:lnTo>
                    <a:pt x="1881837" y="3111248"/>
                  </a:lnTo>
                  <a:lnTo>
                    <a:pt x="1882295" y="3111967"/>
                  </a:lnTo>
                  <a:lnTo>
                    <a:pt x="1921215" y="3111307"/>
                  </a:lnTo>
                  <a:close/>
                  <a:moveTo>
                    <a:pt x="4351354" y="3111026"/>
                  </a:moveTo>
                  <a:lnTo>
                    <a:pt x="4350995" y="3111132"/>
                  </a:lnTo>
                  <a:lnTo>
                    <a:pt x="4351355" y="3111026"/>
                  </a:lnTo>
                  <a:close/>
                  <a:moveTo>
                    <a:pt x="2241989" y="3109966"/>
                  </a:moveTo>
                  <a:lnTo>
                    <a:pt x="2242957" y="3110632"/>
                  </a:lnTo>
                  <a:lnTo>
                    <a:pt x="2218059" y="3124171"/>
                  </a:lnTo>
                  <a:lnTo>
                    <a:pt x="2218055" y="3124212"/>
                  </a:lnTo>
                  <a:lnTo>
                    <a:pt x="2218062" y="3124172"/>
                  </a:lnTo>
                  <a:lnTo>
                    <a:pt x="2242963" y="3110633"/>
                  </a:lnTo>
                  <a:close/>
                  <a:moveTo>
                    <a:pt x="1766328" y="3107327"/>
                  </a:moveTo>
                  <a:lnTo>
                    <a:pt x="1760555" y="3121500"/>
                  </a:lnTo>
                  <a:lnTo>
                    <a:pt x="1761692" y="3121642"/>
                  </a:lnTo>
                  <a:close/>
                  <a:moveTo>
                    <a:pt x="1835895" y="3106902"/>
                  </a:moveTo>
                  <a:lnTo>
                    <a:pt x="1816357" y="3107733"/>
                  </a:lnTo>
                  <a:lnTo>
                    <a:pt x="1809012" y="3124087"/>
                  </a:lnTo>
                  <a:lnTo>
                    <a:pt x="1809128" y="3124136"/>
                  </a:lnTo>
                  <a:close/>
                  <a:moveTo>
                    <a:pt x="1766824" y="3106110"/>
                  </a:moveTo>
                  <a:lnTo>
                    <a:pt x="1766768" y="3106247"/>
                  </a:lnTo>
                  <a:lnTo>
                    <a:pt x="1775631" y="3109990"/>
                  </a:lnTo>
                  <a:close/>
                  <a:moveTo>
                    <a:pt x="3622308" y="3105588"/>
                  </a:moveTo>
                  <a:lnTo>
                    <a:pt x="3611658" y="3117502"/>
                  </a:lnTo>
                  <a:lnTo>
                    <a:pt x="3615730" y="3115093"/>
                  </a:lnTo>
                  <a:lnTo>
                    <a:pt x="3623062" y="3120464"/>
                  </a:lnTo>
                  <a:lnTo>
                    <a:pt x="3618378" y="3115196"/>
                  </a:lnTo>
                  <a:close/>
                  <a:moveTo>
                    <a:pt x="1663834" y="3105406"/>
                  </a:moveTo>
                  <a:lnTo>
                    <a:pt x="1632519" y="3128201"/>
                  </a:lnTo>
                  <a:lnTo>
                    <a:pt x="1632564" y="3128206"/>
                  </a:lnTo>
                  <a:close/>
                  <a:moveTo>
                    <a:pt x="2351480" y="3105202"/>
                  </a:moveTo>
                  <a:lnTo>
                    <a:pt x="2364154" y="3144761"/>
                  </a:lnTo>
                  <a:lnTo>
                    <a:pt x="2364264" y="3144766"/>
                  </a:lnTo>
                  <a:lnTo>
                    <a:pt x="2366366" y="3121293"/>
                  </a:lnTo>
                  <a:close/>
                  <a:moveTo>
                    <a:pt x="1665047" y="3104523"/>
                  </a:moveTo>
                  <a:lnTo>
                    <a:pt x="1665046" y="3104524"/>
                  </a:lnTo>
                  <a:lnTo>
                    <a:pt x="1708088" y="3142811"/>
                  </a:lnTo>
                  <a:lnTo>
                    <a:pt x="1710091" y="3156241"/>
                  </a:lnTo>
                  <a:lnTo>
                    <a:pt x="1731066" y="3161302"/>
                  </a:lnTo>
                  <a:lnTo>
                    <a:pt x="1731511" y="3161136"/>
                  </a:lnTo>
                  <a:close/>
                  <a:moveTo>
                    <a:pt x="4386481" y="3101912"/>
                  </a:moveTo>
                  <a:lnTo>
                    <a:pt x="4386515" y="3102079"/>
                  </a:lnTo>
                  <a:lnTo>
                    <a:pt x="4414279" y="3108051"/>
                  </a:lnTo>
                  <a:close/>
                  <a:moveTo>
                    <a:pt x="2228231" y="3099605"/>
                  </a:moveTo>
                  <a:lnTo>
                    <a:pt x="2227959" y="3100328"/>
                  </a:lnTo>
                  <a:lnTo>
                    <a:pt x="2228093" y="3100420"/>
                  </a:lnTo>
                  <a:close/>
                  <a:moveTo>
                    <a:pt x="1208496" y="3096544"/>
                  </a:moveTo>
                  <a:lnTo>
                    <a:pt x="1186465" y="3133967"/>
                  </a:lnTo>
                  <a:lnTo>
                    <a:pt x="1195906" y="3132513"/>
                  </a:lnTo>
                  <a:close/>
                  <a:moveTo>
                    <a:pt x="3086946" y="3096175"/>
                  </a:moveTo>
                  <a:lnTo>
                    <a:pt x="3073935" y="3113083"/>
                  </a:lnTo>
                  <a:lnTo>
                    <a:pt x="3085687" y="3105441"/>
                  </a:lnTo>
                  <a:close/>
                  <a:moveTo>
                    <a:pt x="1212720" y="3089369"/>
                  </a:moveTo>
                  <a:lnTo>
                    <a:pt x="1211757" y="3091004"/>
                  </a:lnTo>
                  <a:lnTo>
                    <a:pt x="1247478" y="3107357"/>
                  </a:lnTo>
                  <a:lnTo>
                    <a:pt x="1247512" y="3107267"/>
                  </a:lnTo>
                  <a:close/>
                  <a:moveTo>
                    <a:pt x="9700368" y="3089086"/>
                  </a:moveTo>
                  <a:lnTo>
                    <a:pt x="9700221" y="3091488"/>
                  </a:lnTo>
                  <a:lnTo>
                    <a:pt x="9744142" y="3107324"/>
                  </a:lnTo>
                  <a:close/>
                  <a:moveTo>
                    <a:pt x="1503901" y="3086129"/>
                  </a:moveTo>
                  <a:lnTo>
                    <a:pt x="1456522" y="3113388"/>
                  </a:lnTo>
                  <a:lnTo>
                    <a:pt x="1470170" y="3115621"/>
                  </a:lnTo>
                  <a:close/>
                  <a:moveTo>
                    <a:pt x="9848763" y="3081714"/>
                  </a:moveTo>
                  <a:lnTo>
                    <a:pt x="9826348" y="3094724"/>
                  </a:lnTo>
                  <a:lnTo>
                    <a:pt x="9826350" y="3094725"/>
                  </a:lnTo>
                  <a:lnTo>
                    <a:pt x="9848764" y="3081715"/>
                  </a:lnTo>
                  <a:close/>
                  <a:moveTo>
                    <a:pt x="1591280" y="3079534"/>
                  </a:moveTo>
                  <a:lnTo>
                    <a:pt x="1596394" y="3082809"/>
                  </a:lnTo>
                  <a:lnTo>
                    <a:pt x="1595754" y="3080195"/>
                  </a:lnTo>
                  <a:close/>
                  <a:moveTo>
                    <a:pt x="4248038" y="3073579"/>
                  </a:moveTo>
                  <a:lnTo>
                    <a:pt x="4291658" y="3128498"/>
                  </a:lnTo>
                  <a:lnTo>
                    <a:pt x="4291733" y="3128476"/>
                  </a:lnTo>
                  <a:close/>
                  <a:moveTo>
                    <a:pt x="9768047" y="3073018"/>
                  </a:moveTo>
                  <a:lnTo>
                    <a:pt x="9744155" y="3107329"/>
                  </a:lnTo>
                  <a:lnTo>
                    <a:pt x="9744157" y="3107329"/>
                  </a:lnTo>
                  <a:lnTo>
                    <a:pt x="9768670" y="3073250"/>
                  </a:lnTo>
                  <a:close/>
                  <a:moveTo>
                    <a:pt x="1844370" y="3067228"/>
                  </a:moveTo>
                  <a:lnTo>
                    <a:pt x="1840777" y="3073313"/>
                  </a:lnTo>
                  <a:lnTo>
                    <a:pt x="1846984" y="3070300"/>
                  </a:lnTo>
                  <a:close/>
                  <a:moveTo>
                    <a:pt x="1537588" y="3066747"/>
                  </a:moveTo>
                  <a:lnTo>
                    <a:pt x="1531881" y="3070031"/>
                  </a:lnTo>
                  <a:lnTo>
                    <a:pt x="1550279" y="3079508"/>
                  </a:lnTo>
                  <a:lnTo>
                    <a:pt x="1558558" y="3074699"/>
                  </a:lnTo>
                  <a:lnTo>
                    <a:pt x="1537192" y="3071542"/>
                  </a:lnTo>
                  <a:close/>
                  <a:moveTo>
                    <a:pt x="2288407" y="3061200"/>
                  </a:moveTo>
                  <a:lnTo>
                    <a:pt x="2266521" y="3085304"/>
                  </a:lnTo>
                  <a:lnTo>
                    <a:pt x="2237513" y="3074910"/>
                  </a:lnTo>
                  <a:lnTo>
                    <a:pt x="2235149" y="3081202"/>
                  </a:lnTo>
                  <a:lnTo>
                    <a:pt x="2266521" y="3085305"/>
                  </a:lnTo>
                  <a:lnTo>
                    <a:pt x="2291169" y="3062811"/>
                  </a:lnTo>
                  <a:close/>
                  <a:moveTo>
                    <a:pt x="2384593" y="3060652"/>
                  </a:moveTo>
                  <a:lnTo>
                    <a:pt x="2359180" y="3087995"/>
                  </a:lnTo>
                  <a:lnTo>
                    <a:pt x="2383295" y="3074059"/>
                  </a:lnTo>
                  <a:close/>
                  <a:moveTo>
                    <a:pt x="9211432" y="3056709"/>
                  </a:moveTo>
                  <a:lnTo>
                    <a:pt x="9208813" y="3058216"/>
                  </a:lnTo>
                  <a:lnTo>
                    <a:pt x="9209913" y="3060767"/>
                  </a:lnTo>
                  <a:close/>
                  <a:moveTo>
                    <a:pt x="9329811" y="3052148"/>
                  </a:moveTo>
                  <a:lnTo>
                    <a:pt x="9330559" y="3052490"/>
                  </a:lnTo>
                  <a:lnTo>
                    <a:pt x="9330608" y="3052416"/>
                  </a:lnTo>
                  <a:close/>
                  <a:moveTo>
                    <a:pt x="1126063" y="3051760"/>
                  </a:moveTo>
                  <a:lnTo>
                    <a:pt x="1174698" y="3098750"/>
                  </a:lnTo>
                  <a:lnTo>
                    <a:pt x="1174241" y="3096622"/>
                  </a:lnTo>
                  <a:close/>
                  <a:moveTo>
                    <a:pt x="3331680" y="3049508"/>
                  </a:moveTo>
                  <a:lnTo>
                    <a:pt x="3323201" y="3056423"/>
                  </a:lnTo>
                  <a:lnTo>
                    <a:pt x="3331680" y="3049509"/>
                  </a:lnTo>
                  <a:close/>
                  <a:moveTo>
                    <a:pt x="2509238" y="3045424"/>
                  </a:moveTo>
                  <a:lnTo>
                    <a:pt x="2501922" y="3049459"/>
                  </a:lnTo>
                  <a:lnTo>
                    <a:pt x="2510410" y="3049563"/>
                  </a:lnTo>
                  <a:close/>
                  <a:moveTo>
                    <a:pt x="1869282" y="3045411"/>
                  </a:moveTo>
                  <a:lnTo>
                    <a:pt x="1845656" y="3065051"/>
                  </a:lnTo>
                  <a:lnTo>
                    <a:pt x="1844590" y="3066855"/>
                  </a:lnTo>
                  <a:lnTo>
                    <a:pt x="1872185" y="3047829"/>
                  </a:lnTo>
                  <a:close/>
                  <a:moveTo>
                    <a:pt x="9380112" y="3043688"/>
                  </a:moveTo>
                  <a:lnTo>
                    <a:pt x="9379699" y="3045139"/>
                  </a:lnTo>
                  <a:lnTo>
                    <a:pt x="9379700" y="3045139"/>
                  </a:lnTo>
                  <a:close/>
                  <a:moveTo>
                    <a:pt x="1116570" y="3042921"/>
                  </a:moveTo>
                  <a:lnTo>
                    <a:pt x="1101510" y="3055391"/>
                  </a:lnTo>
                  <a:lnTo>
                    <a:pt x="1116637" y="3042983"/>
                  </a:lnTo>
                  <a:close/>
                  <a:moveTo>
                    <a:pt x="3045913" y="3040996"/>
                  </a:moveTo>
                  <a:lnTo>
                    <a:pt x="3050383" y="3048606"/>
                  </a:lnTo>
                  <a:lnTo>
                    <a:pt x="3058190" y="3052197"/>
                  </a:lnTo>
                  <a:close/>
                  <a:moveTo>
                    <a:pt x="2409201" y="3034172"/>
                  </a:moveTo>
                  <a:lnTo>
                    <a:pt x="2409199" y="3034173"/>
                  </a:lnTo>
                  <a:lnTo>
                    <a:pt x="2452789" y="3076554"/>
                  </a:lnTo>
                  <a:lnTo>
                    <a:pt x="2452791" y="3076552"/>
                  </a:lnTo>
                  <a:close/>
                  <a:moveTo>
                    <a:pt x="3668624" y="3032644"/>
                  </a:moveTo>
                  <a:lnTo>
                    <a:pt x="3668533" y="3032776"/>
                  </a:lnTo>
                  <a:lnTo>
                    <a:pt x="3678577" y="3042510"/>
                  </a:lnTo>
                  <a:lnTo>
                    <a:pt x="3678687" y="3042414"/>
                  </a:lnTo>
                  <a:close/>
                  <a:moveTo>
                    <a:pt x="9345462" y="3030701"/>
                  </a:moveTo>
                  <a:lnTo>
                    <a:pt x="9345344" y="3030876"/>
                  </a:lnTo>
                  <a:lnTo>
                    <a:pt x="9379637" y="3045113"/>
                  </a:lnTo>
                  <a:close/>
                  <a:moveTo>
                    <a:pt x="9241363" y="3022428"/>
                  </a:moveTo>
                  <a:lnTo>
                    <a:pt x="9221959" y="3028584"/>
                  </a:lnTo>
                  <a:lnTo>
                    <a:pt x="9221959" y="3028586"/>
                  </a:lnTo>
                  <a:lnTo>
                    <a:pt x="9221960" y="3028584"/>
                  </a:lnTo>
                  <a:lnTo>
                    <a:pt x="9247370" y="3024446"/>
                  </a:lnTo>
                  <a:close/>
                  <a:moveTo>
                    <a:pt x="1844910" y="3020065"/>
                  </a:moveTo>
                  <a:lnTo>
                    <a:pt x="1842870" y="3023412"/>
                  </a:lnTo>
                  <a:lnTo>
                    <a:pt x="1842870" y="3023413"/>
                  </a:lnTo>
                  <a:close/>
                  <a:moveTo>
                    <a:pt x="9731875" y="3018017"/>
                  </a:moveTo>
                  <a:lnTo>
                    <a:pt x="9704176" y="3026710"/>
                  </a:lnTo>
                  <a:lnTo>
                    <a:pt x="9704165" y="3026892"/>
                  </a:lnTo>
                  <a:close/>
                  <a:moveTo>
                    <a:pt x="9407604" y="3017005"/>
                  </a:moveTo>
                  <a:lnTo>
                    <a:pt x="9386546" y="3021097"/>
                  </a:lnTo>
                  <a:lnTo>
                    <a:pt x="9386504" y="3021244"/>
                  </a:lnTo>
                  <a:lnTo>
                    <a:pt x="9407893" y="3020659"/>
                  </a:lnTo>
                  <a:close/>
                  <a:moveTo>
                    <a:pt x="1542147" y="3011517"/>
                  </a:moveTo>
                  <a:lnTo>
                    <a:pt x="1542139" y="3011647"/>
                  </a:lnTo>
                  <a:lnTo>
                    <a:pt x="1542149" y="3011517"/>
                  </a:lnTo>
                  <a:close/>
                  <a:moveTo>
                    <a:pt x="1251312" y="3010633"/>
                  </a:moveTo>
                  <a:lnTo>
                    <a:pt x="1231527" y="3021865"/>
                  </a:lnTo>
                  <a:lnTo>
                    <a:pt x="1233481" y="3024352"/>
                  </a:lnTo>
                  <a:lnTo>
                    <a:pt x="1228773" y="3048870"/>
                  </a:lnTo>
                  <a:lnTo>
                    <a:pt x="1259190" y="3075210"/>
                  </a:lnTo>
                  <a:lnTo>
                    <a:pt x="1261628" y="3068514"/>
                  </a:lnTo>
                  <a:lnTo>
                    <a:pt x="1301402" y="3086262"/>
                  </a:lnTo>
                  <a:lnTo>
                    <a:pt x="1301402" y="3086261"/>
                  </a:lnTo>
                  <a:lnTo>
                    <a:pt x="1228773" y="3048870"/>
                  </a:lnTo>
                  <a:close/>
                  <a:moveTo>
                    <a:pt x="1252103" y="3010184"/>
                  </a:moveTo>
                  <a:lnTo>
                    <a:pt x="1251949" y="3010271"/>
                  </a:lnTo>
                  <a:lnTo>
                    <a:pt x="1252518" y="3010360"/>
                  </a:lnTo>
                  <a:close/>
                  <a:moveTo>
                    <a:pt x="4241396" y="3004735"/>
                  </a:moveTo>
                  <a:lnTo>
                    <a:pt x="4275857" y="3033713"/>
                  </a:lnTo>
                  <a:lnTo>
                    <a:pt x="4275906" y="3033649"/>
                  </a:lnTo>
                  <a:close/>
                  <a:moveTo>
                    <a:pt x="1493421" y="2999254"/>
                  </a:moveTo>
                  <a:lnTo>
                    <a:pt x="1493135" y="3001061"/>
                  </a:lnTo>
                  <a:lnTo>
                    <a:pt x="1496129" y="3001700"/>
                  </a:lnTo>
                  <a:close/>
                  <a:moveTo>
                    <a:pt x="9479277" y="2994946"/>
                  </a:moveTo>
                  <a:lnTo>
                    <a:pt x="9480023" y="2995888"/>
                  </a:lnTo>
                  <a:lnTo>
                    <a:pt x="9480072" y="2995870"/>
                  </a:lnTo>
                  <a:close/>
                  <a:moveTo>
                    <a:pt x="3190123" y="2994563"/>
                  </a:moveTo>
                  <a:lnTo>
                    <a:pt x="3171985" y="3010293"/>
                  </a:lnTo>
                  <a:lnTo>
                    <a:pt x="3171986" y="3010293"/>
                  </a:lnTo>
                  <a:close/>
                  <a:moveTo>
                    <a:pt x="2753919" y="2991515"/>
                  </a:moveTo>
                  <a:lnTo>
                    <a:pt x="2764413" y="3004408"/>
                  </a:lnTo>
                  <a:lnTo>
                    <a:pt x="2766095" y="3002975"/>
                  </a:lnTo>
                  <a:close/>
                  <a:moveTo>
                    <a:pt x="3697703" y="2990485"/>
                  </a:moveTo>
                  <a:lnTo>
                    <a:pt x="3680395" y="3015578"/>
                  </a:lnTo>
                  <a:lnTo>
                    <a:pt x="3697739" y="2990740"/>
                  </a:lnTo>
                  <a:close/>
                  <a:moveTo>
                    <a:pt x="9492714" y="2990192"/>
                  </a:moveTo>
                  <a:lnTo>
                    <a:pt x="9483088" y="2994762"/>
                  </a:lnTo>
                  <a:lnTo>
                    <a:pt x="9492439" y="2991327"/>
                  </a:lnTo>
                  <a:close/>
                  <a:moveTo>
                    <a:pt x="2472400" y="2989900"/>
                  </a:moveTo>
                  <a:lnTo>
                    <a:pt x="2506764" y="3036694"/>
                  </a:lnTo>
                  <a:lnTo>
                    <a:pt x="2501152" y="3016873"/>
                  </a:lnTo>
                  <a:close/>
                  <a:moveTo>
                    <a:pt x="3007987" y="2989700"/>
                  </a:moveTo>
                  <a:lnTo>
                    <a:pt x="2941541" y="3008404"/>
                  </a:lnTo>
                  <a:lnTo>
                    <a:pt x="3009689" y="2992238"/>
                  </a:lnTo>
                  <a:close/>
                  <a:moveTo>
                    <a:pt x="986756" y="2981967"/>
                  </a:moveTo>
                  <a:lnTo>
                    <a:pt x="986757" y="2981969"/>
                  </a:lnTo>
                  <a:lnTo>
                    <a:pt x="986758" y="2981969"/>
                  </a:lnTo>
                  <a:close/>
                  <a:moveTo>
                    <a:pt x="2937594" y="2978058"/>
                  </a:moveTo>
                  <a:lnTo>
                    <a:pt x="2898193" y="2982700"/>
                  </a:lnTo>
                  <a:lnTo>
                    <a:pt x="2898194" y="2982700"/>
                  </a:lnTo>
                  <a:close/>
                  <a:moveTo>
                    <a:pt x="1028065" y="2977648"/>
                  </a:moveTo>
                  <a:lnTo>
                    <a:pt x="1048068" y="3029029"/>
                  </a:lnTo>
                  <a:lnTo>
                    <a:pt x="1052117" y="3031037"/>
                  </a:lnTo>
                  <a:lnTo>
                    <a:pt x="1028066" y="2977648"/>
                  </a:lnTo>
                  <a:close/>
                  <a:moveTo>
                    <a:pt x="9438293" y="2975681"/>
                  </a:moveTo>
                  <a:lnTo>
                    <a:pt x="9404566" y="2980882"/>
                  </a:lnTo>
                  <a:lnTo>
                    <a:pt x="9405012" y="2984197"/>
                  </a:lnTo>
                  <a:lnTo>
                    <a:pt x="9404756" y="2980961"/>
                  </a:lnTo>
                  <a:lnTo>
                    <a:pt x="9438295" y="2975684"/>
                  </a:lnTo>
                  <a:close/>
                  <a:moveTo>
                    <a:pt x="9455486" y="2967306"/>
                  </a:moveTo>
                  <a:lnTo>
                    <a:pt x="9452788" y="2995955"/>
                  </a:lnTo>
                  <a:lnTo>
                    <a:pt x="9452947" y="2996178"/>
                  </a:lnTo>
                  <a:lnTo>
                    <a:pt x="9456771" y="2968799"/>
                  </a:lnTo>
                  <a:close/>
                  <a:moveTo>
                    <a:pt x="3167396" y="2966810"/>
                  </a:moveTo>
                  <a:lnTo>
                    <a:pt x="3157441" y="2975523"/>
                  </a:lnTo>
                  <a:lnTo>
                    <a:pt x="3167396" y="2966811"/>
                  </a:lnTo>
                  <a:close/>
                  <a:moveTo>
                    <a:pt x="1302236" y="2964849"/>
                  </a:moveTo>
                  <a:lnTo>
                    <a:pt x="1301754" y="2964883"/>
                  </a:lnTo>
                  <a:lnTo>
                    <a:pt x="1282744" y="3015074"/>
                  </a:lnTo>
                  <a:lnTo>
                    <a:pt x="1290434" y="3016273"/>
                  </a:lnTo>
                  <a:close/>
                  <a:moveTo>
                    <a:pt x="4058353" y="2954153"/>
                  </a:moveTo>
                  <a:lnTo>
                    <a:pt x="4235668" y="2999934"/>
                  </a:lnTo>
                  <a:lnTo>
                    <a:pt x="4235587" y="2999867"/>
                  </a:lnTo>
                  <a:close/>
                  <a:moveTo>
                    <a:pt x="1927290" y="2953873"/>
                  </a:moveTo>
                  <a:lnTo>
                    <a:pt x="1902701" y="2981089"/>
                  </a:lnTo>
                  <a:lnTo>
                    <a:pt x="1927291" y="2953873"/>
                  </a:lnTo>
                  <a:close/>
                  <a:moveTo>
                    <a:pt x="1435698" y="2952971"/>
                  </a:moveTo>
                  <a:lnTo>
                    <a:pt x="1435291" y="2953518"/>
                  </a:lnTo>
                  <a:lnTo>
                    <a:pt x="1445490" y="2958701"/>
                  </a:lnTo>
                  <a:close/>
                  <a:moveTo>
                    <a:pt x="2839465" y="2949851"/>
                  </a:moveTo>
                  <a:lnTo>
                    <a:pt x="2825939" y="2961328"/>
                  </a:lnTo>
                  <a:lnTo>
                    <a:pt x="2835177" y="2966348"/>
                  </a:lnTo>
                  <a:close/>
                  <a:moveTo>
                    <a:pt x="2443505" y="2949490"/>
                  </a:moveTo>
                  <a:lnTo>
                    <a:pt x="2443030" y="2949908"/>
                  </a:lnTo>
                  <a:lnTo>
                    <a:pt x="2443402" y="2950414"/>
                  </a:lnTo>
                  <a:close/>
                  <a:moveTo>
                    <a:pt x="5370730" y="2948829"/>
                  </a:moveTo>
                  <a:lnTo>
                    <a:pt x="5370862" y="2949188"/>
                  </a:lnTo>
                  <a:lnTo>
                    <a:pt x="5342847" y="2989088"/>
                  </a:lnTo>
                  <a:lnTo>
                    <a:pt x="5342899" y="2989196"/>
                  </a:lnTo>
                  <a:lnTo>
                    <a:pt x="5370866" y="2949187"/>
                  </a:lnTo>
                  <a:close/>
                  <a:moveTo>
                    <a:pt x="1826593" y="2946208"/>
                  </a:moveTo>
                  <a:lnTo>
                    <a:pt x="1823167" y="2965013"/>
                  </a:lnTo>
                  <a:lnTo>
                    <a:pt x="1833409" y="2979395"/>
                  </a:lnTo>
                  <a:close/>
                  <a:moveTo>
                    <a:pt x="2007945" y="2945789"/>
                  </a:moveTo>
                  <a:lnTo>
                    <a:pt x="2029606" y="2957748"/>
                  </a:lnTo>
                  <a:lnTo>
                    <a:pt x="2030208" y="2954583"/>
                  </a:lnTo>
                  <a:close/>
                  <a:moveTo>
                    <a:pt x="1474324" y="2945029"/>
                  </a:moveTo>
                  <a:lnTo>
                    <a:pt x="1491595" y="2957422"/>
                  </a:lnTo>
                  <a:lnTo>
                    <a:pt x="1492163" y="2954460"/>
                  </a:lnTo>
                  <a:close/>
                  <a:moveTo>
                    <a:pt x="1473439" y="2944561"/>
                  </a:moveTo>
                  <a:lnTo>
                    <a:pt x="1455937" y="2964010"/>
                  </a:lnTo>
                  <a:lnTo>
                    <a:pt x="1456753" y="2964425"/>
                  </a:lnTo>
                  <a:lnTo>
                    <a:pt x="1473525" y="2944607"/>
                  </a:lnTo>
                  <a:close/>
                  <a:moveTo>
                    <a:pt x="1814431" y="2941522"/>
                  </a:moveTo>
                  <a:lnTo>
                    <a:pt x="1826590" y="2946206"/>
                  </a:lnTo>
                  <a:lnTo>
                    <a:pt x="1826590" y="2946205"/>
                  </a:lnTo>
                  <a:close/>
                  <a:moveTo>
                    <a:pt x="3042279" y="2929971"/>
                  </a:moveTo>
                  <a:lnTo>
                    <a:pt x="3025666" y="2943605"/>
                  </a:lnTo>
                  <a:lnTo>
                    <a:pt x="3046408" y="2989062"/>
                  </a:lnTo>
                  <a:lnTo>
                    <a:pt x="3027115" y="3008998"/>
                  </a:lnTo>
                  <a:lnTo>
                    <a:pt x="3031298" y="3016118"/>
                  </a:lnTo>
                  <a:lnTo>
                    <a:pt x="3046408" y="2989062"/>
                  </a:lnTo>
                  <a:lnTo>
                    <a:pt x="3025666" y="2943605"/>
                  </a:lnTo>
                  <a:close/>
                  <a:moveTo>
                    <a:pt x="1362665" y="2925488"/>
                  </a:moveTo>
                  <a:lnTo>
                    <a:pt x="1358790" y="2937038"/>
                  </a:lnTo>
                  <a:lnTo>
                    <a:pt x="1354024" y="2941238"/>
                  </a:lnTo>
                  <a:lnTo>
                    <a:pt x="1366346" y="2935729"/>
                  </a:lnTo>
                  <a:close/>
                  <a:moveTo>
                    <a:pt x="2580063" y="2920198"/>
                  </a:moveTo>
                  <a:lnTo>
                    <a:pt x="2579231" y="2921276"/>
                  </a:lnTo>
                  <a:lnTo>
                    <a:pt x="2579265" y="2921299"/>
                  </a:lnTo>
                  <a:close/>
                  <a:moveTo>
                    <a:pt x="9510132" y="2918276"/>
                  </a:moveTo>
                  <a:lnTo>
                    <a:pt x="9503404" y="2919295"/>
                  </a:lnTo>
                  <a:lnTo>
                    <a:pt x="9501440" y="2954164"/>
                  </a:lnTo>
                  <a:close/>
                  <a:moveTo>
                    <a:pt x="2479778" y="2917596"/>
                  </a:moveTo>
                  <a:lnTo>
                    <a:pt x="2449210" y="2944475"/>
                  </a:lnTo>
                  <a:lnTo>
                    <a:pt x="2489713" y="2923284"/>
                  </a:lnTo>
                  <a:close/>
                  <a:moveTo>
                    <a:pt x="1531483" y="2916013"/>
                  </a:moveTo>
                  <a:lnTo>
                    <a:pt x="1512664" y="2919952"/>
                  </a:lnTo>
                  <a:lnTo>
                    <a:pt x="1500569" y="2940843"/>
                  </a:lnTo>
                  <a:close/>
                  <a:moveTo>
                    <a:pt x="1531485" y="2916009"/>
                  </a:moveTo>
                  <a:lnTo>
                    <a:pt x="1531484" y="2916012"/>
                  </a:lnTo>
                  <a:lnTo>
                    <a:pt x="1531485" y="2916011"/>
                  </a:lnTo>
                  <a:close/>
                  <a:moveTo>
                    <a:pt x="2038299" y="2912011"/>
                  </a:moveTo>
                  <a:lnTo>
                    <a:pt x="2023546" y="2939007"/>
                  </a:lnTo>
                  <a:lnTo>
                    <a:pt x="2030797" y="2951484"/>
                  </a:lnTo>
                  <a:close/>
                  <a:moveTo>
                    <a:pt x="2565158" y="2911832"/>
                  </a:moveTo>
                  <a:lnTo>
                    <a:pt x="2565158" y="2911833"/>
                  </a:lnTo>
                  <a:lnTo>
                    <a:pt x="2565435" y="2912018"/>
                  </a:lnTo>
                  <a:close/>
                  <a:moveTo>
                    <a:pt x="2518235" y="2908361"/>
                  </a:moveTo>
                  <a:lnTo>
                    <a:pt x="2518234" y="2908362"/>
                  </a:lnTo>
                  <a:lnTo>
                    <a:pt x="2542616" y="2925026"/>
                  </a:lnTo>
                  <a:lnTo>
                    <a:pt x="2542619" y="2925025"/>
                  </a:lnTo>
                  <a:close/>
                  <a:moveTo>
                    <a:pt x="2591187" y="2905783"/>
                  </a:moveTo>
                  <a:lnTo>
                    <a:pt x="2590927" y="2906119"/>
                  </a:lnTo>
                  <a:lnTo>
                    <a:pt x="2610996" y="2925340"/>
                  </a:lnTo>
                  <a:lnTo>
                    <a:pt x="2610997" y="2925337"/>
                  </a:lnTo>
                  <a:close/>
                  <a:moveTo>
                    <a:pt x="9670776" y="2905696"/>
                  </a:moveTo>
                  <a:lnTo>
                    <a:pt x="9673082" y="2906801"/>
                  </a:lnTo>
                  <a:lnTo>
                    <a:pt x="9718334" y="2962075"/>
                  </a:lnTo>
                  <a:lnTo>
                    <a:pt x="9709547" y="2982245"/>
                  </a:lnTo>
                  <a:lnTo>
                    <a:pt x="9718657" y="2962442"/>
                  </a:lnTo>
                  <a:lnTo>
                    <a:pt x="9672919" y="2906375"/>
                  </a:lnTo>
                  <a:close/>
                  <a:moveTo>
                    <a:pt x="9552091" y="2904373"/>
                  </a:moveTo>
                  <a:lnTo>
                    <a:pt x="9550401" y="2905422"/>
                  </a:lnTo>
                  <a:lnTo>
                    <a:pt x="9551834" y="2905152"/>
                  </a:lnTo>
                  <a:close/>
                  <a:moveTo>
                    <a:pt x="1376857" y="2888204"/>
                  </a:moveTo>
                  <a:lnTo>
                    <a:pt x="1356125" y="2907278"/>
                  </a:lnTo>
                  <a:lnTo>
                    <a:pt x="1356127" y="2907280"/>
                  </a:lnTo>
                  <a:lnTo>
                    <a:pt x="1376859" y="2888206"/>
                  </a:lnTo>
                  <a:close/>
                  <a:moveTo>
                    <a:pt x="1538166" y="2885747"/>
                  </a:moveTo>
                  <a:lnTo>
                    <a:pt x="1537443" y="2889019"/>
                  </a:lnTo>
                  <a:lnTo>
                    <a:pt x="1540503" y="2885752"/>
                  </a:lnTo>
                  <a:close/>
                  <a:moveTo>
                    <a:pt x="4017801" y="2884187"/>
                  </a:moveTo>
                  <a:lnTo>
                    <a:pt x="4017737" y="2884221"/>
                  </a:lnTo>
                  <a:lnTo>
                    <a:pt x="4063600" y="2929432"/>
                  </a:lnTo>
                  <a:lnTo>
                    <a:pt x="4063603" y="2929428"/>
                  </a:lnTo>
                  <a:close/>
                  <a:moveTo>
                    <a:pt x="5346403" y="2882818"/>
                  </a:moveTo>
                  <a:lnTo>
                    <a:pt x="5346746" y="2883748"/>
                  </a:lnTo>
                  <a:lnTo>
                    <a:pt x="5384922" y="2886517"/>
                  </a:lnTo>
                  <a:lnTo>
                    <a:pt x="5385084" y="2886258"/>
                  </a:lnTo>
                  <a:close/>
                  <a:moveTo>
                    <a:pt x="9559797" y="2881003"/>
                  </a:moveTo>
                  <a:lnTo>
                    <a:pt x="9552817" y="2883230"/>
                  </a:lnTo>
                  <a:lnTo>
                    <a:pt x="9555220" y="2894884"/>
                  </a:lnTo>
                  <a:close/>
                  <a:moveTo>
                    <a:pt x="2239012" y="2880966"/>
                  </a:moveTo>
                  <a:lnTo>
                    <a:pt x="2267953" y="2893687"/>
                  </a:lnTo>
                  <a:lnTo>
                    <a:pt x="2311830" y="2897281"/>
                  </a:lnTo>
                  <a:close/>
                  <a:moveTo>
                    <a:pt x="2099941" y="2880598"/>
                  </a:moveTo>
                  <a:lnTo>
                    <a:pt x="2063010" y="2918471"/>
                  </a:lnTo>
                  <a:lnTo>
                    <a:pt x="2062980" y="2918456"/>
                  </a:lnTo>
                  <a:lnTo>
                    <a:pt x="2063010" y="2918472"/>
                  </a:lnTo>
                  <a:close/>
                  <a:moveTo>
                    <a:pt x="9576227" y="2875759"/>
                  </a:moveTo>
                  <a:lnTo>
                    <a:pt x="9560793" y="2880685"/>
                  </a:lnTo>
                  <a:lnTo>
                    <a:pt x="9588357" y="2879600"/>
                  </a:lnTo>
                  <a:close/>
                  <a:moveTo>
                    <a:pt x="9502716" y="2872532"/>
                  </a:moveTo>
                  <a:lnTo>
                    <a:pt x="9505861" y="2875661"/>
                  </a:lnTo>
                  <a:lnTo>
                    <a:pt x="9505860" y="2875687"/>
                  </a:lnTo>
                  <a:lnTo>
                    <a:pt x="9505865" y="2875661"/>
                  </a:lnTo>
                  <a:close/>
                  <a:moveTo>
                    <a:pt x="1778242" y="2865483"/>
                  </a:moveTo>
                  <a:lnTo>
                    <a:pt x="1778119" y="2878461"/>
                  </a:lnTo>
                  <a:lnTo>
                    <a:pt x="1796896" y="2886933"/>
                  </a:lnTo>
                  <a:lnTo>
                    <a:pt x="1798141" y="2885545"/>
                  </a:lnTo>
                  <a:close/>
                  <a:moveTo>
                    <a:pt x="2358055" y="2863237"/>
                  </a:moveTo>
                  <a:lnTo>
                    <a:pt x="2352281" y="2867489"/>
                  </a:lnTo>
                  <a:lnTo>
                    <a:pt x="2362407" y="2869005"/>
                  </a:lnTo>
                  <a:close/>
                  <a:moveTo>
                    <a:pt x="3790060" y="2861860"/>
                  </a:moveTo>
                  <a:lnTo>
                    <a:pt x="3789941" y="2861910"/>
                  </a:lnTo>
                  <a:lnTo>
                    <a:pt x="3751072" y="2902786"/>
                  </a:lnTo>
                  <a:close/>
                  <a:moveTo>
                    <a:pt x="2152987" y="2855656"/>
                  </a:moveTo>
                  <a:lnTo>
                    <a:pt x="2126353" y="2905907"/>
                  </a:lnTo>
                  <a:lnTo>
                    <a:pt x="2126355" y="2905908"/>
                  </a:lnTo>
                  <a:close/>
                  <a:moveTo>
                    <a:pt x="1693277" y="2853215"/>
                  </a:moveTo>
                  <a:lnTo>
                    <a:pt x="1636883" y="2868365"/>
                  </a:lnTo>
                  <a:lnTo>
                    <a:pt x="1637467" y="2868946"/>
                  </a:lnTo>
                  <a:lnTo>
                    <a:pt x="1693277" y="2853216"/>
                  </a:lnTo>
                  <a:lnTo>
                    <a:pt x="1711246" y="2869364"/>
                  </a:lnTo>
                  <a:close/>
                  <a:moveTo>
                    <a:pt x="1732655" y="2850690"/>
                  </a:moveTo>
                  <a:lnTo>
                    <a:pt x="1712433" y="2870430"/>
                  </a:lnTo>
                  <a:lnTo>
                    <a:pt x="1712434" y="2870431"/>
                  </a:lnTo>
                  <a:lnTo>
                    <a:pt x="1732657" y="2850691"/>
                  </a:lnTo>
                  <a:lnTo>
                    <a:pt x="1763326" y="2867493"/>
                  </a:lnTo>
                  <a:lnTo>
                    <a:pt x="1769516" y="2864576"/>
                  </a:lnTo>
                  <a:close/>
                  <a:moveTo>
                    <a:pt x="2010382" y="2848732"/>
                  </a:moveTo>
                  <a:lnTo>
                    <a:pt x="1995730" y="2871127"/>
                  </a:lnTo>
                  <a:lnTo>
                    <a:pt x="2010638" y="2848952"/>
                  </a:lnTo>
                  <a:close/>
                  <a:moveTo>
                    <a:pt x="3821097" y="2848685"/>
                  </a:moveTo>
                  <a:lnTo>
                    <a:pt x="3821049" y="2848914"/>
                  </a:lnTo>
                  <a:lnTo>
                    <a:pt x="3820286" y="2849233"/>
                  </a:lnTo>
                  <a:lnTo>
                    <a:pt x="3821050" y="2848914"/>
                  </a:lnTo>
                  <a:close/>
                  <a:moveTo>
                    <a:pt x="1611876" y="2843633"/>
                  </a:moveTo>
                  <a:lnTo>
                    <a:pt x="1590358" y="2853504"/>
                  </a:lnTo>
                  <a:lnTo>
                    <a:pt x="1591335" y="2871754"/>
                  </a:lnTo>
                  <a:lnTo>
                    <a:pt x="1590538" y="2853680"/>
                  </a:lnTo>
                  <a:lnTo>
                    <a:pt x="1611919" y="2843678"/>
                  </a:lnTo>
                  <a:close/>
                  <a:moveTo>
                    <a:pt x="2217518" y="2836068"/>
                  </a:moveTo>
                  <a:lnTo>
                    <a:pt x="2196210" y="2840495"/>
                  </a:lnTo>
                  <a:lnTo>
                    <a:pt x="2195329" y="2842804"/>
                  </a:lnTo>
                  <a:close/>
                  <a:moveTo>
                    <a:pt x="2226897" y="2834120"/>
                  </a:moveTo>
                  <a:lnTo>
                    <a:pt x="2225930" y="2834321"/>
                  </a:lnTo>
                  <a:lnTo>
                    <a:pt x="2225724" y="2875125"/>
                  </a:lnTo>
                  <a:lnTo>
                    <a:pt x="2230140" y="2877066"/>
                  </a:lnTo>
                  <a:close/>
                  <a:moveTo>
                    <a:pt x="9496644" y="2829648"/>
                  </a:moveTo>
                  <a:lnTo>
                    <a:pt x="9497767" y="2830751"/>
                  </a:lnTo>
                  <a:lnTo>
                    <a:pt x="9497789" y="2830716"/>
                  </a:lnTo>
                  <a:close/>
                  <a:moveTo>
                    <a:pt x="2193257" y="2828010"/>
                  </a:moveTo>
                  <a:lnTo>
                    <a:pt x="2185699" y="2834433"/>
                  </a:lnTo>
                  <a:lnTo>
                    <a:pt x="2185887" y="2834553"/>
                  </a:lnTo>
                  <a:close/>
                  <a:moveTo>
                    <a:pt x="1566247" y="2827651"/>
                  </a:moveTo>
                  <a:lnTo>
                    <a:pt x="1556230" y="2868961"/>
                  </a:lnTo>
                  <a:lnTo>
                    <a:pt x="1557293" y="2867826"/>
                  </a:lnTo>
                  <a:lnTo>
                    <a:pt x="1557292" y="2867825"/>
                  </a:lnTo>
                  <a:lnTo>
                    <a:pt x="1591335" y="2871760"/>
                  </a:lnTo>
                  <a:lnTo>
                    <a:pt x="1591335" y="2871759"/>
                  </a:lnTo>
                  <a:lnTo>
                    <a:pt x="1556712" y="2867378"/>
                  </a:lnTo>
                  <a:close/>
                  <a:moveTo>
                    <a:pt x="2828703" y="2820550"/>
                  </a:moveTo>
                  <a:lnTo>
                    <a:pt x="2795191" y="2823873"/>
                  </a:lnTo>
                  <a:lnTo>
                    <a:pt x="2790517" y="2829382"/>
                  </a:lnTo>
                  <a:lnTo>
                    <a:pt x="2828703" y="2820551"/>
                  </a:lnTo>
                  <a:close/>
                  <a:moveTo>
                    <a:pt x="1154646" y="2819046"/>
                  </a:moveTo>
                  <a:lnTo>
                    <a:pt x="1137839" y="2843375"/>
                  </a:lnTo>
                  <a:lnTo>
                    <a:pt x="1139023" y="2844194"/>
                  </a:lnTo>
                  <a:lnTo>
                    <a:pt x="1158844" y="2821815"/>
                  </a:lnTo>
                  <a:close/>
                  <a:moveTo>
                    <a:pt x="2205283" y="2817791"/>
                  </a:moveTo>
                  <a:lnTo>
                    <a:pt x="2204687" y="2818297"/>
                  </a:lnTo>
                  <a:lnTo>
                    <a:pt x="2203369" y="2821750"/>
                  </a:lnTo>
                  <a:close/>
                  <a:moveTo>
                    <a:pt x="1330960" y="2800107"/>
                  </a:moveTo>
                  <a:lnTo>
                    <a:pt x="1332184" y="2828049"/>
                  </a:lnTo>
                  <a:lnTo>
                    <a:pt x="1336418" y="2833751"/>
                  </a:lnTo>
                  <a:lnTo>
                    <a:pt x="1338898" y="2805239"/>
                  </a:lnTo>
                  <a:close/>
                  <a:moveTo>
                    <a:pt x="2824657" y="2793842"/>
                  </a:moveTo>
                  <a:lnTo>
                    <a:pt x="2818845" y="2802128"/>
                  </a:lnTo>
                  <a:lnTo>
                    <a:pt x="2828702" y="2820547"/>
                  </a:lnTo>
                  <a:close/>
                  <a:moveTo>
                    <a:pt x="1815024" y="2791789"/>
                  </a:moveTo>
                  <a:lnTo>
                    <a:pt x="1774223" y="2862357"/>
                  </a:lnTo>
                  <a:lnTo>
                    <a:pt x="1777425" y="2860848"/>
                  </a:lnTo>
                  <a:close/>
                  <a:moveTo>
                    <a:pt x="1113316" y="2791780"/>
                  </a:moveTo>
                  <a:lnTo>
                    <a:pt x="1113459" y="2792811"/>
                  </a:lnTo>
                  <a:lnTo>
                    <a:pt x="1124133" y="2798917"/>
                  </a:lnTo>
                  <a:close/>
                  <a:moveTo>
                    <a:pt x="1084748" y="2785747"/>
                  </a:moveTo>
                  <a:lnTo>
                    <a:pt x="1087294" y="2788888"/>
                  </a:lnTo>
                  <a:lnTo>
                    <a:pt x="1090563" y="2787346"/>
                  </a:lnTo>
                  <a:close/>
                  <a:moveTo>
                    <a:pt x="2193318" y="2783427"/>
                  </a:moveTo>
                  <a:lnTo>
                    <a:pt x="2164865" y="2821106"/>
                  </a:lnTo>
                  <a:lnTo>
                    <a:pt x="2165579" y="2821563"/>
                  </a:lnTo>
                  <a:lnTo>
                    <a:pt x="2196657" y="2785065"/>
                  </a:lnTo>
                  <a:close/>
                  <a:moveTo>
                    <a:pt x="1576118" y="2777610"/>
                  </a:moveTo>
                  <a:lnTo>
                    <a:pt x="1587381" y="2816543"/>
                  </a:lnTo>
                  <a:lnTo>
                    <a:pt x="1592779" y="2813750"/>
                  </a:lnTo>
                  <a:close/>
                  <a:moveTo>
                    <a:pt x="1036425" y="2772457"/>
                  </a:moveTo>
                  <a:lnTo>
                    <a:pt x="1031927" y="2775067"/>
                  </a:lnTo>
                  <a:lnTo>
                    <a:pt x="1065821" y="2789856"/>
                  </a:lnTo>
                  <a:lnTo>
                    <a:pt x="1071300" y="2782048"/>
                  </a:lnTo>
                  <a:close/>
                  <a:moveTo>
                    <a:pt x="6788315" y="2770991"/>
                  </a:moveTo>
                  <a:lnTo>
                    <a:pt x="6786191" y="2774558"/>
                  </a:lnTo>
                  <a:lnTo>
                    <a:pt x="6837946" y="2856659"/>
                  </a:lnTo>
                  <a:lnTo>
                    <a:pt x="6837940" y="2856590"/>
                  </a:lnTo>
                  <a:close/>
                  <a:moveTo>
                    <a:pt x="3864356" y="2770139"/>
                  </a:moveTo>
                  <a:lnTo>
                    <a:pt x="3834721" y="2781432"/>
                  </a:lnTo>
                  <a:lnTo>
                    <a:pt x="3834707" y="2781502"/>
                  </a:lnTo>
                  <a:lnTo>
                    <a:pt x="3864193" y="2770836"/>
                  </a:lnTo>
                  <a:close/>
                  <a:moveTo>
                    <a:pt x="1117639" y="2764552"/>
                  </a:moveTo>
                  <a:lnTo>
                    <a:pt x="1097673" y="2783992"/>
                  </a:lnTo>
                  <a:lnTo>
                    <a:pt x="1111341" y="2777545"/>
                  </a:lnTo>
                  <a:lnTo>
                    <a:pt x="1112667" y="2787106"/>
                  </a:lnTo>
                  <a:close/>
                  <a:moveTo>
                    <a:pt x="1586334" y="2758246"/>
                  </a:moveTo>
                  <a:lnTo>
                    <a:pt x="1576147" y="2777550"/>
                  </a:lnTo>
                  <a:lnTo>
                    <a:pt x="1586820" y="2758314"/>
                  </a:lnTo>
                  <a:close/>
                  <a:moveTo>
                    <a:pt x="1329066" y="2756861"/>
                  </a:moveTo>
                  <a:lnTo>
                    <a:pt x="1330298" y="2785002"/>
                  </a:lnTo>
                  <a:lnTo>
                    <a:pt x="1335424" y="2766491"/>
                  </a:lnTo>
                  <a:close/>
                  <a:moveTo>
                    <a:pt x="2704861" y="2755040"/>
                  </a:moveTo>
                  <a:lnTo>
                    <a:pt x="2659869" y="2789884"/>
                  </a:lnTo>
                  <a:lnTo>
                    <a:pt x="2665945" y="2797087"/>
                  </a:lnTo>
                  <a:close/>
                  <a:moveTo>
                    <a:pt x="1905490" y="2751767"/>
                  </a:moveTo>
                  <a:lnTo>
                    <a:pt x="1905504" y="2751792"/>
                  </a:lnTo>
                  <a:lnTo>
                    <a:pt x="1943841" y="2756874"/>
                  </a:lnTo>
                  <a:lnTo>
                    <a:pt x="1962020" y="2807747"/>
                  </a:lnTo>
                  <a:lnTo>
                    <a:pt x="1992545" y="2833506"/>
                  </a:lnTo>
                  <a:lnTo>
                    <a:pt x="1962626" y="2807963"/>
                  </a:lnTo>
                  <a:lnTo>
                    <a:pt x="1943841" y="2756874"/>
                  </a:lnTo>
                  <a:lnTo>
                    <a:pt x="1905504" y="2751791"/>
                  </a:lnTo>
                  <a:close/>
                  <a:moveTo>
                    <a:pt x="1786898" y="2751383"/>
                  </a:moveTo>
                  <a:lnTo>
                    <a:pt x="1781010" y="2772801"/>
                  </a:lnTo>
                  <a:lnTo>
                    <a:pt x="1781650" y="2773158"/>
                  </a:lnTo>
                  <a:lnTo>
                    <a:pt x="1786899" y="2751383"/>
                  </a:lnTo>
                  <a:close/>
                  <a:moveTo>
                    <a:pt x="3869683" y="2747378"/>
                  </a:moveTo>
                  <a:lnTo>
                    <a:pt x="3869629" y="2747392"/>
                  </a:lnTo>
                  <a:lnTo>
                    <a:pt x="3869358" y="2748768"/>
                  </a:lnTo>
                  <a:close/>
                  <a:moveTo>
                    <a:pt x="6802457" y="2747238"/>
                  </a:moveTo>
                  <a:lnTo>
                    <a:pt x="6825031" y="2753834"/>
                  </a:lnTo>
                  <a:lnTo>
                    <a:pt x="6825032" y="2753834"/>
                  </a:lnTo>
                  <a:close/>
                  <a:moveTo>
                    <a:pt x="3926311" y="2732721"/>
                  </a:moveTo>
                  <a:lnTo>
                    <a:pt x="3875370" y="2745906"/>
                  </a:lnTo>
                  <a:lnTo>
                    <a:pt x="3926369" y="2732864"/>
                  </a:lnTo>
                  <a:close/>
                  <a:moveTo>
                    <a:pt x="2098944" y="2731827"/>
                  </a:moveTo>
                  <a:lnTo>
                    <a:pt x="2098999" y="2731861"/>
                  </a:lnTo>
                  <a:lnTo>
                    <a:pt x="2099000" y="2731861"/>
                  </a:lnTo>
                  <a:close/>
                  <a:moveTo>
                    <a:pt x="1505329" y="2730758"/>
                  </a:moveTo>
                  <a:lnTo>
                    <a:pt x="1505301" y="2730770"/>
                  </a:lnTo>
                  <a:lnTo>
                    <a:pt x="1505302" y="2730770"/>
                  </a:lnTo>
                  <a:close/>
                  <a:moveTo>
                    <a:pt x="1896339" y="2727809"/>
                  </a:moveTo>
                  <a:lnTo>
                    <a:pt x="1893142" y="2731130"/>
                  </a:lnTo>
                  <a:lnTo>
                    <a:pt x="1894565" y="2733508"/>
                  </a:lnTo>
                  <a:close/>
                  <a:moveTo>
                    <a:pt x="2880700" y="2727420"/>
                  </a:moveTo>
                  <a:lnTo>
                    <a:pt x="2858240" y="2745963"/>
                  </a:lnTo>
                  <a:lnTo>
                    <a:pt x="2858241" y="2745965"/>
                  </a:lnTo>
                  <a:lnTo>
                    <a:pt x="2832206" y="2783080"/>
                  </a:lnTo>
                  <a:lnTo>
                    <a:pt x="2880701" y="2727421"/>
                  </a:lnTo>
                  <a:close/>
                  <a:moveTo>
                    <a:pt x="6883882" y="2724892"/>
                  </a:moveTo>
                  <a:lnTo>
                    <a:pt x="6832627" y="2750099"/>
                  </a:lnTo>
                  <a:lnTo>
                    <a:pt x="6883880" y="2724896"/>
                  </a:lnTo>
                  <a:close/>
                  <a:moveTo>
                    <a:pt x="1165881" y="2721307"/>
                  </a:moveTo>
                  <a:lnTo>
                    <a:pt x="1162834" y="2760277"/>
                  </a:lnTo>
                  <a:lnTo>
                    <a:pt x="1163585" y="2760206"/>
                  </a:lnTo>
                  <a:close/>
                  <a:moveTo>
                    <a:pt x="1165885" y="2721258"/>
                  </a:moveTo>
                  <a:lnTo>
                    <a:pt x="1165885" y="2721259"/>
                  </a:lnTo>
                  <a:lnTo>
                    <a:pt x="1213139" y="2743693"/>
                  </a:lnTo>
                  <a:lnTo>
                    <a:pt x="1215787" y="2738834"/>
                  </a:lnTo>
                  <a:close/>
                  <a:moveTo>
                    <a:pt x="5425672" y="2718358"/>
                  </a:moveTo>
                  <a:lnTo>
                    <a:pt x="5425371" y="2718689"/>
                  </a:lnTo>
                  <a:lnTo>
                    <a:pt x="5442467" y="2783016"/>
                  </a:lnTo>
                  <a:lnTo>
                    <a:pt x="5425371" y="2792203"/>
                  </a:lnTo>
                  <a:lnTo>
                    <a:pt x="5418915" y="2831813"/>
                  </a:lnTo>
                  <a:lnTo>
                    <a:pt x="5418227" y="2832926"/>
                  </a:lnTo>
                  <a:lnTo>
                    <a:pt x="5418919" y="2831812"/>
                  </a:lnTo>
                  <a:lnTo>
                    <a:pt x="5425375" y="2792202"/>
                  </a:lnTo>
                  <a:lnTo>
                    <a:pt x="5442470" y="2783015"/>
                  </a:lnTo>
                  <a:lnTo>
                    <a:pt x="5425376" y="2718688"/>
                  </a:lnTo>
                  <a:close/>
                  <a:moveTo>
                    <a:pt x="2445641" y="2717778"/>
                  </a:moveTo>
                  <a:lnTo>
                    <a:pt x="2483076" y="2757909"/>
                  </a:lnTo>
                  <a:lnTo>
                    <a:pt x="2492385" y="2760123"/>
                  </a:lnTo>
                  <a:close/>
                  <a:moveTo>
                    <a:pt x="1348457" y="2714580"/>
                  </a:moveTo>
                  <a:lnTo>
                    <a:pt x="1339203" y="2739288"/>
                  </a:lnTo>
                  <a:lnTo>
                    <a:pt x="1328178" y="2736615"/>
                  </a:lnTo>
                  <a:lnTo>
                    <a:pt x="1328489" y="2743711"/>
                  </a:lnTo>
                  <a:lnTo>
                    <a:pt x="1342036" y="2738586"/>
                  </a:lnTo>
                  <a:close/>
                  <a:moveTo>
                    <a:pt x="4110118" y="2714499"/>
                  </a:moveTo>
                  <a:lnTo>
                    <a:pt x="4135035" y="2717958"/>
                  </a:lnTo>
                  <a:lnTo>
                    <a:pt x="4135528" y="2717563"/>
                  </a:lnTo>
                  <a:close/>
                  <a:moveTo>
                    <a:pt x="1493467" y="2713468"/>
                  </a:moveTo>
                  <a:lnTo>
                    <a:pt x="1464298" y="2744875"/>
                  </a:lnTo>
                  <a:lnTo>
                    <a:pt x="1464298" y="2744875"/>
                  </a:lnTo>
                  <a:close/>
                  <a:moveTo>
                    <a:pt x="4078554" y="2710826"/>
                  </a:moveTo>
                  <a:lnTo>
                    <a:pt x="4073861" y="2776027"/>
                  </a:lnTo>
                  <a:lnTo>
                    <a:pt x="4074042" y="2776215"/>
                  </a:lnTo>
                  <a:close/>
                  <a:moveTo>
                    <a:pt x="1395332" y="2710782"/>
                  </a:moveTo>
                  <a:lnTo>
                    <a:pt x="1349816" y="2710952"/>
                  </a:lnTo>
                  <a:lnTo>
                    <a:pt x="1349704" y="2711251"/>
                  </a:lnTo>
                  <a:lnTo>
                    <a:pt x="1395157" y="2712743"/>
                  </a:lnTo>
                  <a:close/>
                  <a:moveTo>
                    <a:pt x="4068204" y="2709446"/>
                  </a:moveTo>
                  <a:lnTo>
                    <a:pt x="4042626" y="2726268"/>
                  </a:lnTo>
                  <a:lnTo>
                    <a:pt x="4077593" y="2710578"/>
                  </a:lnTo>
                  <a:close/>
                  <a:moveTo>
                    <a:pt x="2134672" y="2704535"/>
                  </a:moveTo>
                  <a:lnTo>
                    <a:pt x="2134671" y="2704536"/>
                  </a:lnTo>
                  <a:lnTo>
                    <a:pt x="2147013" y="2760708"/>
                  </a:lnTo>
                  <a:close/>
                  <a:moveTo>
                    <a:pt x="1236031" y="2698524"/>
                  </a:moveTo>
                  <a:lnTo>
                    <a:pt x="1218797" y="2720851"/>
                  </a:lnTo>
                  <a:lnTo>
                    <a:pt x="1220485" y="2730215"/>
                  </a:lnTo>
                  <a:lnTo>
                    <a:pt x="1232382" y="2708389"/>
                  </a:lnTo>
                  <a:lnTo>
                    <a:pt x="1240546" y="2710458"/>
                  </a:lnTo>
                  <a:close/>
                  <a:moveTo>
                    <a:pt x="6960417" y="2685463"/>
                  </a:moveTo>
                  <a:lnTo>
                    <a:pt x="6957409" y="2698532"/>
                  </a:lnTo>
                  <a:lnTo>
                    <a:pt x="6957841" y="2698564"/>
                  </a:lnTo>
                  <a:close/>
                  <a:moveTo>
                    <a:pt x="9401627" y="2682119"/>
                  </a:moveTo>
                  <a:lnTo>
                    <a:pt x="9418825" y="2753229"/>
                  </a:lnTo>
                  <a:lnTo>
                    <a:pt x="9424545" y="2758846"/>
                  </a:lnTo>
                  <a:lnTo>
                    <a:pt x="9401719" y="2682191"/>
                  </a:lnTo>
                  <a:close/>
                  <a:moveTo>
                    <a:pt x="1678418" y="2674562"/>
                  </a:moveTo>
                  <a:lnTo>
                    <a:pt x="1687803" y="2678952"/>
                  </a:lnTo>
                  <a:lnTo>
                    <a:pt x="1689198" y="2674911"/>
                  </a:lnTo>
                  <a:close/>
                  <a:moveTo>
                    <a:pt x="5393531" y="2674491"/>
                  </a:moveTo>
                  <a:lnTo>
                    <a:pt x="5392722" y="2674511"/>
                  </a:lnTo>
                  <a:lnTo>
                    <a:pt x="5393530" y="2674492"/>
                  </a:lnTo>
                  <a:close/>
                  <a:moveTo>
                    <a:pt x="2004101" y="2673202"/>
                  </a:moveTo>
                  <a:lnTo>
                    <a:pt x="2017226" y="2681315"/>
                  </a:lnTo>
                  <a:lnTo>
                    <a:pt x="2020784" y="2675112"/>
                  </a:lnTo>
                  <a:lnTo>
                    <a:pt x="2017302" y="2678036"/>
                  </a:lnTo>
                  <a:close/>
                  <a:moveTo>
                    <a:pt x="9382204" y="2666735"/>
                  </a:moveTo>
                  <a:lnTo>
                    <a:pt x="9382114" y="2666885"/>
                  </a:lnTo>
                  <a:lnTo>
                    <a:pt x="9393760" y="2675888"/>
                  </a:lnTo>
                  <a:close/>
                  <a:moveTo>
                    <a:pt x="1901395" y="2662677"/>
                  </a:moveTo>
                  <a:lnTo>
                    <a:pt x="1897100" y="2664653"/>
                  </a:lnTo>
                  <a:lnTo>
                    <a:pt x="1900129" y="2666581"/>
                  </a:lnTo>
                  <a:close/>
                  <a:moveTo>
                    <a:pt x="1631538" y="2660244"/>
                  </a:moveTo>
                  <a:lnTo>
                    <a:pt x="1635329" y="2673078"/>
                  </a:lnTo>
                  <a:lnTo>
                    <a:pt x="1635580" y="2672964"/>
                  </a:lnTo>
                  <a:close/>
                  <a:moveTo>
                    <a:pt x="2814236" y="2656543"/>
                  </a:moveTo>
                  <a:lnTo>
                    <a:pt x="2783749" y="2675562"/>
                  </a:lnTo>
                  <a:lnTo>
                    <a:pt x="2783750" y="2675565"/>
                  </a:lnTo>
                  <a:lnTo>
                    <a:pt x="2701566" y="2728086"/>
                  </a:lnTo>
                  <a:lnTo>
                    <a:pt x="2814236" y="2656544"/>
                  </a:lnTo>
                  <a:close/>
                  <a:moveTo>
                    <a:pt x="2052208" y="2652517"/>
                  </a:moveTo>
                  <a:lnTo>
                    <a:pt x="2071261" y="2660408"/>
                  </a:lnTo>
                  <a:lnTo>
                    <a:pt x="2073865" y="2656879"/>
                  </a:lnTo>
                  <a:close/>
                  <a:moveTo>
                    <a:pt x="2417948" y="2650429"/>
                  </a:moveTo>
                  <a:lnTo>
                    <a:pt x="2405323" y="2665944"/>
                  </a:lnTo>
                  <a:lnTo>
                    <a:pt x="2405324" y="2665944"/>
                  </a:lnTo>
                  <a:lnTo>
                    <a:pt x="2417952" y="2650429"/>
                  </a:lnTo>
                  <a:close/>
                  <a:moveTo>
                    <a:pt x="4341600" y="2649047"/>
                  </a:moveTo>
                  <a:lnTo>
                    <a:pt x="4216420" y="2655960"/>
                  </a:lnTo>
                  <a:lnTo>
                    <a:pt x="4212734" y="2658792"/>
                  </a:lnTo>
                  <a:close/>
                  <a:moveTo>
                    <a:pt x="5408492" y="2648718"/>
                  </a:moveTo>
                  <a:lnTo>
                    <a:pt x="5408366" y="2648936"/>
                  </a:lnTo>
                  <a:lnTo>
                    <a:pt x="5417629" y="2667518"/>
                  </a:lnTo>
                  <a:lnTo>
                    <a:pt x="5404516" y="2688870"/>
                  </a:lnTo>
                  <a:lnTo>
                    <a:pt x="5437693" y="2704979"/>
                  </a:lnTo>
                  <a:lnTo>
                    <a:pt x="5437773" y="2704889"/>
                  </a:lnTo>
                  <a:lnTo>
                    <a:pt x="5404521" y="2688869"/>
                  </a:lnTo>
                  <a:lnTo>
                    <a:pt x="5417632" y="2667517"/>
                  </a:lnTo>
                  <a:close/>
                  <a:moveTo>
                    <a:pt x="5331440" y="2647792"/>
                  </a:moveTo>
                  <a:lnTo>
                    <a:pt x="5349916" y="2654861"/>
                  </a:lnTo>
                  <a:lnTo>
                    <a:pt x="5353327" y="2665686"/>
                  </a:lnTo>
                  <a:lnTo>
                    <a:pt x="5350233" y="2654923"/>
                  </a:lnTo>
                  <a:close/>
                  <a:moveTo>
                    <a:pt x="1934169" y="2647591"/>
                  </a:moveTo>
                  <a:lnTo>
                    <a:pt x="1913217" y="2657235"/>
                  </a:lnTo>
                  <a:lnTo>
                    <a:pt x="1952451" y="2654286"/>
                  </a:lnTo>
                  <a:close/>
                  <a:moveTo>
                    <a:pt x="1613132" y="2641655"/>
                  </a:moveTo>
                  <a:lnTo>
                    <a:pt x="1613538" y="2645444"/>
                  </a:lnTo>
                  <a:lnTo>
                    <a:pt x="1614188" y="2644760"/>
                  </a:lnTo>
                  <a:close/>
                  <a:moveTo>
                    <a:pt x="6953170" y="2639137"/>
                  </a:moveTo>
                  <a:lnTo>
                    <a:pt x="6965490" y="2659665"/>
                  </a:lnTo>
                  <a:lnTo>
                    <a:pt x="6965828" y="2657948"/>
                  </a:lnTo>
                  <a:close/>
                  <a:moveTo>
                    <a:pt x="1698695" y="2637965"/>
                  </a:moveTo>
                  <a:lnTo>
                    <a:pt x="1696155" y="2654749"/>
                  </a:lnTo>
                  <a:lnTo>
                    <a:pt x="1700433" y="2642350"/>
                  </a:lnTo>
                  <a:close/>
                  <a:moveTo>
                    <a:pt x="1825270" y="2634804"/>
                  </a:moveTo>
                  <a:lnTo>
                    <a:pt x="1825247" y="2634863"/>
                  </a:lnTo>
                  <a:lnTo>
                    <a:pt x="1844723" y="2639682"/>
                  </a:lnTo>
                  <a:lnTo>
                    <a:pt x="1863681" y="2680036"/>
                  </a:lnTo>
                  <a:lnTo>
                    <a:pt x="1844723" y="2639681"/>
                  </a:lnTo>
                  <a:close/>
                  <a:moveTo>
                    <a:pt x="1592397" y="2632474"/>
                  </a:moveTo>
                  <a:lnTo>
                    <a:pt x="1578079" y="2651067"/>
                  </a:lnTo>
                  <a:lnTo>
                    <a:pt x="1572125" y="2648975"/>
                  </a:lnTo>
                  <a:lnTo>
                    <a:pt x="1571141" y="2669668"/>
                  </a:lnTo>
                  <a:lnTo>
                    <a:pt x="1572590" y="2667776"/>
                  </a:lnTo>
                  <a:lnTo>
                    <a:pt x="1580121" y="2671089"/>
                  </a:lnTo>
                  <a:close/>
                  <a:moveTo>
                    <a:pt x="1630371" y="2627043"/>
                  </a:moveTo>
                  <a:lnTo>
                    <a:pt x="1624333" y="2634073"/>
                  </a:lnTo>
                  <a:lnTo>
                    <a:pt x="1630778" y="2627286"/>
                  </a:lnTo>
                  <a:close/>
                  <a:moveTo>
                    <a:pt x="2754645" y="2621081"/>
                  </a:moveTo>
                  <a:lnTo>
                    <a:pt x="2754646" y="2621083"/>
                  </a:lnTo>
                  <a:lnTo>
                    <a:pt x="2775058" y="2624441"/>
                  </a:lnTo>
                  <a:lnTo>
                    <a:pt x="2775058" y="2624439"/>
                  </a:lnTo>
                  <a:close/>
                  <a:moveTo>
                    <a:pt x="4364979" y="2617087"/>
                  </a:moveTo>
                  <a:lnTo>
                    <a:pt x="4364835" y="2617122"/>
                  </a:lnTo>
                  <a:lnTo>
                    <a:pt x="4344781" y="2648807"/>
                  </a:lnTo>
                  <a:lnTo>
                    <a:pt x="4344857" y="2648801"/>
                  </a:lnTo>
                  <a:close/>
                  <a:moveTo>
                    <a:pt x="1604618" y="2616604"/>
                  </a:moveTo>
                  <a:lnTo>
                    <a:pt x="1600097" y="2622475"/>
                  </a:lnTo>
                  <a:lnTo>
                    <a:pt x="1606735" y="2622832"/>
                  </a:lnTo>
                  <a:close/>
                  <a:moveTo>
                    <a:pt x="2180324" y="2616280"/>
                  </a:moveTo>
                  <a:lnTo>
                    <a:pt x="2096941" y="2625601"/>
                  </a:lnTo>
                  <a:lnTo>
                    <a:pt x="2180166" y="2616740"/>
                  </a:lnTo>
                  <a:close/>
                  <a:moveTo>
                    <a:pt x="1687916" y="2610771"/>
                  </a:moveTo>
                  <a:lnTo>
                    <a:pt x="1683193" y="2622788"/>
                  </a:lnTo>
                  <a:lnTo>
                    <a:pt x="1693105" y="2623861"/>
                  </a:lnTo>
                  <a:close/>
                  <a:moveTo>
                    <a:pt x="1687169" y="2608886"/>
                  </a:moveTo>
                  <a:lnTo>
                    <a:pt x="1656179" y="2642372"/>
                  </a:lnTo>
                  <a:lnTo>
                    <a:pt x="1656463" y="2642546"/>
                  </a:lnTo>
                  <a:lnTo>
                    <a:pt x="1687707" y="2610242"/>
                  </a:lnTo>
                  <a:close/>
                  <a:moveTo>
                    <a:pt x="6963581" y="2604575"/>
                  </a:moveTo>
                  <a:lnTo>
                    <a:pt x="6963174" y="2604702"/>
                  </a:lnTo>
                  <a:lnTo>
                    <a:pt x="6948754" y="2631780"/>
                  </a:lnTo>
                  <a:lnTo>
                    <a:pt x="6948806" y="2631866"/>
                  </a:lnTo>
                  <a:close/>
                  <a:moveTo>
                    <a:pt x="1531249" y="2603148"/>
                  </a:moveTo>
                  <a:lnTo>
                    <a:pt x="1533266" y="2610675"/>
                  </a:lnTo>
                  <a:lnTo>
                    <a:pt x="1573652" y="2616855"/>
                  </a:lnTo>
                  <a:lnTo>
                    <a:pt x="1573652" y="2616854"/>
                  </a:lnTo>
                  <a:close/>
                  <a:moveTo>
                    <a:pt x="1830749" y="2598793"/>
                  </a:moveTo>
                  <a:lnTo>
                    <a:pt x="1807038" y="2615202"/>
                  </a:lnTo>
                  <a:lnTo>
                    <a:pt x="1760326" y="2688491"/>
                  </a:lnTo>
                  <a:lnTo>
                    <a:pt x="1761173" y="2689936"/>
                  </a:lnTo>
                  <a:lnTo>
                    <a:pt x="1807038" y="2615202"/>
                  </a:lnTo>
                  <a:lnTo>
                    <a:pt x="1807038" y="2615203"/>
                  </a:lnTo>
                  <a:lnTo>
                    <a:pt x="1829232" y="2608708"/>
                  </a:lnTo>
                  <a:close/>
                  <a:moveTo>
                    <a:pt x="6999059" y="2593467"/>
                  </a:moveTo>
                  <a:lnTo>
                    <a:pt x="6988885" y="2596652"/>
                  </a:lnTo>
                  <a:lnTo>
                    <a:pt x="6999121" y="2593607"/>
                  </a:lnTo>
                  <a:close/>
                  <a:moveTo>
                    <a:pt x="9393686" y="2587680"/>
                  </a:moveTo>
                  <a:lnTo>
                    <a:pt x="9390345" y="2588594"/>
                  </a:lnTo>
                  <a:lnTo>
                    <a:pt x="9404492" y="2629277"/>
                  </a:lnTo>
                  <a:lnTo>
                    <a:pt x="9404597" y="2629102"/>
                  </a:lnTo>
                  <a:close/>
                  <a:moveTo>
                    <a:pt x="1264649" y="2580414"/>
                  </a:moveTo>
                  <a:lnTo>
                    <a:pt x="1224133" y="2652506"/>
                  </a:lnTo>
                  <a:lnTo>
                    <a:pt x="1225433" y="2655626"/>
                  </a:lnTo>
                  <a:close/>
                  <a:moveTo>
                    <a:pt x="2193267" y="2573744"/>
                  </a:moveTo>
                  <a:lnTo>
                    <a:pt x="2185100" y="2602361"/>
                  </a:lnTo>
                  <a:lnTo>
                    <a:pt x="2194226" y="2575766"/>
                  </a:lnTo>
                  <a:lnTo>
                    <a:pt x="2195522" y="2575902"/>
                  </a:lnTo>
                  <a:close/>
                  <a:moveTo>
                    <a:pt x="1821341" y="2573018"/>
                  </a:moveTo>
                  <a:lnTo>
                    <a:pt x="1821335" y="2573038"/>
                  </a:lnTo>
                  <a:lnTo>
                    <a:pt x="1821355" y="2573064"/>
                  </a:lnTo>
                  <a:lnTo>
                    <a:pt x="1821337" y="2573039"/>
                  </a:lnTo>
                  <a:close/>
                  <a:moveTo>
                    <a:pt x="9456740" y="2570419"/>
                  </a:moveTo>
                  <a:lnTo>
                    <a:pt x="9455409" y="2570784"/>
                  </a:lnTo>
                  <a:lnTo>
                    <a:pt x="9456734" y="2570481"/>
                  </a:lnTo>
                  <a:close/>
                  <a:moveTo>
                    <a:pt x="1847137" y="2568943"/>
                  </a:moveTo>
                  <a:lnTo>
                    <a:pt x="1837729" y="2571412"/>
                  </a:lnTo>
                  <a:lnTo>
                    <a:pt x="1837155" y="2574271"/>
                  </a:lnTo>
                  <a:close/>
                  <a:moveTo>
                    <a:pt x="1253040" y="2568511"/>
                  </a:moveTo>
                  <a:lnTo>
                    <a:pt x="1264656" y="2580401"/>
                  </a:lnTo>
                  <a:lnTo>
                    <a:pt x="1264656" y="2580400"/>
                  </a:lnTo>
                  <a:close/>
                  <a:moveTo>
                    <a:pt x="4434085" y="2566960"/>
                  </a:moveTo>
                  <a:lnTo>
                    <a:pt x="4436476" y="2598979"/>
                  </a:lnTo>
                  <a:lnTo>
                    <a:pt x="4437403" y="2598746"/>
                  </a:lnTo>
                  <a:lnTo>
                    <a:pt x="4434282" y="2567009"/>
                  </a:lnTo>
                  <a:close/>
                  <a:moveTo>
                    <a:pt x="1520378" y="2562569"/>
                  </a:moveTo>
                  <a:lnTo>
                    <a:pt x="1520679" y="2563694"/>
                  </a:lnTo>
                  <a:lnTo>
                    <a:pt x="1520512" y="2562657"/>
                  </a:lnTo>
                  <a:close/>
                  <a:moveTo>
                    <a:pt x="2329002" y="2558386"/>
                  </a:moveTo>
                  <a:lnTo>
                    <a:pt x="2335056" y="2574934"/>
                  </a:lnTo>
                  <a:lnTo>
                    <a:pt x="2335057" y="2574933"/>
                  </a:lnTo>
                  <a:lnTo>
                    <a:pt x="2329005" y="2558386"/>
                  </a:lnTo>
                  <a:close/>
                  <a:moveTo>
                    <a:pt x="1398616" y="2552765"/>
                  </a:moveTo>
                  <a:lnTo>
                    <a:pt x="1398238" y="2552769"/>
                  </a:lnTo>
                  <a:lnTo>
                    <a:pt x="1398364" y="2552915"/>
                  </a:lnTo>
                  <a:close/>
                  <a:moveTo>
                    <a:pt x="2252328" y="2551976"/>
                  </a:moveTo>
                  <a:lnTo>
                    <a:pt x="2252032" y="2552278"/>
                  </a:lnTo>
                  <a:lnTo>
                    <a:pt x="2317984" y="2585761"/>
                  </a:lnTo>
                  <a:close/>
                  <a:moveTo>
                    <a:pt x="5273095" y="2540380"/>
                  </a:moveTo>
                  <a:lnTo>
                    <a:pt x="5272943" y="2540455"/>
                  </a:lnTo>
                  <a:lnTo>
                    <a:pt x="5273093" y="2570632"/>
                  </a:lnTo>
                  <a:lnTo>
                    <a:pt x="5294303" y="2582900"/>
                  </a:lnTo>
                  <a:lnTo>
                    <a:pt x="5299792" y="2635682"/>
                  </a:lnTo>
                  <a:lnTo>
                    <a:pt x="5300094" y="2635798"/>
                  </a:lnTo>
                  <a:lnTo>
                    <a:pt x="5294307" y="2582899"/>
                  </a:lnTo>
                  <a:lnTo>
                    <a:pt x="5273095" y="2570631"/>
                  </a:lnTo>
                  <a:close/>
                  <a:moveTo>
                    <a:pt x="4471828" y="2538857"/>
                  </a:moveTo>
                  <a:lnTo>
                    <a:pt x="4472539" y="2539299"/>
                  </a:lnTo>
                  <a:lnTo>
                    <a:pt x="4460530" y="2573387"/>
                  </a:lnTo>
                  <a:lnTo>
                    <a:pt x="4460618" y="2573409"/>
                  </a:lnTo>
                  <a:lnTo>
                    <a:pt x="4472574" y="2539236"/>
                  </a:lnTo>
                  <a:close/>
                  <a:moveTo>
                    <a:pt x="1884965" y="2538070"/>
                  </a:moveTo>
                  <a:lnTo>
                    <a:pt x="1874336" y="2554426"/>
                  </a:lnTo>
                  <a:lnTo>
                    <a:pt x="1899230" y="2541139"/>
                  </a:lnTo>
                  <a:close/>
                  <a:moveTo>
                    <a:pt x="1425675" y="2537725"/>
                  </a:moveTo>
                  <a:lnTo>
                    <a:pt x="1447681" y="2548488"/>
                  </a:lnTo>
                  <a:lnTo>
                    <a:pt x="1473367" y="2541483"/>
                  </a:lnTo>
                  <a:close/>
                  <a:moveTo>
                    <a:pt x="2973581" y="2536411"/>
                  </a:moveTo>
                  <a:lnTo>
                    <a:pt x="2973581" y="2536412"/>
                  </a:lnTo>
                  <a:lnTo>
                    <a:pt x="3006915" y="2571502"/>
                  </a:lnTo>
                  <a:lnTo>
                    <a:pt x="3006915" y="2571502"/>
                  </a:lnTo>
                  <a:close/>
                  <a:moveTo>
                    <a:pt x="2661251" y="2536321"/>
                  </a:moveTo>
                  <a:lnTo>
                    <a:pt x="2689648" y="2573800"/>
                  </a:lnTo>
                  <a:lnTo>
                    <a:pt x="2689648" y="2573800"/>
                  </a:lnTo>
                  <a:lnTo>
                    <a:pt x="2689649" y="2573802"/>
                  </a:lnTo>
                  <a:lnTo>
                    <a:pt x="2727375" y="2545124"/>
                  </a:lnTo>
                  <a:lnTo>
                    <a:pt x="2727373" y="2545122"/>
                  </a:lnTo>
                  <a:lnTo>
                    <a:pt x="2689648" y="2573800"/>
                  </a:lnTo>
                  <a:close/>
                  <a:moveTo>
                    <a:pt x="9460034" y="2535976"/>
                  </a:moveTo>
                  <a:lnTo>
                    <a:pt x="9460016" y="2536172"/>
                  </a:lnTo>
                  <a:lnTo>
                    <a:pt x="9477487" y="2554635"/>
                  </a:lnTo>
                  <a:close/>
                  <a:moveTo>
                    <a:pt x="3086235" y="2528788"/>
                  </a:moveTo>
                  <a:lnTo>
                    <a:pt x="3086233" y="2528789"/>
                  </a:lnTo>
                  <a:lnTo>
                    <a:pt x="3125931" y="2581188"/>
                  </a:lnTo>
                  <a:lnTo>
                    <a:pt x="2977705" y="2683198"/>
                  </a:lnTo>
                  <a:lnTo>
                    <a:pt x="2998666" y="2710908"/>
                  </a:lnTo>
                  <a:lnTo>
                    <a:pt x="2941897" y="2754918"/>
                  </a:lnTo>
                  <a:lnTo>
                    <a:pt x="2998667" y="2710908"/>
                  </a:lnTo>
                  <a:lnTo>
                    <a:pt x="2977706" y="2683198"/>
                  </a:lnTo>
                  <a:lnTo>
                    <a:pt x="3125933" y="2581189"/>
                  </a:lnTo>
                  <a:close/>
                  <a:moveTo>
                    <a:pt x="3053203" y="2523725"/>
                  </a:moveTo>
                  <a:lnTo>
                    <a:pt x="3053202" y="2523727"/>
                  </a:lnTo>
                  <a:lnTo>
                    <a:pt x="3067450" y="2543248"/>
                  </a:lnTo>
                  <a:lnTo>
                    <a:pt x="3067452" y="2543248"/>
                  </a:lnTo>
                  <a:close/>
                  <a:moveTo>
                    <a:pt x="4257229" y="2516772"/>
                  </a:moveTo>
                  <a:lnTo>
                    <a:pt x="4257224" y="2516776"/>
                  </a:lnTo>
                  <a:lnTo>
                    <a:pt x="4257204" y="2516778"/>
                  </a:lnTo>
                  <a:lnTo>
                    <a:pt x="4257224" y="2516777"/>
                  </a:lnTo>
                  <a:close/>
                  <a:moveTo>
                    <a:pt x="1229017" y="2514599"/>
                  </a:moveTo>
                  <a:lnTo>
                    <a:pt x="1246567" y="2523503"/>
                  </a:lnTo>
                  <a:lnTo>
                    <a:pt x="1244353" y="2517358"/>
                  </a:lnTo>
                  <a:lnTo>
                    <a:pt x="1239597" y="2519666"/>
                  </a:lnTo>
                  <a:close/>
                  <a:moveTo>
                    <a:pt x="1770422" y="2512833"/>
                  </a:moveTo>
                  <a:lnTo>
                    <a:pt x="1741828" y="2534231"/>
                  </a:lnTo>
                  <a:lnTo>
                    <a:pt x="1741850" y="2534336"/>
                  </a:lnTo>
                  <a:close/>
                  <a:moveTo>
                    <a:pt x="1770426" y="2512830"/>
                  </a:moveTo>
                  <a:lnTo>
                    <a:pt x="1770425" y="2512831"/>
                  </a:lnTo>
                  <a:lnTo>
                    <a:pt x="1794822" y="2538073"/>
                  </a:lnTo>
                  <a:lnTo>
                    <a:pt x="1794822" y="2538073"/>
                  </a:lnTo>
                  <a:lnTo>
                    <a:pt x="1828148" y="2537524"/>
                  </a:lnTo>
                  <a:lnTo>
                    <a:pt x="1828663" y="2534838"/>
                  </a:lnTo>
                  <a:lnTo>
                    <a:pt x="1794822" y="2538073"/>
                  </a:lnTo>
                  <a:close/>
                  <a:moveTo>
                    <a:pt x="4435538" y="2512699"/>
                  </a:moveTo>
                  <a:lnTo>
                    <a:pt x="4433898" y="2515278"/>
                  </a:lnTo>
                  <a:lnTo>
                    <a:pt x="4435220" y="2516100"/>
                  </a:lnTo>
                  <a:close/>
                  <a:moveTo>
                    <a:pt x="4129944" y="2510647"/>
                  </a:moveTo>
                  <a:lnTo>
                    <a:pt x="4147191" y="2522739"/>
                  </a:lnTo>
                  <a:lnTo>
                    <a:pt x="4151491" y="2522506"/>
                  </a:lnTo>
                  <a:close/>
                  <a:moveTo>
                    <a:pt x="1218749" y="2509682"/>
                  </a:moveTo>
                  <a:lnTo>
                    <a:pt x="1218248" y="2509946"/>
                  </a:lnTo>
                  <a:lnTo>
                    <a:pt x="1219016" y="2509810"/>
                  </a:lnTo>
                  <a:close/>
                  <a:moveTo>
                    <a:pt x="5309376" y="2507705"/>
                  </a:moveTo>
                  <a:lnTo>
                    <a:pt x="5306276" y="2523969"/>
                  </a:lnTo>
                  <a:lnTo>
                    <a:pt x="5306602" y="2523809"/>
                  </a:lnTo>
                  <a:lnTo>
                    <a:pt x="5309396" y="2507722"/>
                  </a:lnTo>
                  <a:close/>
                  <a:moveTo>
                    <a:pt x="5334480" y="2504729"/>
                  </a:moveTo>
                  <a:lnTo>
                    <a:pt x="5319561" y="2515894"/>
                  </a:lnTo>
                  <a:lnTo>
                    <a:pt x="5319607" y="2515931"/>
                  </a:lnTo>
                  <a:close/>
                  <a:moveTo>
                    <a:pt x="1891139" y="2502815"/>
                  </a:moveTo>
                  <a:lnTo>
                    <a:pt x="1902659" y="2539309"/>
                  </a:lnTo>
                  <a:lnTo>
                    <a:pt x="1908170" y="2536368"/>
                  </a:lnTo>
                  <a:close/>
                  <a:moveTo>
                    <a:pt x="1546926" y="2496802"/>
                  </a:moveTo>
                  <a:lnTo>
                    <a:pt x="1515041" y="2521528"/>
                  </a:lnTo>
                  <a:lnTo>
                    <a:pt x="1538814" y="2509712"/>
                  </a:lnTo>
                  <a:close/>
                  <a:moveTo>
                    <a:pt x="4331146" y="2496157"/>
                  </a:moveTo>
                  <a:lnTo>
                    <a:pt x="4331326" y="2496310"/>
                  </a:lnTo>
                  <a:lnTo>
                    <a:pt x="4331401" y="2496263"/>
                  </a:lnTo>
                  <a:close/>
                  <a:moveTo>
                    <a:pt x="9458705" y="2489995"/>
                  </a:moveTo>
                  <a:lnTo>
                    <a:pt x="9458650" y="2490449"/>
                  </a:lnTo>
                  <a:lnTo>
                    <a:pt x="9491446" y="2501716"/>
                  </a:lnTo>
                  <a:lnTo>
                    <a:pt x="9503845" y="2548931"/>
                  </a:lnTo>
                  <a:lnTo>
                    <a:pt x="9477827" y="2554994"/>
                  </a:lnTo>
                  <a:lnTo>
                    <a:pt x="9477828" y="2554995"/>
                  </a:lnTo>
                  <a:lnTo>
                    <a:pt x="9503849" y="2548931"/>
                  </a:lnTo>
                  <a:lnTo>
                    <a:pt x="9491449" y="2501717"/>
                  </a:lnTo>
                  <a:close/>
                  <a:moveTo>
                    <a:pt x="2638716" y="2486067"/>
                  </a:moveTo>
                  <a:lnTo>
                    <a:pt x="2583339" y="2494014"/>
                  </a:lnTo>
                  <a:lnTo>
                    <a:pt x="2583340" y="2494016"/>
                  </a:lnTo>
                  <a:lnTo>
                    <a:pt x="2638716" y="2486069"/>
                  </a:lnTo>
                  <a:lnTo>
                    <a:pt x="2651080" y="2497866"/>
                  </a:lnTo>
                  <a:close/>
                  <a:moveTo>
                    <a:pt x="1310389" y="2485318"/>
                  </a:moveTo>
                  <a:lnTo>
                    <a:pt x="1260381" y="2509582"/>
                  </a:lnTo>
                  <a:lnTo>
                    <a:pt x="1285547" y="2507493"/>
                  </a:lnTo>
                  <a:close/>
                  <a:moveTo>
                    <a:pt x="1310392" y="2485317"/>
                  </a:moveTo>
                  <a:lnTo>
                    <a:pt x="1336055" y="2500442"/>
                  </a:lnTo>
                  <a:lnTo>
                    <a:pt x="1352412" y="2542415"/>
                  </a:lnTo>
                  <a:lnTo>
                    <a:pt x="1352412" y="2542414"/>
                  </a:lnTo>
                  <a:lnTo>
                    <a:pt x="1336056" y="2500441"/>
                  </a:lnTo>
                  <a:close/>
                  <a:moveTo>
                    <a:pt x="4297300" y="2482115"/>
                  </a:moveTo>
                  <a:lnTo>
                    <a:pt x="4296000" y="2483239"/>
                  </a:lnTo>
                  <a:lnTo>
                    <a:pt x="4298609" y="2482658"/>
                  </a:lnTo>
                  <a:close/>
                  <a:moveTo>
                    <a:pt x="5368991" y="2478901"/>
                  </a:moveTo>
                  <a:lnTo>
                    <a:pt x="5368833" y="2479019"/>
                  </a:lnTo>
                  <a:lnTo>
                    <a:pt x="5371897" y="2479846"/>
                  </a:lnTo>
                  <a:close/>
                  <a:moveTo>
                    <a:pt x="5393302" y="2477569"/>
                  </a:moveTo>
                  <a:lnTo>
                    <a:pt x="5393208" y="2477684"/>
                  </a:lnTo>
                  <a:lnTo>
                    <a:pt x="5401589" y="2487860"/>
                  </a:lnTo>
                  <a:lnTo>
                    <a:pt x="5404162" y="2488554"/>
                  </a:lnTo>
                  <a:close/>
                  <a:moveTo>
                    <a:pt x="2568993" y="2468680"/>
                  </a:moveTo>
                  <a:lnTo>
                    <a:pt x="2551423" y="2468719"/>
                  </a:lnTo>
                  <a:lnTo>
                    <a:pt x="2551423" y="2468721"/>
                  </a:lnTo>
                  <a:lnTo>
                    <a:pt x="2568995" y="2468682"/>
                  </a:lnTo>
                  <a:close/>
                  <a:moveTo>
                    <a:pt x="2162382" y="2461457"/>
                  </a:moveTo>
                  <a:lnTo>
                    <a:pt x="2152122" y="2534355"/>
                  </a:lnTo>
                  <a:lnTo>
                    <a:pt x="2152122" y="2534356"/>
                  </a:lnTo>
                  <a:lnTo>
                    <a:pt x="2162383" y="2461458"/>
                  </a:lnTo>
                  <a:close/>
                  <a:moveTo>
                    <a:pt x="4361857" y="2457829"/>
                  </a:moveTo>
                  <a:lnTo>
                    <a:pt x="4361694" y="2457833"/>
                  </a:lnTo>
                  <a:lnTo>
                    <a:pt x="4358388" y="2479499"/>
                  </a:lnTo>
                  <a:lnTo>
                    <a:pt x="4358396" y="2479493"/>
                  </a:lnTo>
                  <a:close/>
                  <a:moveTo>
                    <a:pt x="1568785" y="2456159"/>
                  </a:moveTo>
                  <a:lnTo>
                    <a:pt x="1565377" y="2467440"/>
                  </a:lnTo>
                  <a:lnTo>
                    <a:pt x="1571054" y="2458406"/>
                  </a:lnTo>
                  <a:lnTo>
                    <a:pt x="1571055" y="2458406"/>
                  </a:lnTo>
                  <a:close/>
                  <a:moveTo>
                    <a:pt x="4476405" y="2449987"/>
                  </a:moveTo>
                  <a:lnTo>
                    <a:pt x="4474205" y="2451317"/>
                  </a:lnTo>
                  <a:lnTo>
                    <a:pt x="4474486" y="2451445"/>
                  </a:lnTo>
                  <a:lnTo>
                    <a:pt x="4474351" y="2451659"/>
                  </a:lnTo>
                  <a:close/>
                  <a:moveTo>
                    <a:pt x="7105532" y="2442282"/>
                  </a:moveTo>
                  <a:lnTo>
                    <a:pt x="7103167" y="2466683"/>
                  </a:lnTo>
                  <a:lnTo>
                    <a:pt x="7103255" y="2466614"/>
                  </a:lnTo>
                  <a:lnTo>
                    <a:pt x="7105898" y="2442425"/>
                  </a:lnTo>
                  <a:close/>
                  <a:moveTo>
                    <a:pt x="9529562" y="2438032"/>
                  </a:moveTo>
                  <a:lnTo>
                    <a:pt x="9529549" y="2438079"/>
                  </a:lnTo>
                  <a:lnTo>
                    <a:pt x="9494110" y="2462743"/>
                  </a:lnTo>
                  <a:lnTo>
                    <a:pt x="9461831" y="2464010"/>
                  </a:lnTo>
                  <a:lnTo>
                    <a:pt x="9461809" y="2464190"/>
                  </a:lnTo>
                  <a:lnTo>
                    <a:pt x="9494114" y="2462744"/>
                  </a:lnTo>
                  <a:lnTo>
                    <a:pt x="9529553" y="2438080"/>
                  </a:lnTo>
                  <a:close/>
                  <a:moveTo>
                    <a:pt x="4423535" y="2434420"/>
                  </a:moveTo>
                  <a:lnTo>
                    <a:pt x="4410699" y="2456617"/>
                  </a:lnTo>
                  <a:lnTo>
                    <a:pt x="4411026" y="2456610"/>
                  </a:lnTo>
                  <a:lnTo>
                    <a:pt x="4428887" y="2436252"/>
                  </a:lnTo>
                  <a:close/>
                  <a:moveTo>
                    <a:pt x="1648262" y="2431028"/>
                  </a:moveTo>
                  <a:lnTo>
                    <a:pt x="1648261" y="2431029"/>
                  </a:lnTo>
                  <a:lnTo>
                    <a:pt x="1667238" y="2487338"/>
                  </a:lnTo>
                  <a:lnTo>
                    <a:pt x="1737125" y="2510503"/>
                  </a:lnTo>
                  <a:lnTo>
                    <a:pt x="1737227" y="2511019"/>
                  </a:lnTo>
                  <a:lnTo>
                    <a:pt x="1737126" y="2510503"/>
                  </a:lnTo>
                  <a:lnTo>
                    <a:pt x="1667239" y="2487338"/>
                  </a:lnTo>
                  <a:close/>
                  <a:moveTo>
                    <a:pt x="2523546" y="2430162"/>
                  </a:moveTo>
                  <a:lnTo>
                    <a:pt x="2523546" y="2430164"/>
                  </a:lnTo>
                  <a:lnTo>
                    <a:pt x="2551815" y="2433173"/>
                  </a:lnTo>
                  <a:lnTo>
                    <a:pt x="2551815" y="2433171"/>
                  </a:lnTo>
                  <a:close/>
                  <a:moveTo>
                    <a:pt x="1537116" y="2424799"/>
                  </a:moveTo>
                  <a:lnTo>
                    <a:pt x="1537118" y="2424806"/>
                  </a:lnTo>
                  <a:lnTo>
                    <a:pt x="1537122" y="2424809"/>
                  </a:lnTo>
                  <a:lnTo>
                    <a:pt x="1537118" y="2424805"/>
                  </a:lnTo>
                  <a:close/>
                  <a:moveTo>
                    <a:pt x="1921108" y="2420842"/>
                  </a:moveTo>
                  <a:lnTo>
                    <a:pt x="1920211" y="2429488"/>
                  </a:lnTo>
                  <a:lnTo>
                    <a:pt x="1932712" y="2428617"/>
                  </a:lnTo>
                  <a:lnTo>
                    <a:pt x="1932712" y="2428616"/>
                  </a:lnTo>
                  <a:close/>
                  <a:moveTo>
                    <a:pt x="4496684" y="2411584"/>
                  </a:moveTo>
                  <a:lnTo>
                    <a:pt x="4493695" y="2435919"/>
                  </a:lnTo>
                  <a:lnTo>
                    <a:pt x="4496144" y="2433926"/>
                  </a:lnTo>
                  <a:close/>
                  <a:moveTo>
                    <a:pt x="9613523" y="2408615"/>
                  </a:moveTo>
                  <a:lnTo>
                    <a:pt x="9593643" y="2412710"/>
                  </a:lnTo>
                  <a:lnTo>
                    <a:pt x="9613590" y="2408750"/>
                  </a:lnTo>
                  <a:close/>
                  <a:moveTo>
                    <a:pt x="9561867" y="2391742"/>
                  </a:moveTo>
                  <a:lnTo>
                    <a:pt x="9578216" y="2415773"/>
                  </a:lnTo>
                  <a:lnTo>
                    <a:pt x="9578484" y="2415720"/>
                  </a:lnTo>
                  <a:close/>
                  <a:moveTo>
                    <a:pt x="9542617" y="2390950"/>
                  </a:moveTo>
                  <a:lnTo>
                    <a:pt x="9542218" y="2392389"/>
                  </a:lnTo>
                  <a:lnTo>
                    <a:pt x="9561644" y="2391420"/>
                  </a:lnTo>
                  <a:close/>
                  <a:moveTo>
                    <a:pt x="11446630" y="2387185"/>
                  </a:moveTo>
                  <a:lnTo>
                    <a:pt x="11546450" y="2403479"/>
                  </a:lnTo>
                  <a:lnTo>
                    <a:pt x="11587908" y="2438631"/>
                  </a:lnTo>
                  <a:lnTo>
                    <a:pt x="11582685" y="2465133"/>
                  </a:lnTo>
                  <a:lnTo>
                    <a:pt x="11555761" y="2479424"/>
                  </a:lnTo>
                  <a:lnTo>
                    <a:pt x="11445031" y="2492519"/>
                  </a:lnTo>
                  <a:lnTo>
                    <a:pt x="11414350" y="2481697"/>
                  </a:lnTo>
                  <a:lnTo>
                    <a:pt x="11404895" y="2424796"/>
                  </a:lnTo>
                  <a:close/>
                  <a:moveTo>
                    <a:pt x="2457213" y="2386717"/>
                  </a:moveTo>
                  <a:lnTo>
                    <a:pt x="2457102" y="2386811"/>
                  </a:lnTo>
                  <a:lnTo>
                    <a:pt x="2457102" y="2386813"/>
                  </a:lnTo>
                  <a:close/>
                  <a:moveTo>
                    <a:pt x="2512772" y="2386365"/>
                  </a:moveTo>
                  <a:lnTo>
                    <a:pt x="2523543" y="2430146"/>
                  </a:lnTo>
                  <a:lnTo>
                    <a:pt x="2517431" y="2389579"/>
                  </a:lnTo>
                  <a:close/>
                  <a:moveTo>
                    <a:pt x="1964382" y="2385787"/>
                  </a:moveTo>
                  <a:lnTo>
                    <a:pt x="1965035" y="2424165"/>
                  </a:lnTo>
                  <a:lnTo>
                    <a:pt x="1966624" y="2424851"/>
                  </a:lnTo>
                  <a:close/>
                  <a:moveTo>
                    <a:pt x="3377334" y="2381636"/>
                  </a:moveTo>
                  <a:lnTo>
                    <a:pt x="3341632" y="2408992"/>
                  </a:lnTo>
                  <a:lnTo>
                    <a:pt x="3341633" y="2408993"/>
                  </a:lnTo>
                  <a:lnTo>
                    <a:pt x="3377335" y="2381637"/>
                  </a:lnTo>
                  <a:close/>
                  <a:moveTo>
                    <a:pt x="2482419" y="2365428"/>
                  </a:moveTo>
                  <a:lnTo>
                    <a:pt x="2482085" y="2365710"/>
                  </a:lnTo>
                  <a:lnTo>
                    <a:pt x="2487697" y="2369069"/>
                  </a:lnTo>
                  <a:close/>
                  <a:moveTo>
                    <a:pt x="3306905" y="2365368"/>
                  </a:moveTo>
                  <a:lnTo>
                    <a:pt x="3287865" y="2379918"/>
                  </a:lnTo>
                  <a:lnTo>
                    <a:pt x="3287865" y="2379918"/>
                  </a:lnTo>
                  <a:lnTo>
                    <a:pt x="3306907" y="2365369"/>
                  </a:lnTo>
                  <a:close/>
                  <a:moveTo>
                    <a:pt x="4461315" y="2364520"/>
                  </a:moveTo>
                  <a:lnTo>
                    <a:pt x="4461105" y="2365100"/>
                  </a:lnTo>
                  <a:lnTo>
                    <a:pt x="4497039" y="2396931"/>
                  </a:lnTo>
                  <a:lnTo>
                    <a:pt x="4497113" y="2393876"/>
                  </a:lnTo>
                  <a:close/>
                  <a:moveTo>
                    <a:pt x="1517667" y="2359180"/>
                  </a:moveTo>
                  <a:lnTo>
                    <a:pt x="1509908" y="2360082"/>
                  </a:lnTo>
                  <a:lnTo>
                    <a:pt x="1518397" y="2361644"/>
                  </a:lnTo>
                  <a:close/>
                  <a:moveTo>
                    <a:pt x="3266707" y="2350242"/>
                  </a:moveTo>
                  <a:lnTo>
                    <a:pt x="3247114" y="2364265"/>
                  </a:lnTo>
                  <a:lnTo>
                    <a:pt x="3247115" y="2364266"/>
                  </a:lnTo>
                  <a:lnTo>
                    <a:pt x="3266708" y="2350243"/>
                  </a:lnTo>
                  <a:close/>
                  <a:moveTo>
                    <a:pt x="4468112" y="2347607"/>
                  </a:moveTo>
                  <a:lnTo>
                    <a:pt x="4467329" y="2347906"/>
                  </a:lnTo>
                  <a:lnTo>
                    <a:pt x="4464089" y="2356857"/>
                  </a:lnTo>
                  <a:close/>
                  <a:moveTo>
                    <a:pt x="3231888" y="2344511"/>
                  </a:moveTo>
                  <a:lnTo>
                    <a:pt x="3213039" y="2359253"/>
                  </a:lnTo>
                  <a:lnTo>
                    <a:pt x="3213041" y="2359255"/>
                  </a:lnTo>
                  <a:lnTo>
                    <a:pt x="3231889" y="2344513"/>
                  </a:lnTo>
                  <a:close/>
                  <a:moveTo>
                    <a:pt x="2431524" y="2330818"/>
                  </a:moveTo>
                  <a:lnTo>
                    <a:pt x="2457097" y="2386800"/>
                  </a:lnTo>
                  <a:lnTo>
                    <a:pt x="2440272" y="2335421"/>
                  </a:lnTo>
                  <a:close/>
                  <a:moveTo>
                    <a:pt x="11652989" y="2325073"/>
                  </a:moveTo>
                  <a:lnTo>
                    <a:pt x="11683878" y="2346738"/>
                  </a:lnTo>
                  <a:lnTo>
                    <a:pt x="11664283" y="2387336"/>
                  </a:lnTo>
                  <a:lnTo>
                    <a:pt x="11583788" y="2407398"/>
                  </a:lnTo>
                  <a:lnTo>
                    <a:pt x="11551668" y="2397857"/>
                  </a:lnTo>
                  <a:lnTo>
                    <a:pt x="11540101" y="2365347"/>
                  </a:lnTo>
                  <a:lnTo>
                    <a:pt x="11566180" y="2340331"/>
                  </a:lnTo>
                  <a:close/>
                  <a:moveTo>
                    <a:pt x="2027655" y="2308551"/>
                  </a:moveTo>
                  <a:lnTo>
                    <a:pt x="2010185" y="2376391"/>
                  </a:lnTo>
                  <a:lnTo>
                    <a:pt x="2010773" y="2376270"/>
                  </a:lnTo>
                  <a:lnTo>
                    <a:pt x="2027655" y="2308552"/>
                  </a:lnTo>
                  <a:close/>
                  <a:moveTo>
                    <a:pt x="2388838" y="2308359"/>
                  </a:moveTo>
                  <a:lnTo>
                    <a:pt x="2388838" y="2308360"/>
                  </a:lnTo>
                  <a:lnTo>
                    <a:pt x="2388841" y="2308361"/>
                  </a:lnTo>
                  <a:close/>
                  <a:moveTo>
                    <a:pt x="9652401" y="2306250"/>
                  </a:moveTo>
                  <a:lnTo>
                    <a:pt x="9640585" y="2350390"/>
                  </a:lnTo>
                  <a:lnTo>
                    <a:pt x="9601233" y="2383573"/>
                  </a:lnTo>
                  <a:lnTo>
                    <a:pt x="9601377" y="2383860"/>
                  </a:lnTo>
                  <a:lnTo>
                    <a:pt x="9601236" y="2383572"/>
                  </a:lnTo>
                  <a:lnTo>
                    <a:pt x="9640588" y="2350390"/>
                  </a:lnTo>
                  <a:lnTo>
                    <a:pt x="9652405" y="2306251"/>
                  </a:lnTo>
                  <a:close/>
                  <a:moveTo>
                    <a:pt x="9686288" y="2296231"/>
                  </a:moveTo>
                  <a:lnTo>
                    <a:pt x="9675175" y="2314285"/>
                  </a:lnTo>
                  <a:lnTo>
                    <a:pt x="9675177" y="2314286"/>
                  </a:lnTo>
                  <a:lnTo>
                    <a:pt x="9686412" y="2296322"/>
                  </a:lnTo>
                  <a:close/>
                  <a:moveTo>
                    <a:pt x="5373457" y="2293103"/>
                  </a:moveTo>
                  <a:lnTo>
                    <a:pt x="5355198" y="2319946"/>
                  </a:lnTo>
                  <a:lnTo>
                    <a:pt x="5413888" y="2393292"/>
                  </a:lnTo>
                  <a:lnTo>
                    <a:pt x="5408739" y="2458541"/>
                  </a:lnTo>
                  <a:lnTo>
                    <a:pt x="5407719" y="2459799"/>
                  </a:lnTo>
                  <a:lnTo>
                    <a:pt x="5408763" y="2458540"/>
                  </a:lnTo>
                  <a:lnTo>
                    <a:pt x="5413911" y="2393290"/>
                  </a:lnTo>
                  <a:lnTo>
                    <a:pt x="5355221" y="2319945"/>
                  </a:lnTo>
                  <a:lnTo>
                    <a:pt x="5373769" y="2293174"/>
                  </a:lnTo>
                  <a:close/>
                  <a:moveTo>
                    <a:pt x="7008191" y="2286239"/>
                  </a:moveTo>
                  <a:lnTo>
                    <a:pt x="7018555" y="2288215"/>
                  </a:lnTo>
                  <a:lnTo>
                    <a:pt x="7045005" y="2315196"/>
                  </a:lnTo>
                  <a:lnTo>
                    <a:pt x="7018485" y="2288084"/>
                  </a:lnTo>
                  <a:close/>
                  <a:moveTo>
                    <a:pt x="3384254" y="2285562"/>
                  </a:moveTo>
                  <a:lnTo>
                    <a:pt x="3367634" y="2365480"/>
                  </a:lnTo>
                  <a:lnTo>
                    <a:pt x="3377131" y="2381295"/>
                  </a:lnTo>
                  <a:lnTo>
                    <a:pt x="3367636" y="2365480"/>
                  </a:lnTo>
                  <a:lnTo>
                    <a:pt x="3384256" y="2285563"/>
                  </a:lnTo>
                  <a:close/>
                  <a:moveTo>
                    <a:pt x="1927711" y="2279210"/>
                  </a:moveTo>
                  <a:lnTo>
                    <a:pt x="1956632" y="2306040"/>
                  </a:lnTo>
                  <a:lnTo>
                    <a:pt x="1940867" y="2289171"/>
                  </a:lnTo>
                  <a:lnTo>
                    <a:pt x="1947884" y="2280160"/>
                  </a:lnTo>
                  <a:close/>
                  <a:moveTo>
                    <a:pt x="6994848" y="2271863"/>
                  </a:moveTo>
                  <a:lnTo>
                    <a:pt x="6988736" y="2282530"/>
                  </a:lnTo>
                  <a:lnTo>
                    <a:pt x="6988809" y="2282544"/>
                  </a:lnTo>
                  <a:close/>
                  <a:moveTo>
                    <a:pt x="5426168" y="2267107"/>
                  </a:moveTo>
                  <a:lnTo>
                    <a:pt x="5420242" y="2267748"/>
                  </a:lnTo>
                  <a:lnTo>
                    <a:pt x="5406576" y="2300605"/>
                  </a:lnTo>
                  <a:lnTo>
                    <a:pt x="5406596" y="2300610"/>
                  </a:lnTo>
                  <a:lnTo>
                    <a:pt x="5420239" y="2267989"/>
                  </a:lnTo>
                  <a:close/>
                  <a:moveTo>
                    <a:pt x="1373906" y="2265864"/>
                  </a:moveTo>
                  <a:lnTo>
                    <a:pt x="1408295" y="2290978"/>
                  </a:lnTo>
                  <a:lnTo>
                    <a:pt x="1397070" y="2301421"/>
                  </a:lnTo>
                  <a:lnTo>
                    <a:pt x="1408296" y="2290978"/>
                  </a:lnTo>
                  <a:close/>
                  <a:moveTo>
                    <a:pt x="2357516" y="2253481"/>
                  </a:moveTo>
                  <a:lnTo>
                    <a:pt x="2357228" y="2253689"/>
                  </a:lnTo>
                  <a:lnTo>
                    <a:pt x="2382810" y="2276685"/>
                  </a:lnTo>
                  <a:close/>
                  <a:moveTo>
                    <a:pt x="1957938" y="2243749"/>
                  </a:moveTo>
                  <a:lnTo>
                    <a:pt x="1954491" y="2271676"/>
                  </a:lnTo>
                  <a:lnTo>
                    <a:pt x="1962632" y="2261220"/>
                  </a:lnTo>
                  <a:close/>
                  <a:moveTo>
                    <a:pt x="1384169" y="2242861"/>
                  </a:moveTo>
                  <a:lnTo>
                    <a:pt x="1384177" y="2242862"/>
                  </a:lnTo>
                  <a:lnTo>
                    <a:pt x="1386724" y="2265166"/>
                  </a:lnTo>
                  <a:lnTo>
                    <a:pt x="1386745" y="2265165"/>
                  </a:lnTo>
                  <a:lnTo>
                    <a:pt x="1384177" y="2242861"/>
                  </a:lnTo>
                  <a:close/>
                  <a:moveTo>
                    <a:pt x="9672688" y="2241679"/>
                  </a:moveTo>
                  <a:lnTo>
                    <a:pt x="9673186" y="2241801"/>
                  </a:lnTo>
                  <a:lnTo>
                    <a:pt x="9672937" y="2243748"/>
                  </a:lnTo>
                  <a:lnTo>
                    <a:pt x="9673191" y="2241800"/>
                  </a:lnTo>
                  <a:close/>
                  <a:moveTo>
                    <a:pt x="1884147" y="2238796"/>
                  </a:moveTo>
                  <a:lnTo>
                    <a:pt x="1848277" y="2242577"/>
                  </a:lnTo>
                  <a:lnTo>
                    <a:pt x="1850467" y="2245199"/>
                  </a:lnTo>
                  <a:close/>
                  <a:moveTo>
                    <a:pt x="2350031" y="2237592"/>
                  </a:moveTo>
                  <a:lnTo>
                    <a:pt x="2346932" y="2261116"/>
                  </a:lnTo>
                  <a:lnTo>
                    <a:pt x="2347218" y="2260899"/>
                  </a:lnTo>
                  <a:close/>
                  <a:moveTo>
                    <a:pt x="6962669" y="2228901"/>
                  </a:moveTo>
                  <a:lnTo>
                    <a:pt x="6962671" y="2229305"/>
                  </a:lnTo>
                  <a:lnTo>
                    <a:pt x="7000552" y="2261774"/>
                  </a:lnTo>
                  <a:lnTo>
                    <a:pt x="7000595" y="2261698"/>
                  </a:lnTo>
                  <a:close/>
                  <a:moveTo>
                    <a:pt x="2328305" y="2220364"/>
                  </a:moveTo>
                  <a:lnTo>
                    <a:pt x="2328305" y="2220365"/>
                  </a:lnTo>
                  <a:lnTo>
                    <a:pt x="2350379" y="2234704"/>
                  </a:lnTo>
                  <a:lnTo>
                    <a:pt x="2350380" y="2234692"/>
                  </a:lnTo>
                  <a:close/>
                  <a:moveTo>
                    <a:pt x="1835310" y="2219504"/>
                  </a:moveTo>
                  <a:lnTo>
                    <a:pt x="1830534" y="2221338"/>
                  </a:lnTo>
                  <a:lnTo>
                    <a:pt x="1841785" y="2234806"/>
                  </a:lnTo>
                  <a:close/>
                  <a:moveTo>
                    <a:pt x="1355853" y="2219042"/>
                  </a:moveTo>
                  <a:lnTo>
                    <a:pt x="1355454" y="2219555"/>
                  </a:lnTo>
                  <a:lnTo>
                    <a:pt x="1364637" y="2240096"/>
                  </a:lnTo>
                  <a:lnTo>
                    <a:pt x="1366130" y="2240307"/>
                  </a:lnTo>
                  <a:close/>
                  <a:moveTo>
                    <a:pt x="3057138" y="2218055"/>
                  </a:moveTo>
                  <a:lnTo>
                    <a:pt x="3081786" y="2332698"/>
                  </a:lnTo>
                  <a:lnTo>
                    <a:pt x="3040213" y="2401238"/>
                  </a:lnTo>
                  <a:lnTo>
                    <a:pt x="3055437" y="2438787"/>
                  </a:lnTo>
                  <a:lnTo>
                    <a:pt x="2995004" y="2450214"/>
                  </a:lnTo>
                  <a:lnTo>
                    <a:pt x="2943547" y="2539761"/>
                  </a:lnTo>
                  <a:lnTo>
                    <a:pt x="2956508" y="2553033"/>
                  </a:lnTo>
                  <a:lnTo>
                    <a:pt x="2956510" y="2553032"/>
                  </a:lnTo>
                  <a:lnTo>
                    <a:pt x="2943551" y="2539761"/>
                  </a:lnTo>
                  <a:lnTo>
                    <a:pt x="2995006" y="2450214"/>
                  </a:lnTo>
                  <a:lnTo>
                    <a:pt x="3055440" y="2438787"/>
                  </a:lnTo>
                  <a:lnTo>
                    <a:pt x="3040216" y="2401238"/>
                  </a:lnTo>
                  <a:lnTo>
                    <a:pt x="3081787" y="2332699"/>
                  </a:lnTo>
                  <a:lnTo>
                    <a:pt x="3057140" y="2218057"/>
                  </a:lnTo>
                  <a:close/>
                  <a:moveTo>
                    <a:pt x="1940692" y="2205679"/>
                  </a:moveTo>
                  <a:lnTo>
                    <a:pt x="1950700" y="2216813"/>
                  </a:lnTo>
                  <a:lnTo>
                    <a:pt x="1947928" y="2206498"/>
                  </a:lnTo>
                  <a:close/>
                  <a:moveTo>
                    <a:pt x="9611626" y="2189079"/>
                  </a:moveTo>
                  <a:lnTo>
                    <a:pt x="9611591" y="2189151"/>
                  </a:lnTo>
                  <a:lnTo>
                    <a:pt x="9633926" y="2232205"/>
                  </a:lnTo>
                  <a:lnTo>
                    <a:pt x="9634068" y="2232240"/>
                  </a:lnTo>
                  <a:close/>
                  <a:moveTo>
                    <a:pt x="3628496" y="2188727"/>
                  </a:moveTo>
                  <a:lnTo>
                    <a:pt x="3628291" y="2189013"/>
                  </a:lnTo>
                  <a:lnTo>
                    <a:pt x="3628292" y="2189013"/>
                  </a:lnTo>
                  <a:close/>
                  <a:moveTo>
                    <a:pt x="1699559" y="2180619"/>
                  </a:moveTo>
                  <a:lnTo>
                    <a:pt x="1715124" y="2188572"/>
                  </a:lnTo>
                  <a:lnTo>
                    <a:pt x="1715125" y="2188572"/>
                  </a:lnTo>
                  <a:close/>
                  <a:moveTo>
                    <a:pt x="1945137" y="2180135"/>
                  </a:moveTo>
                  <a:lnTo>
                    <a:pt x="1926063" y="2189406"/>
                  </a:lnTo>
                  <a:lnTo>
                    <a:pt x="1926067" y="2189410"/>
                  </a:lnTo>
                  <a:lnTo>
                    <a:pt x="1945138" y="2180140"/>
                  </a:lnTo>
                  <a:close/>
                  <a:moveTo>
                    <a:pt x="1421549" y="2174951"/>
                  </a:moveTo>
                  <a:lnTo>
                    <a:pt x="1378191" y="2190333"/>
                  </a:lnTo>
                  <a:lnTo>
                    <a:pt x="1378038" y="2190529"/>
                  </a:lnTo>
                  <a:close/>
                  <a:moveTo>
                    <a:pt x="3689899" y="2173822"/>
                  </a:moveTo>
                  <a:lnTo>
                    <a:pt x="3784235" y="2268260"/>
                  </a:lnTo>
                  <a:lnTo>
                    <a:pt x="3808784" y="2285473"/>
                  </a:lnTo>
                  <a:close/>
                  <a:moveTo>
                    <a:pt x="2345130" y="2169275"/>
                  </a:moveTo>
                  <a:lnTo>
                    <a:pt x="2328673" y="2198757"/>
                  </a:lnTo>
                  <a:lnTo>
                    <a:pt x="2328306" y="2220356"/>
                  </a:lnTo>
                  <a:close/>
                  <a:moveTo>
                    <a:pt x="3642934" y="2168492"/>
                  </a:moveTo>
                  <a:lnTo>
                    <a:pt x="3642764" y="2168730"/>
                  </a:lnTo>
                  <a:lnTo>
                    <a:pt x="3654124" y="2180670"/>
                  </a:lnTo>
                  <a:lnTo>
                    <a:pt x="3689884" y="2173807"/>
                  </a:lnTo>
                  <a:lnTo>
                    <a:pt x="3654342" y="2180562"/>
                  </a:lnTo>
                  <a:close/>
                  <a:moveTo>
                    <a:pt x="6962241" y="2165137"/>
                  </a:moveTo>
                  <a:lnTo>
                    <a:pt x="6962159" y="2165156"/>
                  </a:lnTo>
                  <a:lnTo>
                    <a:pt x="6962241" y="2165138"/>
                  </a:lnTo>
                  <a:close/>
                  <a:moveTo>
                    <a:pt x="1432326" y="2154664"/>
                  </a:moveTo>
                  <a:lnTo>
                    <a:pt x="1432912" y="2170882"/>
                  </a:lnTo>
                  <a:lnTo>
                    <a:pt x="1432987" y="2170855"/>
                  </a:lnTo>
                  <a:close/>
                  <a:moveTo>
                    <a:pt x="1753913" y="2154192"/>
                  </a:moveTo>
                  <a:lnTo>
                    <a:pt x="1776572" y="2155844"/>
                  </a:lnTo>
                  <a:lnTo>
                    <a:pt x="1804779" y="2183457"/>
                  </a:lnTo>
                  <a:lnTo>
                    <a:pt x="1776572" y="2155843"/>
                  </a:lnTo>
                  <a:close/>
                  <a:moveTo>
                    <a:pt x="6948729" y="2150396"/>
                  </a:moveTo>
                  <a:lnTo>
                    <a:pt x="6939726" y="2170109"/>
                  </a:lnTo>
                  <a:lnTo>
                    <a:pt x="6940040" y="2170040"/>
                  </a:lnTo>
                  <a:lnTo>
                    <a:pt x="6949078" y="2150627"/>
                  </a:lnTo>
                  <a:close/>
                  <a:moveTo>
                    <a:pt x="2060928" y="2135890"/>
                  </a:moveTo>
                  <a:lnTo>
                    <a:pt x="2048128" y="2141413"/>
                  </a:lnTo>
                  <a:lnTo>
                    <a:pt x="2048318" y="2144549"/>
                  </a:lnTo>
                  <a:close/>
                  <a:moveTo>
                    <a:pt x="6922114" y="2132810"/>
                  </a:moveTo>
                  <a:lnTo>
                    <a:pt x="6921765" y="2133092"/>
                  </a:lnTo>
                  <a:lnTo>
                    <a:pt x="6940388" y="2144885"/>
                  </a:lnTo>
                  <a:close/>
                  <a:moveTo>
                    <a:pt x="3396933" y="2120984"/>
                  </a:moveTo>
                  <a:lnTo>
                    <a:pt x="3438411" y="2161708"/>
                  </a:lnTo>
                  <a:lnTo>
                    <a:pt x="3348844" y="2267302"/>
                  </a:lnTo>
                  <a:lnTo>
                    <a:pt x="3348848" y="2267303"/>
                  </a:lnTo>
                  <a:lnTo>
                    <a:pt x="3348846" y="2267303"/>
                  </a:lnTo>
                  <a:lnTo>
                    <a:pt x="3353228" y="2269562"/>
                  </a:lnTo>
                  <a:lnTo>
                    <a:pt x="3348848" y="2267303"/>
                  </a:lnTo>
                  <a:lnTo>
                    <a:pt x="3438413" y="2161708"/>
                  </a:lnTo>
                  <a:lnTo>
                    <a:pt x="3438412" y="2161708"/>
                  </a:lnTo>
                  <a:close/>
                  <a:moveTo>
                    <a:pt x="1553019" y="2120541"/>
                  </a:moveTo>
                  <a:lnTo>
                    <a:pt x="1592526" y="2150689"/>
                  </a:lnTo>
                  <a:lnTo>
                    <a:pt x="1643259" y="2157400"/>
                  </a:lnTo>
                  <a:lnTo>
                    <a:pt x="1657524" y="2187792"/>
                  </a:lnTo>
                  <a:lnTo>
                    <a:pt x="1643259" y="2157399"/>
                  </a:lnTo>
                  <a:lnTo>
                    <a:pt x="1592526" y="2150688"/>
                  </a:lnTo>
                  <a:close/>
                  <a:moveTo>
                    <a:pt x="3396328" y="2120423"/>
                  </a:moveTo>
                  <a:lnTo>
                    <a:pt x="3349882" y="2139576"/>
                  </a:lnTo>
                  <a:lnTo>
                    <a:pt x="3351956" y="2141285"/>
                  </a:lnTo>
                  <a:close/>
                  <a:moveTo>
                    <a:pt x="1505701" y="2109974"/>
                  </a:moveTo>
                  <a:lnTo>
                    <a:pt x="1529892" y="2123929"/>
                  </a:lnTo>
                  <a:lnTo>
                    <a:pt x="1548718" y="2117258"/>
                  </a:lnTo>
                  <a:lnTo>
                    <a:pt x="1548717" y="2117258"/>
                  </a:lnTo>
                  <a:close/>
                  <a:moveTo>
                    <a:pt x="1504769" y="2108701"/>
                  </a:moveTo>
                  <a:lnTo>
                    <a:pt x="1504972" y="2109553"/>
                  </a:lnTo>
                  <a:lnTo>
                    <a:pt x="1505170" y="2109667"/>
                  </a:lnTo>
                  <a:close/>
                  <a:moveTo>
                    <a:pt x="1937512" y="2103202"/>
                  </a:moveTo>
                  <a:lnTo>
                    <a:pt x="1934102" y="2171211"/>
                  </a:lnTo>
                  <a:lnTo>
                    <a:pt x="1945137" y="2180132"/>
                  </a:lnTo>
                  <a:lnTo>
                    <a:pt x="1939182" y="2138597"/>
                  </a:lnTo>
                  <a:lnTo>
                    <a:pt x="1939182" y="2138591"/>
                  </a:lnTo>
                  <a:lnTo>
                    <a:pt x="1968787" y="2136068"/>
                  </a:lnTo>
                  <a:lnTo>
                    <a:pt x="1968767" y="2136053"/>
                  </a:lnTo>
                  <a:lnTo>
                    <a:pt x="1940276" y="2138065"/>
                  </a:lnTo>
                  <a:close/>
                  <a:moveTo>
                    <a:pt x="6971688" y="2092732"/>
                  </a:moveTo>
                  <a:lnTo>
                    <a:pt x="6961463" y="2100998"/>
                  </a:lnTo>
                  <a:lnTo>
                    <a:pt x="6971805" y="2092817"/>
                  </a:lnTo>
                  <a:close/>
                  <a:moveTo>
                    <a:pt x="9587139" y="2085290"/>
                  </a:moveTo>
                  <a:lnTo>
                    <a:pt x="9587107" y="2085354"/>
                  </a:lnTo>
                  <a:lnTo>
                    <a:pt x="9635682" y="2138940"/>
                  </a:lnTo>
                  <a:lnTo>
                    <a:pt x="9635454" y="2139414"/>
                  </a:lnTo>
                  <a:lnTo>
                    <a:pt x="9635686" y="2138940"/>
                  </a:lnTo>
                  <a:close/>
                  <a:moveTo>
                    <a:pt x="1457117" y="2078272"/>
                  </a:moveTo>
                  <a:lnTo>
                    <a:pt x="1455678" y="2111217"/>
                  </a:lnTo>
                  <a:lnTo>
                    <a:pt x="1430983" y="2117517"/>
                  </a:lnTo>
                  <a:lnTo>
                    <a:pt x="1430994" y="2117822"/>
                  </a:lnTo>
                  <a:lnTo>
                    <a:pt x="1455678" y="2111217"/>
                  </a:lnTo>
                  <a:lnTo>
                    <a:pt x="1457118" y="2078272"/>
                  </a:lnTo>
                  <a:close/>
                  <a:moveTo>
                    <a:pt x="2077065" y="2077584"/>
                  </a:moveTo>
                  <a:lnTo>
                    <a:pt x="2085824" y="2100348"/>
                  </a:lnTo>
                  <a:lnTo>
                    <a:pt x="2085825" y="2100348"/>
                  </a:lnTo>
                  <a:close/>
                  <a:moveTo>
                    <a:pt x="3305066" y="2054180"/>
                  </a:moveTo>
                  <a:lnTo>
                    <a:pt x="3305070" y="2054187"/>
                  </a:lnTo>
                  <a:lnTo>
                    <a:pt x="3319174" y="2114278"/>
                  </a:lnTo>
                  <a:lnTo>
                    <a:pt x="3319182" y="2114285"/>
                  </a:lnTo>
                  <a:lnTo>
                    <a:pt x="3319176" y="2114278"/>
                  </a:lnTo>
                  <a:lnTo>
                    <a:pt x="3305072" y="2054187"/>
                  </a:lnTo>
                  <a:close/>
                  <a:moveTo>
                    <a:pt x="9621773" y="2052452"/>
                  </a:moveTo>
                  <a:lnTo>
                    <a:pt x="9600125" y="2059055"/>
                  </a:lnTo>
                  <a:lnTo>
                    <a:pt x="9599421" y="2060478"/>
                  </a:lnTo>
                  <a:lnTo>
                    <a:pt x="9600130" y="2059055"/>
                  </a:lnTo>
                  <a:lnTo>
                    <a:pt x="9621850" y="2052621"/>
                  </a:lnTo>
                  <a:close/>
                  <a:moveTo>
                    <a:pt x="10445258" y="2048050"/>
                  </a:moveTo>
                  <a:lnTo>
                    <a:pt x="10482326" y="2063419"/>
                  </a:lnTo>
                  <a:lnTo>
                    <a:pt x="10482254" y="2063316"/>
                  </a:lnTo>
                  <a:close/>
                  <a:moveTo>
                    <a:pt x="1517988" y="2035059"/>
                  </a:moveTo>
                  <a:lnTo>
                    <a:pt x="1481768" y="2053327"/>
                  </a:lnTo>
                  <a:lnTo>
                    <a:pt x="1481768" y="2053328"/>
                  </a:lnTo>
                  <a:close/>
                  <a:moveTo>
                    <a:pt x="2344920" y="2032905"/>
                  </a:moveTo>
                  <a:lnTo>
                    <a:pt x="2361299" y="2055922"/>
                  </a:lnTo>
                  <a:lnTo>
                    <a:pt x="2361252" y="2039137"/>
                  </a:lnTo>
                  <a:close/>
                  <a:moveTo>
                    <a:pt x="1904463" y="2027256"/>
                  </a:moveTo>
                  <a:lnTo>
                    <a:pt x="1904561" y="2028103"/>
                  </a:lnTo>
                  <a:lnTo>
                    <a:pt x="1926362" y="2040547"/>
                  </a:lnTo>
                  <a:close/>
                  <a:moveTo>
                    <a:pt x="10444770" y="2025910"/>
                  </a:moveTo>
                  <a:lnTo>
                    <a:pt x="10407584" y="2031570"/>
                  </a:lnTo>
                  <a:lnTo>
                    <a:pt x="10407583" y="2031573"/>
                  </a:lnTo>
                  <a:lnTo>
                    <a:pt x="10444769" y="2025913"/>
                  </a:lnTo>
                  <a:close/>
                  <a:moveTo>
                    <a:pt x="9608831" y="2024118"/>
                  </a:moveTo>
                  <a:lnTo>
                    <a:pt x="9608828" y="2024119"/>
                  </a:lnTo>
                  <a:lnTo>
                    <a:pt x="9609805" y="2026249"/>
                  </a:lnTo>
                  <a:close/>
                  <a:moveTo>
                    <a:pt x="2171781" y="2009222"/>
                  </a:moveTo>
                  <a:lnTo>
                    <a:pt x="2171133" y="2010209"/>
                  </a:lnTo>
                  <a:lnTo>
                    <a:pt x="2172363" y="2009327"/>
                  </a:lnTo>
                  <a:close/>
                  <a:moveTo>
                    <a:pt x="1522721" y="1999770"/>
                  </a:moveTo>
                  <a:lnTo>
                    <a:pt x="1521753" y="1999841"/>
                  </a:lnTo>
                  <a:lnTo>
                    <a:pt x="1520797" y="2033637"/>
                  </a:lnTo>
                  <a:close/>
                  <a:moveTo>
                    <a:pt x="1567416" y="1996495"/>
                  </a:moveTo>
                  <a:lnTo>
                    <a:pt x="1567360" y="1996499"/>
                  </a:lnTo>
                  <a:lnTo>
                    <a:pt x="1567416" y="1996496"/>
                  </a:lnTo>
                  <a:close/>
                  <a:moveTo>
                    <a:pt x="1902562" y="1995473"/>
                  </a:moveTo>
                  <a:lnTo>
                    <a:pt x="1900820" y="1995747"/>
                  </a:lnTo>
                  <a:lnTo>
                    <a:pt x="1903617" y="2019941"/>
                  </a:lnTo>
                  <a:close/>
                  <a:moveTo>
                    <a:pt x="9588503" y="1995285"/>
                  </a:moveTo>
                  <a:lnTo>
                    <a:pt x="9588324" y="1995316"/>
                  </a:lnTo>
                  <a:lnTo>
                    <a:pt x="9593831" y="2027368"/>
                  </a:lnTo>
                  <a:lnTo>
                    <a:pt x="9593985" y="2027335"/>
                  </a:lnTo>
                  <a:close/>
                  <a:moveTo>
                    <a:pt x="1837329" y="1988560"/>
                  </a:moveTo>
                  <a:lnTo>
                    <a:pt x="1855007" y="2002949"/>
                  </a:lnTo>
                  <a:lnTo>
                    <a:pt x="1855037" y="2002943"/>
                  </a:lnTo>
                  <a:lnTo>
                    <a:pt x="1855007" y="2002948"/>
                  </a:lnTo>
                  <a:close/>
                  <a:moveTo>
                    <a:pt x="2227985" y="1988282"/>
                  </a:moveTo>
                  <a:lnTo>
                    <a:pt x="2227976" y="1988289"/>
                  </a:lnTo>
                  <a:lnTo>
                    <a:pt x="2249992" y="1999547"/>
                  </a:lnTo>
                  <a:lnTo>
                    <a:pt x="2249993" y="1999546"/>
                  </a:lnTo>
                  <a:lnTo>
                    <a:pt x="2279289" y="2007866"/>
                  </a:lnTo>
                  <a:lnTo>
                    <a:pt x="2227978" y="1988289"/>
                  </a:lnTo>
                  <a:close/>
                  <a:moveTo>
                    <a:pt x="2499507" y="1975690"/>
                  </a:moveTo>
                  <a:lnTo>
                    <a:pt x="2452284" y="2005913"/>
                  </a:lnTo>
                  <a:lnTo>
                    <a:pt x="2452480" y="2006120"/>
                  </a:lnTo>
                  <a:close/>
                  <a:moveTo>
                    <a:pt x="2507388" y="1970008"/>
                  </a:moveTo>
                  <a:lnTo>
                    <a:pt x="2507549" y="1970487"/>
                  </a:lnTo>
                  <a:lnTo>
                    <a:pt x="2507607" y="1970450"/>
                  </a:lnTo>
                  <a:close/>
                  <a:moveTo>
                    <a:pt x="1589826" y="1968191"/>
                  </a:moveTo>
                  <a:lnTo>
                    <a:pt x="1562754" y="1976861"/>
                  </a:lnTo>
                  <a:lnTo>
                    <a:pt x="1589826" y="1968192"/>
                  </a:lnTo>
                  <a:close/>
                  <a:moveTo>
                    <a:pt x="9650836" y="1945406"/>
                  </a:moveTo>
                  <a:lnTo>
                    <a:pt x="9650636" y="1945485"/>
                  </a:lnTo>
                  <a:lnTo>
                    <a:pt x="9617705" y="1990040"/>
                  </a:lnTo>
                  <a:lnTo>
                    <a:pt x="9617813" y="1990021"/>
                  </a:lnTo>
                  <a:close/>
                  <a:moveTo>
                    <a:pt x="10373851" y="1943162"/>
                  </a:moveTo>
                  <a:lnTo>
                    <a:pt x="10323742" y="1952579"/>
                  </a:lnTo>
                  <a:lnTo>
                    <a:pt x="10323747" y="1952583"/>
                  </a:lnTo>
                  <a:lnTo>
                    <a:pt x="10373855" y="1943165"/>
                  </a:lnTo>
                  <a:close/>
                  <a:moveTo>
                    <a:pt x="2215450" y="1931753"/>
                  </a:moveTo>
                  <a:lnTo>
                    <a:pt x="2219616" y="1931998"/>
                  </a:lnTo>
                  <a:lnTo>
                    <a:pt x="2243892" y="1971714"/>
                  </a:lnTo>
                  <a:lnTo>
                    <a:pt x="2244040" y="1971561"/>
                  </a:lnTo>
                  <a:lnTo>
                    <a:pt x="2219619" y="1931998"/>
                  </a:lnTo>
                  <a:close/>
                  <a:moveTo>
                    <a:pt x="1776801" y="1922055"/>
                  </a:moveTo>
                  <a:lnTo>
                    <a:pt x="1777858" y="1923981"/>
                  </a:lnTo>
                  <a:lnTo>
                    <a:pt x="1781307" y="1922836"/>
                  </a:lnTo>
                  <a:close/>
                  <a:moveTo>
                    <a:pt x="6995474" y="1921861"/>
                  </a:moveTo>
                  <a:lnTo>
                    <a:pt x="6992434" y="1925684"/>
                  </a:lnTo>
                  <a:lnTo>
                    <a:pt x="6994228" y="1924181"/>
                  </a:lnTo>
                  <a:close/>
                  <a:moveTo>
                    <a:pt x="1571847" y="1917054"/>
                  </a:moveTo>
                  <a:lnTo>
                    <a:pt x="1571008" y="1917163"/>
                  </a:lnTo>
                  <a:lnTo>
                    <a:pt x="1589795" y="1968105"/>
                  </a:lnTo>
                  <a:close/>
                  <a:moveTo>
                    <a:pt x="1830478" y="1906503"/>
                  </a:moveTo>
                  <a:lnTo>
                    <a:pt x="1830471" y="1906506"/>
                  </a:lnTo>
                  <a:lnTo>
                    <a:pt x="1830478" y="1906504"/>
                  </a:lnTo>
                  <a:lnTo>
                    <a:pt x="1834180" y="1927611"/>
                  </a:lnTo>
                  <a:close/>
                  <a:moveTo>
                    <a:pt x="9688548" y="1899901"/>
                  </a:moveTo>
                  <a:lnTo>
                    <a:pt x="9727411" y="1911395"/>
                  </a:lnTo>
                  <a:lnTo>
                    <a:pt x="9740747" y="1905480"/>
                  </a:lnTo>
                  <a:close/>
                  <a:moveTo>
                    <a:pt x="9688542" y="1899900"/>
                  </a:moveTo>
                  <a:lnTo>
                    <a:pt x="9695303" y="1927810"/>
                  </a:lnTo>
                  <a:lnTo>
                    <a:pt x="9687287" y="1930982"/>
                  </a:lnTo>
                  <a:lnTo>
                    <a:pt x="9695306" y="1927810"/>
                  </a:lnTo>
                  <a:lnTo>
                    <a:pt x="9688546" y="1899901"/>
                  </a:lnTo>
                  <a:close/>
                  <a:moveTo>
                    <a:pt x="2116206" y="1881536"/>
                  </a:moveTo>
                  <a:lnTo>
                    <a:pt x="2123527" y="1881986"/>
                  </a:lnTo>
                  <a:lnTo>
                    <a:pt x="2132495" y="1909480"/>
                  </a:lnTo>
                  <a:lnTo>
                    <a:pt x="2132495" y="1909480"/>
                  </a:lnTo>
                  <a:lnTo>
                    <a:pt x="2123528" y="1881986"/>
                  </a:lnTo>
                  <a:close/>
                  <a:moveTo>
                    <a:pt x="1599729" y="1870949"/>
                  </a:moveTo>
                  <a:lnTo>
                    <a:pt x="1599728" y="1870950"/>
                  </a:lnTo>
                  <a:lnTo>
                    <a:pt x="1599729" y="1870950"/>
                  </a:lnTo>
                  <a:lnTo>
                    <a:pt x="1609270" y="1885035"/>
                  </a:lnTo>
                  <a:lnTo>
                    <a:pt x="1614740" y="1882769"/>
                  </a:lnTo>
                  <a:close/>
                  <a:moveTo>
                    <a:pt x="2156418" y="1870194"/>
                  </a:moveTo>
                  <a:lnTo>
                    <a:pt x="2156417" y="1870195"/>
                  </a:lnTo>
                  <a:lnTo>
                    <a:pt x="2188798" y="1908207"/>
                  </a:lnTo>
                  <a:lnTo>
                    <a:pt x="2185399" y="1929986"/>
                  </a:lnTo>
                  <a:lnTo>
                    <a:pt x="2185400" y="1929986"/>
                  </a:lnTo>
                  <a:lnTo>
                    <a:pt x="2188799" y="1908207"/>
                  </a:lnTo>
                  <a:close/>
                  <a:moveTo>
                    <a:pt x="1687359" y="1865058"/>
                  </a:moveTo>
                  <a:lnTo>
                    <a:pt x="1648867" y="1883161"/>
                  </a:lnTo>
                  <a:lnTo>
                    <a:pt x="1653601" y="1886645"/>
                  </a:lnTo>
                  <a:close/>
                  <a:moveTo>
                    <a:pt x="1687360" y="1865057"/>
                  </a:moveTo>
                  <a:lnTo>
                    <a:pt x="1707669" y="1905447"/>
                  </a:lnTo>
                  <a:lnTo>
                    <a:pt x="1762594" y="1896166"/>
                  </a:lnTo>
                  <a:lnTo>
                    <a:pt x="1762594" y="1896168"/>
                  </a:lnTo>
                  <a:lnTo>
                    <a:pt x="1762594" y="1896165"/>
                  </a:lnTo>
                  <a:lnTo>
                    <a:pt x="1707669" y="1905446"/>
                  </a:lnTo>
                  <a:lnTo>
                    <a:pt x="1687361" y="1865057"/>
                  </a:lnTo>
                  <a:close/>
                  <a:moveTo>
                    <a:pt x="9745820" y="1860898"/>
                  </a:moveTo>
                  <a:lnTo>
                    <a:pt x="9745670" y="1903297"/>
                  </a:lnTo>
                  <a:lnTo>
                    <a:pt x="9751499" y="1900711"/>
                  </a:lnTo>
                  <a:close/>
                  <a:moveTo>
                    <a:pt x="2497750" y="1860404"/>
                  </a:moveTo>
                  <a:lnTo>
                    <a:pt x="2482802" y="1896564"/>
                  </a:lnTo>
                  <a:lnTo>
                    <a:pt x="2486943" y="1908931"/>
                  </a:lnTo>
                  <a:close/>
                  <a:moveTo>
                    <a:pt x="9779129" y="1823805"/>
                  </a:moveTo>
                  <a:lnTo>
                    <a:pt x="9745826" y="1859291"/>
                  </a:lnTo>
                  <a:lnTo>
                    <a:pt x="9745825" y="1859486"/>
                  </a:lnTo>
                  <a:lnTo>
                    <a:pt x="9779343" y="1824026"/>
                  </a:lnTo>
                  <a:close/>
                  <a:moveTo>
                    <a:pt x="9916945" y="1807528"/>
                  </a:moveTo>
                  <a:lnTo>
                    <a:pt x="9839348" y="1841057"/>
                  </a:lnTo>
                  <a:lnTo>
                    <a:pt x="9839349" y="1841058"/>
                  </a:lnTo>
                  <a:lnTo>
                    <a:pt x="9916947" y="1807528"/>
                  </a:lnTo>
                  <a:close/>
                  <a:moveTo>
                    <a:pt x="10011365" y="1781511"/>
                  </a:moveTo>
                  <a:lnTo>
                    <a:pt x="9972889" y="1819952"/>
                  </a:lnTo>
                  <a:lnTo>
                    <a:pt x="9972892" y="1819953"/>
                  </a:lnTo>
                  <a:lnTo>
                    <a:pt x="10013634" y="1781740"/>
                  </a:lnTo>
                  <a:close/>
                  <a:moveTo>
                    <a:pt x="9791104" y="1775790"/>
                  </a:moveTo>
                  <a:lnTo>
                    <a:pt x="9734824" y="1795004"/>
                  </a:lnTo>
                  <a:lnTo>
                    <a:pt x="9777939" y="1822575"/>
                  </a:lnTo>
                  <a:lnTo>
                    <a:pt x="9753150" y="1796959"/>
                  </a:lnTo>
                  <a:close/>
                  <a:moveTo>
                    <a:pt x="9794589" y="1774600"/>
                  </a:moveTo>
                  <a:lnTo>
                    <a:pt x="9793896" y="1774837"/>
                  </a:lnTo>
                  <a:lnTo>
                    <a:pt x="9839001" y="1840551"/>
                  </a:lnTo>
                  <a:close/>
                  <a:moveTo>
                    <a:pt x="2996344" y="1756161"/>
                  </a:moveTo>
                  <a:lnTo>
                    <a:pt x="2997380" y="1756747"/>
                  </a:lnTo>
                  <a:lnTo>
                    <a:pt x="3217180" y="1781403"/>
                  </a:lnTo>
                  <a:lnTo>
                    <a:pt x="3239920" y="1776493"/>
                  </a:lnTo>
                  <a:close/>
                  <a:moveTo>
                    <a:pt x="10131311" y="1754287"/>
                  </a:moveTo>
                  <a:lnTo>
                    <a:pt x="10130890" y="1755005"/>
                  </a:lnTo>
                  <a:lnTo>
                    <a:pt x="10070873" y="1786646"/>
                  </a:lnTo>
                  <a:lnTo>
                    <a:pt x="10072006" y="1786768"/>
                  </a:lnTo>
                  <a:lnTo>
                    <a:pt x="10130895" y="1755004"/>
                  </a:lnTo>
                  <a:close/>
                  <a:moveTo>
                    <a:pt x="3735492" y="1735909"/>
                  </a:moveTo>
                  <a:lnTo>
                    <a:pt x="3804428" y="1740665"/>
                  </a:lnTo>
                  <a:lnTo>
                    <a:pt x="3833530" y="1774295"/>
                  </a:lnTo>
                  <a:lnTo>
                    <a:pt x="3845053" y="1838372"/>
                  </a:lnTo>
                  <a:lnTo>
                    <a:pt x="3835754" y="1876618"/>
                  </a:lnTo>
                  <a:lnTo>
                    <a:pt x="3790783" y="1904031"/>
                  </a:lnTo>
                  <a:lnTo>
                    <a:pt x="3709270" y="1910908"/>
                  </a:lnTo>
                  <a:lnTo>
                    <a:pt x="3651787" y="1840195"/>
                  </a:lnTo>
                  <a:lnTo>
                    <a:pt x="3672762" y="1781762"/>
                  </a:lnTo>
                  <a:close/>
                  <a:moveTo>
                    <a:pt x="9721870" y="1734286"/>
                  </a:moveTo>
                  <a:lnTo>
                    <a:pt x="9734568" y="1794840"/>
                  </a:lnTo>
                  <a:lnTo>
                    <a:pt x="9734768" y="1794968"/>
                  </a:lnTo>
                  <a:close/>
                  <a:moveTo>
                    <a:pt x="10152613" y="1729802"/>
                  </a:moveTo>
                  <a:lnTo>
                    <a:pt x="10164723" y="1743839"/>
                  </a:lnTo>
                  <a:lnTo>
                    <a:pt x="10199346" y="1744844"/>
                  </a:lnTo>
                  <a:close/>
                  <a:moveTo>
                    <a:pt x="9678938" y="1715458"/>
                  </a:moveTo>
                  <a:lnTo>
                    <a:pt x="9614446" y="1729360"/>
                  </a:lnTo>
                  <a:lnTo>
                    <a:pt x="9679020" y="1715492"/>
                  </a:lnTo>
                  <a:close/>
                  <a:moveTo>
                    <a:pt x="10130976" y="1705568"/>
                  </a:moveTo>
                  <a:lnTo>
                    <a:pt x="10130597" y="1722603"/>
                  </a:lnTo>
                  <a:lnTo>
                    <a:pt x="10130813" y="1722629"/>
                  </a:lnTo>
                  <a:close/>
                  <a:moveTo>
                    <a:pt x="1627528" y="1697498"/>
                  </a:moveTo>
                  <a:lnTo>
                    <a:pt x="1618647" y="1733536"/>
                  </a:lnTo>
                  <a:lnTo>
                    <a:pt x="1650810" y="1783103"/>
                  </a:lnTo>
                  <a:lnTo>
                    <a:pt x="1627410" y="1825775"/>
                  </a:lnTo>
                  <a:lnTo>
                    <a:pt x="1650812" y="1783103"/>
                  </a:lnTo>
                  <a:lnTo>
                    <a:pt x="1618647" y="1733536"/>
                  </a:lnTo>
                  <a:lnTo>
                    <a:pt x="1633761" y="1705529"/>
                  </a:lnTo>
                  <a:close/>
                  <a:moveTo>
                    <a:pt x="9568087" y="1678708"/>
                  </a:moveTo>
                  <a:lnTo>
                    <a:pt x="9568077" y="1678720"/>
                  </a:lnTo>
                  <a:lnTo>
                    <a:pt x="9580588" y="1704991"/>
                  </a:lnTo>
                  <a:close/>
                  <a:moveTo>
                    <a:pt x="10156226" y="1675719"/>
                  </a:moveTo>
                  <a:lnTo>
                    <a:pt x="10131380" y="1687446"/>
                  </a:lnTo>
                  <a:lnTo>
                    <a:pt x="10131332" y="1689586"/>
                  </a:lnTo>
                  <a:lnTo>
                    <a:pt x="10156208" y="1675945"/>
                  </a:lnTo>
                  <a:close/>
                  <a:moveTo>
                    <a:pt x="10159582" y="1650324"/>
                  </a:moveTo>
                  <a:lnTo>
                    <a:pt x="10158140" y="1650604"/>
                  </a:lnTo>
                  <a:lnTo>
                    <a:pt x="10157220" y="1663613"/>
                  </a:lnTo>
                  <a:lnTo>
                    <a:pt x="10158289" y="1650579"/>
                  </a:lnTo>
                  <a:close/>
                  <a:moveTo>
                    <a:pt x="9551136" y="1613479"/>
                  </a:moveTo>
                  <a:lnTo>
                    <a:pt x="9544929" y="1626125"/>
                  </a:lnTo>
                  <a:lnTo>
                    <a:pt x="9555564" y="1657709"/>
                  </a:lnTo>
                  <a:lnTo>
                    <a:pt x="9584818" y="1659617"/>
                  </a:lnTo>
                  <a:lnTo>
                    <a:pt x="9555560" y="1657636"/>
                  </a:lnTo>
                  <a:close/>
                  <a:moveTo>
                    <a:pt x="10208793" y="1607611"/>
                  </a:moveTo>
                  <a:lnTo>
                    <a:pt x="10205322" y="1609591"/>
                  </a:lnTo>
                  <a:lnTo>
                    <a:pt x="10218791" y="1638624"/>
                  </a:lnTo>
                  <a:lnTo>
                    <a:pt x="10218996" y="1638583"/>
                  </a:lnTo>
                  <a:close/>
                  <a:moveTo>
                    <a:pt x="8019676" y="1598999"/>
                  </a:moveTo>
                  <a:lnTo>
                    <a:pt x="8080704" y="1622063"/>
                  </a:lnTo>
                  <a:lnTo>
                    <a:pt x="8099089" y="1655416"/>
                  </a:lnTo>
                  <a:lnTo>
                    <a:pt x="8087413" y="1684891"/>
                  </a:lnTo>
                  <a:lnTo>
                    <a:pt x="8059105" y="1695744"/>
                  </a:lnTo>
                  <a:lnTo>
                    <a:pt x="7993728" y="1670329"/>
                  </a:lnTo>
                  <a:lnTo>
                    <a:pt x="7976454" y="1648235"/>
                  </a:lnTo>
                  <a:lnTo>
                    <a:pt x="7981133" y="1612446"/>
                  </a:lnTo>
                  <a:close/>
                  <a:moveTo>
                    <a:pt x="10240300" y="1589641"/>
                  </a:moveTo>
                  <a:lnTo>
                    <a:pt x="10240062" y="1589777"/>
                  </a:lnTo>
                  <a:lnTo>
                    <a:pt x="10259581" y="1595503"/>
                  </a:lnTo>
                  <a:close/>
                  <a:moveTo>
                    <a:pt x="2830168" y="1582282"/>
                  </a:moveTo>
                  <a:lnTo>
                    <a:pt x="2830168" y="1582355"/>
                  </a:lnTo>
                  <a:lnTo>
                    <a:pt x="2910516" y="1707595"/>
                  </a:lnTo>
                  <a:lnTo>
                    <a:pt x="2910664" y="1707679"/>
                  </a:lnTo>
                  <a:lnTo>
                    <a:pt x="2910520" y="1707595"/>
                  </a:lnTo>
                  <a:lnTo>
                    <a:pt x="2830170" y="1582355"/>
                  </a:lnTo>
                  <a:close/>
                  <a:moveTo>
                    <a:pt x="10275960" y="1578060"/>
                  </a:moveTo>
                  <a:lnTo>
                    <a:pt x="10272322" y="1599241"/>
                  </a:lnTo>
                  <a:lnTo>
                    <a:pt x="10272414" y="1599268"/>
                  </a:lnTo>
                  <a:close/>
                  <a:moveTo>
                    <a:pt x="10313173" y="1550202"/>
                  </a:moveTo>
                  <a:lnTo>
                    <a:pt x="10282149" y="1570626"/>
                  </a:lnTo>
                  <a:lnTo>
                    <a:pt x="10313164" y="1550281"/>
                  </a:lnTo>
                  <a:close/>
                  <a:moveTo>
                    <a:pt x="10722820" y="1537685"/>
                  </a:moveTo>
                  <a:lnTo>
                    <a:pt x="10737778" y="1543286"/>
                  </a:lnTo>
                  <a:lnTo>
                    <a:pt x="10737976" y="1543042"/>
                  </a:lnTo>
                  <a:close/>
                  <a:moveTo>
                    <a:pt x="3385268" y="1536026"/>
                  </a:moveTo>
                  <a:lnTo>
                    <a:pt x="3385261" y="1536037"/>
                  </a:lnTo>
                  <a:lnTo>
                    <a:pt x="3267322" y="1810410"/>
                  </a:lnTo>
                  <a:lnTo>
                    <a:pt x="3253320" y="1915563"/>
                  </a:lnTo>
                  <a:lnTo>
                    <a:pt x="3257673" y="1965583"/>
                  </a:lnTo>
                  <a:lnTo>
                    <a:pt x="3272340" y="1993002"/>
                  </a:lnTo>
                  <a:lnTo>
                    <a:pt x="3253320" y="1915563"/>
                  </a:lnTo>
                  <a:lnTo>
                    <a:pt x="3267323" y="1810410"/>
                  </a:lnTo>
                  <a:close/>
                  <a:moveTo>
                    <a:pt x="10678904" y="1522162"/>
                  </a:moveTo>
                  <a:lnTo>
                    <a:pt x="10563457" y="1581561"/>
                  </a:lnTo>
                  <a:lnTo>
                    <a:pt x="10563477" y="1581645"/>
                  </a:lnTo>
                  <a:lnTo>
                    <a:pt x="10679681" y="1522437"/>
                  </a:lnTo>
                  <a:close/>
                  <a:moveTo>
                    <a:pt x="10317434" y="1516165"/>
                  </a:moveTo>
                  <a:lnTo>
                    <a:pt x="10317412" y="1516343"/>
                  </a:lnTo>
                  <a:lnTo>
                    <a:pt x="10373836" y="1517955"/>
                  </a:lnTo>
                  <a:lnTo>
                    <a:pt x="10373937" y="1517819"/>
                  </a:lnTo>
                  <a:close/>
                  <a:moveTo>
                    <a:pt x="10765315" y="1509147"/>
                  </a:moveTo>
                  <a:lnTo>
                    <a:pt x="10759686" y="1516218"/>
                  </a:lnTo>
                  <a:lnTo>
                    <a:pt x="10765322" y="1509254"/>
                  </a:lnTo>
                  <a:close/>
                  <a:moveTo>
                    <a:pt x="10408047" y="1471810"/>
                  </a:moveTo>
                  <a:lnTo>
                    <a:pt x="10408046" y="1471812"/>
                  </a:lnTo>
                  <a:lnTo>
                    <a:pt x="10462785" y="1479572"/>
                  </a:lnTo>
                  <a:close/>
                  <a:moveTo>
                    <a:pt x="8205952" y="1469758"/>
                  </a:moveTo>
                  <a:lnTo>
                    <a:pt x="8388315" y="1491258"/>
                  </a:lnTo>
                  <a:lnTo>
                    <a:pt x="8448503" y="1544909"/>
                  </a:lnTo>
                  <a:lnTo>
                    <a:pt x="8448503" y="1571490"/>
                  </a:lnTo>
                  <a:lnTo>
                    <a:pt x="8420467" y="1602354"/>
                  </a:lnTo>
                  <a:lnTo>
                    <a:pt x="8309557" y="1639707"/>
                  </a:lnTo>
                  <a:lnTo>
                    <a:pt x="8263545" y="1675191"/>
                  </a:lnTo>
                  <a:lnTo>
                    <a:pt x="8219361" y="1655677"/>
                  </a:lnTo>
                  <a:lnTo>
                    <a:pt x="8219372" y="1655678"/>
                  </a:lnTo>
                  <a:lnTo>
                    <a:pt x="8217874" y="1625295"/>
                  </a:lnTo>
                  <a:lnTo>
                    <a:pt x="8239351" y="1594994"/>
                  </a:lnTo>
                  <a:lnTo>
                    <a:pt x="8186220" y="1566954"/>
                  </a:lnTo>
                  <a:lnTo>
                    <a:pt x="8165039" y="1528172"/>
                  </a:lnTo>
                  <a:lnTo>
                    <a:pt x="8174994" y="1495046"/>
                  </a:lnTo>
                  <a:close/>
                  <a:moveTo>
                    <a:pt x="10784303" y="1465500"/>
                  </a:moveTo>
                  <a:lnTo>
                    <a:pt x="10762620" y="1471478"/>
                  </a:lnTo>
                  <a:lnTo>
                    <a:pt x="10763302" y="1479912"/>
                  </a:lnTo>
                  <a:lnTo>
                    <a:pt x="10762720" y="1471452"/>
                  </a:lnTo>
                  <a:lnTo>
                    <a:pt x="10784304" y="1465701"/>
                  </a:lnTo>
                  <a:close/>
                  <a:moveTo>
                    <a:pt x="10488058" y="1453958"/>
                  </a:moveTo>
                  <a:lnTo>
                    <a:pt x="10488056" y="1453960"/>
                  </a:lnTo>
                  <a:lnTo>
                    <a:pt x="10534977" y="1463501"/>
                  </a:lnTo>
                  <a:lnTo>
                    <a:pt x="10539439" y="1481996"/>
                  </a:lnTo>
                  <a:lnTo>
                    <a:pt x="10534995" y="1463502"/>
                  </a:lnTo>
                  <a:close/>
                  <a:moveTo>
                    <a:pt x="9629857" y="1453079"/>
                  </a:moveTo>
                  <a:lnTo>
                    <a:pt x="9572804" y="1569327"/>
                  </a:lnTo>
                  <a:lnTo>
                    <a:pt x="9617931" y="1498766"/>
                  </a:lnTo>
                  <a:close/>
                  <a:moveTo>
                    <a:pt x="10784097" y="1414855"/>
                  </a:moveTo>
                  <a:lnTo>
                    <a:pt x="10784028" y="1414916"/>
                  </a:lnTo>
                  <a:lnTo>
                    <a:pt x="10784261" y="1455232"/>
                  </a:lnTo>
                  <a:close/>
                  <a:moveTo>
                    <a:pt x="9677250" y="1413952"/>
                  </a:moveTo>
                  <a:lnTo>
                    <a:pt x="9677600" y="1417326"/>
                  </a:lnTo>
                  <a:lnTo>
                    <a:pt x="9678722" y="1416486"/>
                  </a:lnTo>
                  <a:close/>
                  <a:moveTo>
                    <a:pt x="767999" y="1362617"/>
                  </a:moveTo>
                  <a:lnTo>
                    <a:pt x="803866" y="1411518"/>
                  </a:lnTo>
                  <a:lnTo>
                    <a:pt x="842036" y="1418386"/>
                  </a:lnTo>
                  <a:lnTo>
                    <a:pt x="840815" y="1462388"/>
                  </a:lnTo>
                  <a:lnTo>
                    <a:pt x="857070" y="1482580"/>
                  </a:lnTo>
                  <a:lnTo>
                    <a:pt x="846170" y="1556112"/>
                  </a:lnTo>
                  <a:lnTo>
                    <a:pt x="872832" y="1593889"/>
                  </a:lnTo>
                  <a:lnTo>
                    <a:pt x="849213" y="1635118"/>
                  </a:lnTo>
                  <a:lnTo>
                    <a:pt x="808811" y="1635597"/>
                  </a:lnTo>
                  <a:lnTo>
                    <a:pt x="782640" y="1659761"/>
                  </a:lnTo>
                  <a:lnTo>
                    <a:pt x="775178" y="1648277"/>
                  </a:lnTo>
                  <a:lnTo>
                    <a:pt x="697513" y="1483775"/>
                  </a:lnTo>
                  <a:lnTo>
                    <a:pt x="672751" y="1397359"/>
                  </a:lnTo>
                  <a:lnTo>
                    <a:pt x="686495" y="1368123"/>
                  </a:lnTo>
                  <a:close/>
                  <a:moveTo>
                    <a:pt x="9626380" y="1344238"/>
                  </a:moveTo>
                  <a:lnTo>
                    <a:pt x="9624157" y="1361560"/>
                  </a:lnTo>
                  <a:lnTo>
                    <a:pt x="9627237" y="1344393"/>
                  </a:lnTo>
                  <a:close/>
                  <a:moveTo>
                    <a:pt x="10830750" y="1322917"/>
                  </a:moveTo>
                  <a:lnTo>
                    <a:pt x="10828414" y="1375893"/>
                  </a:lnTo>
                  <a:lnTo>
                    <a:pt x="10828517" y="1375803"/>
                  </a:lnTo>
                  <a:close/>
                  <a:moveTo>
                    <a:pt x="2746402" y="1318250"/>
                  </a:moveTo>
                  <a:lnTo>
                    <a:pt x="2760330" y="1340084"/>
                  </a:lnTo>
                  <a:lnTo>
                    <a:pt x="2799512" y="1331809"/>
                  </a:lnTo>
                  <a:lnTo>
                    <a:pt x="2822328" y="1378544"/>
                  </a:lnTo>
                  <a:lnTo>
                    <a:pt x="2822331" y="1378583"/>
                  </a:lnTo>
                  <a:lnTo>
                    <a:pt x="2822329" y="1378543"/>
                  </a:lnTo>
                  <a:lnTo>
                    <a:pt x="2799512" y="1331808"/>
                  </a:lnTo>
                  <a:lnTo>
                    <a:pt x="2760330" y="1340083"/>
                  </a:lnTo>
                  <a:close/>
                  <a:moveTo>
                    <a:pt x="10907230" y="1304891"/>
                  </a:moveTo>
                  <a:lnTo>
                    <a:pt x="10879009" y="1308609"/>
                  </a:lnTo>
                  <a:lnTo>
                    <a:pt x="10879078" y="1308690"/>
                  </a:lnTo>
                  <a:close/>
                  <a:moveTo>
                    <a:pt x="10865349" y="1287711"/>
                  </a:moveTo>
                  <a:lnTo>
                    <a:pt x="10862704" y="1289365"/>
                  </a:lnTo>
                  <a:lnTo>
                    <a:pt x="10878314" y="1307789"/>
                  </a:lnTo>
                  <a:close/>
                  <a:moveTo>
                    <a:pt x="9490636" y="1258440"/>
                  </a:moveTo>
                  <a:lnTo>
                    <a:pt x="9538833" y="1310859"/>
                  </a:lnTo>
                  <a:lnTo>
                    <a:pt x="9539009" y="1310861"/>
                  </a:lnTo>
                  <a:close/>
                  <a:moveTo>
                    <a:pt x="8489145" y="1082933"/>
                  </a:moveTo>
                  <a:lnTo>
                    <a:pt x="8526932" y="1094556"/>
                  </a:lnTo>
                  <a:lnTo>
                    <a:pt x="8547645" y="1155803"/>
                  </a:lnTo>
                  <a:lnTo>
                    <a:pt x="8512818" y="1225025"/>
                  </a:lnTo>
                  <a:lnTo>
                    <a:pt x="8449211" y="1265731"/>
                  </a:lnTo>
                  <a:lnTo>
                    <a:pt x="8335598" y="1273174"/>
                  </a:lnTo>
                  <a:lnTo>
                    <a:pt x="8260401" y="1405441"/>
                  </a:lnTo>
                  <a:lnTo>
                    <a:pt x="8200131" y="1426596"/>
                  </a:lnTo>
                  <a:lnTo>
                    <a:pt x="8135027" y="1520632"/>
                  </a:lnTo>
                  <a:lnTo>
                    <a:pt x="8066038" y="1531004"/>
                  </a:lnTo>
                  <a:lnTo>
                    <a:pt x="7978103" y="1493295"/>
                  </a:lnTo>
                  <a:lnTo>
                    <a:pt x="7912330" y="1506325"/>
                  </a:lnTo>
                  <a:lnTo>
                    <a:pt x="7887083" y="1483327"/>
                  </a:lnTo>
                  <a:lnTo>
                    <a:pt x="7862067" y="1394559"/>
                  </a:lnTo>
                  <a:lnTo>
                    <a:pt x="7882701" y="1374387"/>
                  </a:lnTo>
                  <a:lnTo>
                    <a:pt x="7920257" y="1368810"/>
                  </a:lnTo>
                  <a:lnTo>
                    <a:pt x="7948662" y="1282311"/>
                  </a:lnTo>
                  <a:lnTo>
                    <a:pt x="8008552" y="1219434"/>
                  </a:lnTo>
                  <a:lnTo>
                    <a:pt x="8252087" y="1187270"/>
                  </a:lnTo>
                  <a:lnTo>
                    <a:pt x="8290196" y="1155767"/>
                  </a:lnTo>
                  <a:close/>
                  <a:moveTo>
                    <a:pt x="6132089" y="904999"/>
                  </a:moveTo>
                  <a:lnTo>
                    <a:pt x="6228495" y="928772"/>
                  </a:lnTo>
                  <a:lnTo>
                    <a:pt x="6297448" y="909163"/>
                  </a:lnTo>
                  <a:lnTo>
                    <a:pt x="6338312" y="919915"/>
                  </a:lnTo>
                  <a:lnTo>
                    <a:pt x="6414954" y="1014981"/>
                  </a:lnTo>
                  <a:lnTo>
                    <a:pt x="6389532" y="1078530"/>
                  </a:lnTo>
                  <a:lnTo>
                    <a:pt x="6398577" y="1098242"/>
                  </a:lnTo>
                  <a:lnTo>
                    <a:pt x="6444831" y="1113450"/>
                  </a:lnTo>
                  <a:lnTo>
                    <a:pt x="6487730" y="1195133"/>
                  </a:lnTo>
                  <a:lnTo>
                    <a:pt x="6556088" y="1208444"/>
                  </a:lnTo>
                  <a:lnTo>
                    <a:pt x="6619651" y="1261396"/>
                  </a:lnTo>
                  <a:lnTo>
                    <a:pt x="6670174" y="1338127"/>
                  </a:lnTo>
                  <a:lnTo>
                    <a:pt x="6754976" y="1393034"/>
                  </a:lnTo>
                  <a:lnTo>
                    <a:pt x="6755926" y="1442952"/>
                  </a:lnTo>
                  <a:lnTo>
                    <a:pt x="6716657" y="1463238"/>
                  </a:lnTo>
                  <a:lnTo>
                    <a:pt x="6614944" y="1431455"/>
                  </a:lnTo>
                  <a:lnTo>
                    <a:pt x="6556124" y="1460078"/>
                  </a:lnTo>
                  <a:lnTo>
                    <a:pt x="6507109" y="1455278"/>
                  </a:lnTo>
                  <a:lnTo>
                    <a:pt x="6447241" y="1490537"/>
                  </a:lnTo>
                  <a:lnTo>
                    <a:pt x="6395269" y="1486519"/>
                  </a:lnTo>
                  <a:lnTo>
                    <a:pt x="6377547" y="1454273"/>
                  </a:lnTo>
                  <a:lnTo>
                    <a:pt x="6383565" y="1427049"/>
                  </a:lnTo>
                  <a:lnTo>
                    <a:pt x="6328799" y="1352214"/>
                  </a:lnTo>
                  <a:lnTo>
                    <a:pt x="6234640" y="1308638"/>
                  </a:lnTo>
                  <a:lnTo>
                    <a:pt x="6156218" y="1300253"/>
                  </a:lnTo>
                  <a:lnTo>
                    <a:pt x="6131104" y="1278218"/>
                  </a:lnTo>
                  <a:lnTo>
                    <a:pt x="6121048" y="1232730"/>
                  </a:lnTo>
                  <a:lnTo>
                    <a:pt x="6081866" y="1201400"/>
                  </a:lnTo>
                  <a:lnTo>
                    <a:pt x="6079966" y="1176832"/>
                  </a:lnTo>
                  <a:lnTo>
                    <a:pt x="6103412" y="1150662"/>
                  </a:lnTo>
                  <a:lnTo>
                    <a:pt x="6101732" y="1100803"/>
                  </a:lnTo>
                  <a:lnTo>
                    <a:pt x="6158387" y="1014226"/>
                  </a:lnTo>
                  <a:lnTo>
                    <a:pt x="6101951" y="970408"/>
                  </a:lnTo>
                  <a:lnTo>
                    <a:pt x="6091409" y="941227"/>
                  </a:lnTo>
                  <a:lnTo>
                    <a:pt x="6091411" y="941227"/>
                  </a:lnTo>
                  <a:lnTo>
                    <a:pt x="6105345" y="915249"/>
                  </a:lnTo>
                  <a:close/>
                  <a:moveTo>
                    <a:pt x="4846225" y="351528"/>
                  </a:moveTo>
                  <a:lnTo>
                    <a:pt x="4927125" y="376806"/>
                  </a:lnTo>
                  <a:lnTo>
                    <a:pt x="4989012" y="421195"/>
                  </a:lnTo>
                  <a:lnTo>
                    <a:pt x="5023298" y="404821"/>
                  </a:lnTo>
                  <a:lnTo>
                    <a:pt x="5056911" y="415201"/>
                  </a:lnTo>
                  <a:lnTo>
                    <a:pt x="5081536" y="457538"/>
                  </a:lnTo>
                  <a:lnTo>
                    <a:pt x="5053604" y="499243"/>
                  </a:lnTo>
                  <a:lnTo>
                    <a:pt x="5059136" y="519859"/>
                  </a:lnTo>
                  <a:lnTo>
                    <a:pt x="5126453" y="456376"/>
                  </a:lnTo>
                  <a:lnTo>
                    <a:pt x="5214748" y="477753"/>
                  </a:lnTo>
                  <a:lnTo>
                    <a:pt x="5270967" y="462950"/>
                  </a:lnTo>
                  <a:lnTo>
                    <a:pt x="5316352" y="480214"/>
                  </a:lnTo>
                  <a:lnTo>
                    <a:pt x="5442817" y="598977"/>
                  </a:lnTo>
                  <a:lnTo>
                    <a:pt x="5442920" y="718462"/>
                  </a:lnTo>
                  <a:lnTo>
                    <a:pt x="5427656" y="754767"/>
                  </a:lnTo>
                  <a:lnTo>
                    <a:pt x="5380077" y="780528"/>
                  </a:lnTo>
                  <a:lnTo>
                    <a:pt x="5284486" y="762524"/>
                  </a:lnTo>
                  <a:lnTo>
                    <a:pt x="5212160" y="784725"/>
                  </a:lnTo>
                  <a:lnTo>
                    <a:pt x="5175517" y="815034"/>
                  </a:lnTo>
                  <a:lnTo>
                    <a:pt x="5097881" y="799235"/>
                  </a:lnTo>
                  <a:lnTo>
                    <a:pt x="5079337" y="775234"/>
                  </a:lnTo>
                  <a:lnTo>
                    <a:pt x="5081283" y="745181"/>
                  </a:lnTo>
                  <a:lnTo>
                    <a:pt x="5008740" y="661622"/>
                  </a:lnTo>
                  <a:lnTo>
                    <a:pt x="4910982" y="633884"/>
                  </a:lnTo>
                  <a:lnTo>
                    <a:pt x="4824195" y="526132"/>
                  </a:lnTo>
                  <a:lnTo>
                    <a:pt x="4817494" y="358386"/>
                  </a:lnTo>
                  <a:lnTo>
                    <a:pt x="4817446" y="358386"/>
                  </a:lnTo>
                  <a:close/>
                  <a:moveTo>
                    <a:pt x="9859176" y="183091"/>
                  </a:moveTo>
                  <a:lnTo>
                    <a:pt x="9896015" y="198914"/>
                  </a:lnTo>
                  <a:lnTo>
                    <a:pt x="9913817" y="243665"/>
                  </a:lnTo>
                  <a:lnTo>
                    <a:pt x="9885878" y="374951"/>
                  </a:lnTo>
                  <a:lnTo>
                    <a:pt x="9858929" y="453327"/>
                  </a:lnTo>
                  <a:lnTo>
                    <a:pt x="9786240" y="445909"/>
                  </a:lnTo>
                  <a:lnTo>
                    <a:pt x="9756076" y="404867"/>
                  </a:lnTo>
                  <a:lnTo>
                    <a:pt x="9735308" y="306217"/>
                  </a:lnTo>
                  <a:lnTo>
                    <a:pt x="9745692" y="261961"/>
                  </a:lnTo>
                  <a:lnTo>
                    <a:pt x="9783273" y="213502"/>
                  </a:lnTo>
                  <a:close/>
                  <a:moveTo>
                    <a:pt x="10757853" y="0"/>
                  </a:moveTo>
                  <a:lnTo>
                    <a:pt x="10870332" y="35373"/>
                  </a:lnTo>
                  <a:lnTo>
                    <a:pt x="10809961" y="75723"/>
                  </a:lnTo>
                  <a:lnTo>
                    <a:pt x="10847252" y="106069"/>
                  </a:lnTo>
                  <a:lnTo>
                    <a:pt x="10865702" y="154070"/>
                  </a:lnTo>
                  <a:lnTo>
                    <a:pt x="10849458" y="202956"/>
                  </a:lnTo>
                  <a:lnTo>
                    <a:pt x="10989696" y="265245"/>
                  </a:lnTo>
                  <a:lnTo>
                    <a:pt x="11006327" y="344256"/>
                  </a:lnTo>
                  <a:lnTo>
                    <a:pt x="10971122" y="407601"/>
                  </a:lnTo>
                  <a:lnTo>
                    <a:pt x="10899926" y="444261"/>
                  </a:lnTo>
                  <a:lnTo>
                    <a:pt x="10858418" y="501059"/>
                  </a:lnTo>
                  <a:lnTo>
                    <a:pt x="10801340" y="521726"/>
                  </a:lnTo>
                  <a:lnTo>
                    <a:pt x="10750013" y="506971"/>
                  </a:lnTo>
                  <a:lnTo>
                    <a:pt x="10726823" y="523087"/>
                  </a:lnTo>
                  <a:lnTo>
                    <a:pt x="10723430" y="575331"/>
                  </a:lnTo>
                  <a:lnTo>
                    <a:pt x="10687256" y="673277"/>
                  </a:lnTo>
                  <a:lnTo>
                    <a:pt x="10728056" y="759738"/>
                  </a:lnTo>
                  <a:lnTo>
                    <a:pt x="10754702" y="858584"/>
                  </a:lnTo>
                  <a:lnTo>
                    <a:pt x="10879979" y="883799"/>
                  </a:lnTo>
                  <a:lnTo>
                    <a:pt x="10941561" y="869396"/>
                  </a:lnTo>
                  <a:lnTo>
                    <a:pt x="10993225" y="880867"/>
                  </a:lnTo>
                  <a:lnTo>
                    <a:pt x="11038782" y="901678"/>
                  </a:lnTo>
                  <a:lnTo>
                    <a:pt x="11078754" y="961253"/>
                  </a:lnTo>
                  <a:lnTo>
                    <a:pt x="11076951" y="996309"/>
                  </a:lnTo>
                  <a:lnTo>
                    <a:pt x="11000559" y="1057881"/>
                  </a:lnTo>
                  <a:lnTo>
                    <a:pt x="10980270" y="1099645"/>
                  </a:lnTo>
                  <a:lnTo>
                    <a:pt x="10988752" y="1327750"/>
                  </a:lnTo>
                  <a:lnTo>
                    <a:pt x="10938446" y="1300779"/>
                  </a:lnTo>
                  <a:lnTo>
                    <a:pt x="10938388" y="1300787"/>
                  </a:lnTo>
                  <a:lnTo>
                    <a:pt x="10988725" y="1327749"/>
                  </a:lnTo>
                  <a:lnTo>
                    <a:pt x="10991583" y="1394042"/>
                  </a:lnTo>
                  <a:lnTo>
                    <a:pt x="11032096" y="1540083"/>
                  </a:lnTo>
                  <a:lnTo>
                    <a:pt x="11034482" y="1651748"/>
                  </a:lnTo>
                  <a:lnTo>
                    <a:pt x="11082306" y="1727548"/>
                  </a:lnTo>
                  <a:lnTo>
                    <a:pt x="11064315" y="1765709"/>
                  </a:lnTo>
                  <a:lnTo>
                    <a:pt x="10951630" y="1774254"/>
                  </a:lnTo>
                  <a:lnTo>
                    <a:pt x="10906151" y="1825653"/>
                  </a:lnTo>
                  <a:lnTo>
                    <a:pt x="10892785" y="1914512"/>
                  </a:lnTo>
                  <a:lnTo>
                    <a:pt x="10920049" y="2007216"/>
                  </a:lnTo>
                  <a:lnTo>
                    <a:pt x="10893158" y="2048131"/>
                  </a:lnTo>
                  <a:lnTo>
                    <a:pt x="10897981" y="2139966"/>
                  </a:lnTo>
                  <a:lnTo>
                    <a:pt x="10954798" y="2178534"/>
                  </a:lnTo>
                  <a:lnTo>
                    <a:pt x="10946616" y="2280316"/>
                  </a:lnTo>
                  <a:lnTo>
                    <a:pt x="11031401" y="2377801"/>
                  </a:lnTo>
                  <a:lnTo>
                    <a:pt x="11057900" y="2454593"/>
                  </a:lnTo>
                  <a:lnTo>
                    <a:pt x="11140693" y="2466759"/>
                  </a:lnTo>
                  <a:lnTo>
                    <a:pt x="11222075" y="2523470"/>
                  </a:lnTo>
                  <a:lnTo>
                    <a:pt x="11228930" y="2590230"/>
                  </a:lnTo>
                  <a:lnTo>
                    <a:pt x="11173001" y="2623664"/>
                  </a:lnTo>
                  <a:lnTo>
                    <a:pt x="11202245" y="2682930"/>
                  </a:lnTo>
                  <a:lnTo>
                    <a:pt x="11243399" y="2714878"/>
                  </a:lnTo>
                  <a:lnTo>
                    <a:pt x="11305693" y="2724441"/>
                  </a:lnTo>
                  <a:lnTo>
                    <a:pt x="11330707" y="2750222"/>
                  </a:lnTo>
                  <a:lnTo>
                    <a:pt x="11338794" y="2825857"/>
                  </a:lnTo>
                  <a:lnTo>
                    <a:pt x="11279520" y="2888793"/>
                  </a:lnTo>
                  <a:lnTo>
                    <a:pt x="11281824" y="2948991"/>
                  </a:lnTo>
                  <a:lnTo>
                    <a:pt x="11299541" y="2990221"/>
                  </a:lnTo>
                  <a:lnTo>
                    <a:pt x="11405897" y="3066855"/>
                  </a:lnTo>
                  <a:lnTo>
                    <a:pt x="11402876" y="3091965"/>
                  </a:lnTo>
                  <a:lnTo>
                    <a:pt x="11372079" y="3111011"/>
                  </a:lnTo>
                  <a:lnTo>
                    <a:pt x="11346300" y="3164775"/>
                  </a:lnTo>
                  <a:lnTo>
                    <a:pt x="11428087" y="3310461"/>
                  </a:lnTo>
                  <a:lnTo>
                    <a:pt x="11443515" y="3375513"/>
                  </a:lnTo>
                  <a:lnTo>
                    <a:pt x="11447994" y="3555927"/>
                  </a:lnTo>
                  <a:lnTo>
                    <a:pt x="11448021" y="3555929"/>
                  </a:lnTo>
                  <a:lnTo>
                    <a:pt x="11463702" y="3671670"/>
                  </a:lnTo>
                  <a:lnTo>
                    <a:pt x="11450851" y="3782748"/>
                  </a:lnTo>
                  <a:lnTo>
                    <a:pt x="11489274" y="3834331"/>
                  </a:lnTo>
                  <a:lnTo>
                    <a:pt x="11499079" y="3888775"/>
                  </a:lnTo>
                  <a:lnTo>
                    <a:pt x="11505447" y="4011333"/>
                  </a:lnTo>
                  <a:lnTo>
                    <a:pt x="11480331" y="4054263"/>
                  </a:lnTo>
                  <a:lnTo>
                    <a:pt x="11513965" y="4090309"/>
                  </a:lnTo>
                  <a:lnTo>
                    <a:pt x="11538450" y="4192050"/>
                  </a:lnTo>
                  <a:lnTo>
                    <a:pt x="11534803" y="4364566"/>
                  </a:lnTo>
                  <a:lnTo>
                    <a:pt x="11506034" y="4387431"/>
                  </a:lnTo>
                  <a:lnTo>
                    <a:pt x="11467352" y="4374360"/>
                  </a:lnTo>
                  <a:lnTo>
                    <a:pt x="11460024" y="4239714"/>
                  </a:lnTo>
                  <a:lnTo>
                    <a:pt x="11471492" y="4187237"/>
                  </a:lnTo>
                  <a:lnTo>
                    <a:pt x="11423641" y="4084284"/>
                  </a:lnTo>
                  <a:lnTo>
                    <a:pt x="11435026" y="4051048"/>
                  </a:lnTo>
                  <a:lnTo>
                    <a:pt x="11366070" y="3984434"/>
                  </a:lnTo>
                  <a:lnTo>
                    <a:pt x="11411912" y="3927940"/>
                  </a:lnTo>
                  <a:lnTo>
                    <a:pt x="11418794" y="3894808"/>
                  </a:lnTo>
                  <a:lnTo>
                    <a:pt x="11412360" y="3873984"/>
                  </a:lnTo>
                  <a:lnTo>
                    <a:pt x="11365552" y="3858903"/>
                  </a:lnTo>
                  <a:lnTo>
                    <a:pt x="11346434" y="3833942"/>
                  </a:lnTo>
                  <a:lnTo>
                    <a:pt x="11359901" y="3795297"/>
                  </a:lnTo>
                  <a:lnTo>
                    <a:pt x="11341120" y="3737809"/>
                  </a:lnTo>
                  <a:lnTo>
                    <a:pt x="11363602" y="3672339"/>
                  </a:lnTo>
                  <a:lnTo>
                    <a:pt x="11314829" y="3657834"/>
                  </a:lnTo>
                  <a:lnTo>
                    <a:pt x="11298760" y="3630106"/>
                  </a:lnTo>
                  <a:lnTo>
                    <a:pt x="11316166" y="3595622"/>
                  </a:lnTo>
                  <a:lnTo>
                    <a:pt x="11367059" y="3576650"/>
                  </a:lnTo>
                  <a:lnTo>
                    <a:pt x="11369190" y="3551554"/>
                  </a:lnTo>
                  <a:lnTo>
                    <a:pt x="11447982" y="3555927"/>
                  </a:lnTo>
                  <a:lnTo>
                    <a:pt x="11343841" y="3537623"/>
                  </a:lnTo>
                  <a:lnTo>
                    <a:pt x="11242874" y="3451551"/>
                  </a:lnTo>
                  <a:lnTo>
                    <a:pt x="11138721" y="3394028"/>
                  </a:lnTo>
                  <a:lnTo>
                    <a:pt x="10834413" y="3170871"/>
                  </a:lnTo>
                  <a:lnTo>
                    <a:pt x="10834440" y="3170871"/>
                  </a:lnTo>
                  <a:lnTo>
                    <a:pt x="10755314" y="3081914"/>
                  </a:lnTo>
                  <a:lnTo>
                    <a:pt x="10692740" y="2978120"/>
                  </a:lnTo>
                  <a:lnTo>
                    <a:pt x="10686664" y="2917150"/>
                  </a:lnTo>
                  <a:lnTo>
                    <a:pt x="10657299" y="2877202"/>
                  </a:lnTo>
                  <a:lnTo>
                    <a:pt x="10666932" y="2838163"/>
                  </a:lnTo>
                  <a:lnTo>
                    <a:pt x="10630943" y="2829304"/>
                  </a:lnTo>
                  <a:lnTo>
                    <a:pt x="10615143" y="2799418"/>
                  </a:lnTo>
                  <a:lnTo>
                    <a:pt x="10637846" y="2708015"/>
                  </a:lnTo>
                  <a:lnTo>
                    <a:pt x="10665421" y="2673674"/>
                  </a:lnTo>
                  <a:lnTo>
                    <a:pt x="10665421" y="2596233"/>
                  </a:lnTo>
                  <a:lnTo>
                    <a:pt x="10608384" y="2395066"/>
                  </a:lnTo>
                  <a:lnTo>
                    <a:pt x="10605897" y="2303888"/>
                  </a:lnTo>
                  <a:lnTo>
                    <a:pt x="10601525" y="2290462"/>
                  </a:lnTo>
                  <a:lnTo>
                    <a:pt x="10570140" y="2295191"/>
                  </a:lnTo>
                  <a:lnTo>
                    <a:pt x="10570140" y="2295194"/>
                  </a:lnTo>
                  <a:lnTo>
                    <a:pt x="10534350" y="2300056"/>
                  </a:lnTo>
                  <a:lnTo>
                    <a:pt x="10518874" y="2331785"/>
                  </a:lnTo>
                  <a:lnTo>
                    <a:pt x="10430540" y="2320195"/>
                  </a:lnTo>
                  <a:lnTo>
                    <a:pt x="10368797" y="2264180"/>
                  </a:lnTo>
                  <a:lnTo>
                    <a:pt x="10334085" y="2260789"/>
                  </a:lnTo>
                  <a:lnTo>
                    <a:pt x="10310128" y="2277657"/>
                  </a:lnTo>
                  <a:lnTo>
                    <a:pt x="10255675" y="2382539"/>
                  </a:lnTo>
                  <a:lnTo>
                    <a:pt x="10280883" y="2431779"/>
                  </a:lnTo>
                  <a:lnTo>
                    <a:pt x="10273766" y="2484368"/>
                  </a:lnTo>
                  <a:lnTo>
                    <a:pt x="10297536" y="2527803"/>
                  </a:lnTo>
                  <a:lnTo>
                    <a:pt x="10293089" y="2667135"/>
                  </a:lnTo>
                  <a:lnTo>
                    <a:pt x="10327493" y="2693364"/>
                  </a:lnTo>
                  <a:lnTo>
                    <a:pt x="10414951" y="2670824"/>
                  </a:lnTo>
                  <a:lnTo>
                    <a:pt x="10443179" y="2706495"/>
                  </a:lnTo>
                  <a:lnTo>
                    <a:pt x="10440610" y="2733560"/>
                  </a:lnTo>
                  <a:lnTo>
                    <a:pt x="10369214" y="2838447"/>
                  </a:lnTo>
                  <a:lnTo>
                    <a:pt x="10327722" y="2870184"/>
                  </a:lnTo>
                  <a:lnTo>
                    <a:pt x="10320270" y="2915371"/>
                  </a:lnTo>
                  <a:lnTo>
                    <a:pt x="10230844" y="3012941"/>
                  </a:lnTo>
                  <a:lnTo>
                    <a:pt x="10173040" y="3029275"/>
                  </a:lnTo>
                  <a:lnTo>
                    <a:pt x="9907745" y="3182094"/>
                  </a:lnTo>
                  <a:lnTo>
                    <a:pt x="9907746" y="3182095"/>
                  </a:lnTo>
                  <a:lnTo>
                    <a:pt x="9873302" y="3249586"/>
                  </a:lnTo>
                  <a:lnTo>
                    <a:pt x="9799956" y="3257841"/>
                  </a:lnTo>
                  <a:lnTo>
                    <a:pt x="9711731" y="3319743"/>
                  </a:lnTo>
                  <a:lnTo>
                    <a:pt x="9645013" y="3401397"/>
                  </a:lnTo>
                  <a:lnTo>
                    <a:pt x="9640170" y="3509351"/>
                  </a:lnTo>
                  <a:lnTo>
                    <a:pt x="9614622" y="3584035"/>
                  </a:lnTo>
                  <a:lnTo>
                    <a:pt x="9633369" y="3656709"/>
                  </a:lnTo>
                  <a:lnTo>
                    <a:pt x="9577397" y="3902068"/>
                  </a:lnTo>
                  <a:lnTo>
                    <a:pt x="9590090" y="3944989"/>
                  </a:lnTo>
                  <a:lnTo>
                    <a:pt x="9506869" y="4227667"/>
                  </a:lnTo>
                  <a:lnTo>
                    <a:pt x="9549079" y="4194610"/>
                  </a:lnTo>
                  <a:lnTo>
                    <a:pt x="9593929" y="4106900"/>
                  </a:lnTo>
                  <a:lnTo>
                    <a:pt x="9680626" y="4078184"/>
                  </a:lnTo>
                  <a:lnTo>
                    <a:pt x="9709937" y="4094277"/>
                  </a:lnTo>
                  <a:lnTo>
                    <a:pt x="9727202" y="4154342"/>
                  </a:lnTo>
                  <a:lnTo>
                    <a:pt x="9757722" y="4170178"/>
                  </a:lnTo>
                  <a:lnTo>
                    <a:pt x="9803025" y="4163911"/>
                  </a:lnTo>
                  <a:lnTo>
                    <a:pt x="9821917" y="4121334"/>
                  </a:lnTo>
                  <a:lnTo>
                    <a:pt x="9848806" y="4109569"/>
                  </a:lnTo>
                  <a:lnTo>
                    <a:pt x="9985091" y="4166576"/>
                  </a:lnTo>
                  <a:lnTo>
                    <a:pt x="10040169" y="4156896"/>
                  </a:lnTo>
                  <a:lnTo>
                    <a:pt x="10089404" y="4190114"/>
                  </a:lnTo>
                  <a:lnTo>
                    <a:pt x="10212412" y="4422302"/>
                  </a:lnTo>
                  <a:lnTo>
                    <a:pt x="10212895" y="4496448"/>
                  </a:lnTo>
                  <a:lnTo>
                    <a:pt x="10233575" y="4561543"/>
                  </a:lnTo>
                  <a:lnTo>
                    <a:pt x="10305993" y="4636385"/>
                  </a:lnTo>
                  <a:lnTo>
                    <a:pt x="10379335" y="4805754"/>
                  </a:lnTo>
                  <a:lnTo>
                    <a:pt x="10406538" y="4893296"/>
                  </a:lnTo>
                  <a:lnTo>
                    <a:pt x="10382160" y="5026326"/>
                  </a:lnTo>
                  <a:lnTo>
                    <a:pt x="10394342" y="5094070"/>
                  </a:lnTo>
                  <a:lnTo>
                    <a:pt x="10394349" y="5094069"/>
                  </a:lnTo>
                  <a:lnTo>
                    <a:pt x="10396094" y="5107083"/>
                  </a:lnTo>
                  <a:lnTo>
                    <a:pt x="10380927" y="5170462"/>
                  </a:lnTo>
                  <a:lnTo>
                    <a:pt x="10400853" y="5249195"/>
                  </a:lnTo>
                  <a:lnTo>
                    <a:pt x="10398402" y="5388685"/>
                  </a:lnTo>
                  <a:lnTo>
                    <a:pt x="10336759" y="5691400"/>
                  </a:lnTo>
                  <a:lnTo>
                    <a:pt x="10328269" y="5847665"/>
                  </a:lnTo>
                  <a:lnTo>
                    <a:pt x="10228291" y="6032756"/>
                  </a:lnTo>
                  <a:lnTo>
                    <a:pt x="10156934" y="6095201"/>
                  </a:lnTo>
                  <a:lnTo>
                    <a:pt x="10019290" y="6130486"/>
                  </a:lnTo>
                  <a:lnTo>
                    <a:pt x="9956574" y="6246035"/>
                  </a:lnTo>
                  <a:lnTo>
                    <a:pt x="9916845" y="6237238"/>
                  </a:lnTo>
                  <a:lnTo>
                    <a:pt x="9887472" y="6192523"/>
                  </a:lnTo>
                  <a:lnTo>
                    <a:pt x="9863792" y="6194071"/>
                  </a:lnTo>
                  <a:lnTo>
                    <a:pt x="9926359" y="6132333"/>
                  </a:lnTo>
                  <a:lnTo>
                    <a:pt x="9915012" y="6054232"/>
                  </a:lnTo>
                  <a:lnTo>
                    <a:pt x="9891383" y="6037744"/>
                  </a:lnTo>
                  <a:lnTo>
                    <a:pt x="9870577" y="5963608"/>
                  </a:lnTo>
                  <a:lnTo>
                    <a:pt x="9781779" y="5866023"/>
                  </a:lnTo>
                  <a:lnTo>
                    <a:pt x="9826911" y="5824927"/>
                  </a:lnTo>
                  <a:lnTo>
                    <a:pt x="9840220" y="5753582"/>
                  </a:lnTo>
                  <a:lnTo>
                    <a:pt x="9971317" y="5744046"/>
                  </a:lnTo>
                  <a:lnTo>
                    <a:pt x="9979805" y="5721442"/>
                  </a:lnTo>
                  <a:lnTo>
                    <a:pt x="9958156" y="5664451"/>
                  </a:lnTo>
                  <a:lnTo>
                    <a:pt x="9977548" y="5635939"/>
                  </a:lnTo>
                  <a:lnTo>
                    <a:pt x="9961300" y="5606397"/>
                  </a:lnTo>
                  <a:lnTo>
                    <a:pt x="9973835" y="5524647"/>
                  </a:lnTo>
                  <a:lnTo>
                    <a:pt x="9949924" y="5478634"/>
                  </a:lnTo>
                  <a:lnTo>
                    <a:pt x="9991932" y="5438460"/>
                  </a:lnTo>
                  <a:lnTo>
                    <a:pt x="9991679" y="5437988"/>
                  </a:lnTo>
                  <a:lnTo>
                    <a:pt x="9991923" y="5438460"/>
                  </a:lnTo>
                  <a:lnTo>
                    <a:pt x="9956692" y="5467635"/>
                  </a:lnTo>
                  <a:lnTo>
                    <a:pt x="9935913" y="5419258"/>
                  </a:lnTo>
                  <a:lnTo>
                    <a:pt x="9941185" y="5391249"/>
                  </a:lnTo>
                  <a:lnTo>
                    <a:pt x="9921564" y="5366305"/>
                  </a:lnTo>
                  <a:lnTo>
                    <a:pt x="9946616" y="5324635"/>
                  </a:lnTo>
                  <a:lnTo>
                    <a:pt x="9948339" y="5281782"/>
                  </a:lnTo>
                  <a:lnTo>
                    <a:pt x="9904011" y="5249510"/>
                  </a:lnTo>
                  <a:lnTo>
                    <a:pt x="9902247" y="5187055"/>
                  </a:lnTo>
                  <a:lnTo>
                    <a:pt x="9901701" y="5189692"/>
                  </a:lnTo>
                  <a:lnTo>
                    <a:pt x="9845475" y="5218711"/>
                  </a:lnTo>
                  <a:lnTo>
                    <a:pt x="9804674" y="5285405"/>
                  </a:lnTo>
                  <a:lnTo>
                    <a:pt x="9760400" y="5312003"/>
                  </a:lnTo>
                  <a:lnTo>
                    <a:pt x="9750608" y="5346680"/>
                  </a:lnTo>
                  <a:lnTo>
                    <a:pt x="9735154" y="5350837"/>
                  </a:lnTo>
                  <a:lnTo>
                    <a:pt x="9741033" y="5390018"/>
                  </a:lnTo>
                  <a:lnTo>
                    <a:pt x="9654852" y="5442539"/>
                  </a:lnTo>
                  <a:lnTo>
                    <a:pt x="9642494" y="5434667"/>
                  </a:lnTo>
                  <a:lnTo>
                    <a:pt x="9590048" y="5462545"/>
                  </a:lnTo>
                  <a:lnTo>
                    <a:pt x="9536367" y="5423100"/>
                  </a:lnTo>
                  <a:lnTo>
                    <a:pt x="9539832" y="5386052"/>
                  </a:lnTo>
                  <a:lnTo>
                    <a:pt x="9518913" y="5361247"/>
                  </a:lnTo>
                  <a:lnTo>
                    <a:pt x="9489475" y="5355399"/>
                  </a:lnTo>
                  <a:lnTo>
                    <a:pt x="9487066" y="5326277"/>
                  </a:lnTo>
                  <a:lnTo>
                    <a:pt x="9482885" y="5306124"/>
                  </a:lnTo>
                  <a:lnTo>
                    <a:pt x="9487325" y="5302661"/>
                  </a:lnTo>
                  <a:lnTo>
                    <a:pt x="9447415" y="5333041"/>
                  </a:lnTo>
                  <a:lnTo>
                    <a:pt x="9342133" y="5284274"/>
                  </a:lnTo>
                  <a:lnTo>
                    <a:pt x="9306844" y="5311839"/>
                  </a:lnTo>
                  <a:lnTo>
                    <a:pt x="9268194" y="5306971"/>
                  </a:lnTo>
                  <a:lnTo>
                    <a:pt x="9262235" y="5290757"/>
                  </a:lnTo>
                  <a:lnTo>
                    <a:pt x="9211558" y="5322352"/>
                  </a:lnTo>
                  <a:lnTo>
                    <a:pt x="9158715" y="5322467"/>
                  </a:lnTo>
                  <a:lnTo>
                    <a:pt x="9121001" y="5283556"/>
                  </a:lnTo>
                  <a:lnTo>
                    <a:pt x="9117106" y="5243877"/>
                  </a:lnTo>
                  <a:lnTo>
                    <a:pt x="9085359" y="5240142"/>
                  </a:lnTo>
                  <a:lnTo>
                    <a:pt x="9058763" y="5181965"/>
                  </a:lnTo>
                  <a:lnTo>
                    <a:pt x="9006158" y="5151550"/>
                  </a:lnTo>
                  <a:lnTo>
                    <a:pt x="8995636" y="5110941"/>
                  </a:lnTo>
                  <a:lnTo>
                    <a:pt x="8987510" y="5125562"/>
                  </a:lnTo>
                  <a:lnTo>
                    <a:pt x="8970993" y="5085886"/>
                  </a:lnTo>
                  <a:lnTo>
                    <a:pt x="8912776" y="5039417"/>
                  </a:lnTo>
                  <a:lnTo>
                    <a:pt x="8910725" y="5008989"/>
                  </a:lnTo>
                  <a:lnTo>
                    <a:pt x="8883865" y="5006914"/>
                  </a:lnTo>
                  <a:lnTo>
                    <a:pt x="8890590" y="4989934"/>
                  </a:lnTo>
                  <a:lnTo>
                    <a:pt x="8830450" y="4958150"/>
                  </a:lnTo>
                  <a:lnTo>
                    <a:pt x="8835128" y="4932340"/>
                  </a:lnTo>
                  <a:lnTo>
                    <a:pt x="8820401" y="4938518"/>
                  </a:lnTo>
                  <a:lnTo>
                    <a:pt x="8803351" y="4923035"/>
                  </a:lnTo>
                  <a:lnTo>
                    <a:pt x="8790907" y="4933540"/>
                  </a:lnTo>
                  <a:lnTo>
                    <a:pt x="8774340" y="4903690"/>
                  </a:lnTo>
                  <a:lnTo>
                    <a:pt x="8727610" y="4900457"/>
                  </a:lnTo>
                  <a:lnTo>
                    <a:pt x="8707501" y="4925383"/>
                  </a:lnTo>
                  <a:lnTo>
                    <a:pt x="8574665" y="4898935"/>
                  </a:lnTo>
                  <a:lnTo>
                    <a:pt x="8448554" y="4959571"/>
                  </a:lnTo>
                  <a:lnTo>
                    <a:pt x="8449170" y="4960560"/>
                  </a:lnTo>
                  <a:lnTo>
                    <a:pt x="8346665" y="5015611"/>
                  </a:lnTo>
                  <a:lnTo>
                    <a:pt x="8293674" y="5115721"/>
                  </a:lnTo>
                  <a:lnTo>
                    <a:pt x="8305235" y="5143220"/>
                  </a:lnTo>
                  <a:lnTo>
                    <a:pt x="8338607" y="5123883"/>
                  </a:lnTo>
                  <a:lnTo>
                    <a:pt x="8366938" y="5131483"/>
                  </a:lnTo>
                  <a:lnTo>
                    <a:pt x="8365717" y="5162981"/>
                  </a:lnTo>
                  <a:lnTo>
                    <a:pt x="8389674" y="5187475"/>
                  </a:lnTo>
                  <a:lnTo>
                    <a:pt x="8388665" y="5225392"/>
                  </a:lnTo>
                  <a:lnTo>
                    <a:pt x="8346950" y="5278684"/>
                  </a:lnTo>
                  <a:lnTo>
                    <a:pt x="8342416" y="5375187"/>
                  </a:lnTo>
                  <a:lnTo>
                    <a:pt x="8311913" y="5497502"/>
                  </a:lnTo>
                  <a:lnTo>
                    <a:pt x="8339791" y="5500791"/>
                  </a:lnTo>
                  <a:lnTo>
                    <a:pt x="8330911" y="5551767"/>
                  </a:lnTo>
                  <a:lnTo>
                    <a:pt x="8277863" y="5581166"/>
                  </a:lnTo>
                  <a:lnTo>
                    <a:pt x="8226693" y="5662804"/>
                  </a:lnTo>
                  <a:lnTo>
                    <a:pt x="8140850" y="5656153"/>
                  </a:lnTo>
                  <a:lnTo>
                    <a:pt x="8047340" y="5622683"/>
                  </a:lnTo>
                  <a:lnTo>
                    <a:pt x="7980646" y="5658614"/>
                  </a:lnTo>
                  <a:lnTo>
                    <a:pt x="7906750" y="5625431"/>
                  </a:lnTo>
                  <a:lnTo>
                    <a:pt x="7854151" y="5626090"/>
                  </a:lnTo>
                  <a:lnTo>
                    <a:pt x="7758090" y="5714943"/>
                  </a:lnTo>
                  <a:lnTo>
                    <a:pt x="7727778" y="5772158"/>
                  </a:lnTo>
                  <a:lnTo>
                    <a:pt x="7587360" y="5822227"/>
                  </a:lnTo>
                  <a:lnTo>
                    <a:pt x="7534636" y="5858663"/>
                  </a:lnTo>
                  <a:lnTo>
                    <a:pt x="7490992" y="5854077"/>
                  </a:lnTo>
                  <a:lnTo>
                    <a:pt x="7473979" y="5871927"/>
                  </a:lnTo>
                  <a:lnTo>
                    <a:pt x="7368322" y="5855477"/>
                  </a:lnTo>
                  <a:lnTo>
                    <a:pt x="7300620" y="5868735"/>
                  </a:lnTo>
                  <a:lnTo>
                    <a:pt x="7236874" y="5821663"/>
                  </a:lnTo>
                  <a:lnTo>
                    <a:pt x="7234904" y="5780096"/>
                  </a:lnTo>
                  <a:lnTo>
                    <a:pt x="7216836" y="5781998"/>
                  </a:lnTo>
                  <a:lnTo>
                    <a:pt x="7209363" y="5760223"/>
                  </a:lnTo>
                  <a:lnTo>
                    <a:pt x="7212684" y="5777092"/>
                  </a:lnTo>
                  <a:lnTo>
                    <a:pt x="7160524" y="5780083"/>
                  </a:lnTo>
                  <a:lnTo>
                    <a:pt x="7107593" y="5734261"/>
                  </a:lnTo>
                  <a:lnTo>
                    <a:pt x="7059034" y="5740744"/>
                  </a:lnTo>
                  <a:lnTo>
                    <a:pt x="6966603" y="5720730"/>
                  </a:lnTo>
                  <a:lnTo>
                    <a:pt x="6872787" y="5753840"/>
                  </a:lnTo>
                  <a:lnTo>
                    <a:pt x="6849369" y="5781062"/>
                  </a:lnTo>
                  <a:lnTo>
                    <a:pt x="6762727" y="5777891"/>
                  </a:lnTo>
                  <a:lnTo>
                    <a:pt x="6758601" y="5758657"/>
                  </a:lnTo>
                  <a:lnTo>
                    <a:pt x="6700906" y="5748235"/>
                  </a:lnTo>
                  <a:lnTo>
                    <a:pt x="6663818" y="5705601"/>
                  </a:lnTo>
                  <a:lnTo>
                    <a:pt x="6641105" y="5599936"/>
                  </a:lnTo>
                  <a:lnTo>
                    <a:pt x="6568794" y="5587821"/>
                  </a:lnTo>
                  <a:lnTo>
                    <a:pt x="6492367" y="5544363"/>
                  </a:lnTo>
                  <a:lnTo>
                    <a:pt x="6424214" y="5540639"/>
                  </a:lnTo>
                  <a:lnTo>
                    <a:pt x="6412384" y="5519021"/>
                  </a:lnTo>
                  <a:lnTo>
                    <a:pt x="6343383" y="5493524"/>
                  </a:lnTo>
                  <a:lnTo>
                    <a:pt x="6337759" y="5483079"/>
                  </a:lnTo>
                  <a:lnTo>
                    <a:pt x="6317940" y="5523286"/>
                  </a:lnTo>
                  <a:lnTo>
                    <a:pt x="6278043" y="5544041"/>
                  </a:lnTo>
                  <a:lnTo>
                    <a:pt x="6264446" y="5586552"/>
                  </a:lnTo>
                  <a:lnTo>
                    <a:pt x="6247556" y="5587115"/>
                  </a:lnTo>
                  <a:lnTo>
                    <a:pt x="6224398" y="5652080"/>
                  </a:lnTo>
                  <a:lnTo>
                    <a:pt x="6243113" y="5678860"/>
                  </a:lnTo>
                  <a:lnTo>
                    <a:pt x="6240015" y="5708678"/>
                  </a:lnTo>
                  <a:lnTo>
                    <a:pt x="6271297" y="5736173"/>
                  </a:lnTo>
                  <a:lnTo>
                    <a:pt x="6268241" y="5762915"/>
                  </a:lnTo>
                  <a:lnTo>
                    <a:pt x="6224530" y="5824500"/>
                  </a:lnTo>
                  <a:lnTo>
                    <a:pt x="6212425" y="5812116"/>
                  </a:lnTo>
                  <a:lnTo>
                    <a:pt x="6166983" y="5848995"/>
                  </a:lnTo>
                  <a:lnTo>
                    <a:pt x="6133379" y="5825587"/>
                  </a:lnTo>
                  <a:lnTo>
                    <a:pt x="6087849" y="5815750"/>
                  </a:lnTo>
                  <a:lnTo>
                    <a:pt x="6076912" y="5826355"/>
                  </a:lnTo>
                  <a:lnTo>
                    <a:pt x="6021770" y="5796305"/>
                  </a:lnTo>
                  <a:lnTo>
                    <a:pt x="5987535" y="5817712"/>
                  </a:lnTo>
                  <a:lnTo>
                    <a:pt x="5934399" y="5789968"/>
                  </a:lnTo>
                  <a:lnTo>
                    <a:pt x="5897268" y="5789233"/>
                  </a:lnTo>
                  <a:lnTo>
                    <a:pt x="5877721" y="5759116"/>
                  </a:lnTo>
                  <a:lnTo>
                    <a:pt x="5871488" y="5703332"/>
                  </a:lnTo>
                  <a:lnTo>
                    <a:pt x="5758098" y="5691343"/>
                  </a:lnTo>
                  <a:lnTo>
                    <a:pt x="5742769" y="5677707"/>
                  </a:lnTo>
                  <a:lnTo>
                    <a:pt x="5749667" y="5657833"/>
                  </a:lnTo>
                  <a:lnTo>
                    <a:pt x="5712756" y="5667780"/>
                  </a:lnTo>
                  <a:lnTo>
                    <a:pt x="5687524" y="5636915"/>
                  </a:lnTo>
                  <a:lnTo>
                    <a:pt x="5676297" y="5659324"/>
                  </a:lnTo>
                  <a:lnTo>
                    <a:pt x="5629395" y="5655579"/>
                  </a:lnTo>
                  <a:lnTo>
                    <a:pt x="5586688" y="5693354"/>
                  </a:lnTo>
                  <a:lnTo>
                    <a:pt x="5537965" y="5692218"/>
                  </a:lnTo>
                  <a:lnTo>
                    <a:pt x="5509387" y="5720544"/>
                  </a:lnTo>
                  <a:lnTo>
                    <a:pt x="5400277" y="5750832"/>
                  </a:lnTo>
                  <a:lnTo>
                    <a:pt x="5404104" y="5782205"/>
                  </a:lnTo>
                  <a:lnTo>
                    <a:pt x="5364907" y="5798987"/>
                  </a:lnTo>
                  <a:lnTo>
                    <a:pt x="5352174" y="5787941"/>
                  </a:lnTo>
                  <a:lnTo>
                    <a:pt x="5347536" y="5806022"/>
                  </a:lnTo>
                  <a:lnTo>
                    <a:pt x="5324447" y="5811721"/>
                  </a:lnTo>
                  <a:lnTo>
                    <a:pt x="5318077" y="5796140"/>
                  </a:lnTo>
                  <a:lnTo>
                    <a:pt x="5309725" y="5812859"/>
                  </a:lnTo>
                  <a:lnTo>
                    <a:pt x="5248561" y="5796741"/>
                  </a:lnTo>
                  <a:lnTo>
                    <a:pt x="5217365" y="5838300"/>
                  </a:lnTo>
                  <a:lnTo>
                    <a:pt x="5157902" y="5845436"/>
                  </a:lnTo>
                  <a:lnTo>
                    <a:pt x="5144929" y="5835952"/>
                  </a:lnTo>
                  <a:lnTo>
                    <a:pt x="5151118" y="5818937"/>
                  </a:lnTo>
                  <a:lnTo>
                    <a:pt x="5122970" y="5809820"/>
                  </a:lnTo>
                  <a:lnTo>
                    <a:pt x="5110473" y="5760634"/>
                  </a:lnTo>
                  <a:lnTo>
                    <a:pt x="5091534" y="5753205"/>
                  </a:lnTo>
                  <a:lnTo>
                    <a:pt x="5113908" y="5722764"/>
                  </a:lnTo>
                  <a:lnTo>
                    <a:pt x="5096612" y="5716945"/>
                  </a:lnTo>
                  <a:lnTo>
                    <a:pt x="5046634" y="5761154"/>
                  </a:lnTo>
                  <a:lnTo>
                    <a:pt x="4991265" y="5725878"/>
                  </a:lnTo>
                  <a:lnTo>
                    <a:pt x="4957666" y="5722941"/>
                  </a:lnTo>
                  <a:lnTo>
                    <a:pt x="4941166" y="5668903"/>
                  </a:lnTo>
                  <a:lnTo>
                    <a:pt x="4950027" y="5647623"/>
                  </a:lnTo>
                  <a:lnTo>
                    <a:pt x="4882532" y="5596606"/>
                  </a:lnTo>
                  <a:lnTo>
                    <a:pt x="4889387" y="5559833"/>
                  </a:lnTo>
                  <a:lnTo>
                    <a:pt x="4876975" y="5538709"/>
                  </a:lnTo>
                  <a:lnTo>
                    <a:pt x="4916444" y="5539838"/>
                  </a:lnTo>
                  <a:lnTo>
                    <a:pt x="4876977" y="5538709"/>
                  </a:lnTo>
                  <a:lnTo>
                    <a:pt x="4861808" y="5496762"/>
                  </a:lnTo>
                  <a:lnTo>
                    <a:pt x="4827358" y="5466316"/>
                  </a:lnTo>
                  <a:lnTo>
                    <a:pt x="4799555" y="5460089"/>
                  </a:lnTo>
                  <a:lnTo>
                    <a:pt x="4781570" y="5475894"/>
                  </a:lnTo>
                  <a:lnTo>
                    <a:pt x="4758754" y="5463655"/>
                  </a:lnTo>
                  <a:lnTo>
                    <a:pt x="4735920" y="5487556"/>
                  </a:lnTo>
                  <a:lnTo>
                    <a:pt x="4664597" y="5456435"/>
                  </a:lnTo>
                  <a:lnTo>
                    <a:pt x="4631167" y="5457911"/>
                  </a:lnTo>
                  <a:lnTo>
                    <a:pt x="4636367" y="5424051"/>
                  </a:lnTo>
                  <a:lnTo>
                    <a:pt x="4601653" y="5418386"/>
                  </a:lnTo>
                  <a:lnTo>
                    <a:pt x="4621422" y="5381386"/>
                  </a:lnTo>
                  <a:lnTo>
                    <a:pt x="4581267" y="5352592"/>
                  </a:lnTo>
                  <a:lnTo>
                    <a:pt x="4572558" y="5368590"/>
                  </a:lnTo>
                  <a:lnTo>
                    <a:pt x="4552765" y="5366833"/>
                  </a:lnTo>
                  <a:lnTo>
                    <a:pt x="4548201" y="5399347"/>
                  </a:lnTo>
                  <a:lnTo>
                    <a:pt x="4504074" y="5405855"/>
                  </a:lnTo>
                  <a:lnTo>
                    <a:pt x="4499761" y="5423089"/>
                  </a:lnTo>
                  <a:lnTo>
                    <a:pt x="4420958" y="4970108"/>
                  </a:lnTo>
                  <a:lnTo>
                    <a:pt x="4432528" y="4966175"/>
                  </a:lnTo>
                  <a:lnTo>
                    <a:pt x="4412097" y="4970379"/>
                  </a:lnTo>
                  <a:lnTo>
                    <a:pt x="4332010" y="4816027"/>
                  </a:lnTo>
                  <a:lnTo>
                    <a:pt x="4362035" y="4819159"/>
                  </a:lnTo>
                  <a:lnTo>
                    <a:pt x="4391133" y="4781293"/>
                  </a:lnTo>
                  <a:lnTo>
                    <a:pt x="4362549" y="4790661"/>
                  </a:lnTo>
                  <a:lnTo>
                    <a:pt x="4329615" y="4775820"/>
                  </a:lnTo>
                  <a:lnTo>
                    <a:pt x="4320678" y="4788649"/>
                  </a:lnTo>
                  <a:lnTo>
                    <a:pt x="4268193" y="4792926"/>
                  </a:lnTo>
                  <a:lnTo>
                    <a:pt x="4238789" y="4791137"/>
                  </a:lnTo>
                  <a:lnTo>
                    <a:pt x="4238908" y="4807167"/>
                  </a:lnTo>
                  <a:lnTo>
                    <a:pt x="4195344" y="4821060"/>
                  </a:lnTo>
                  <a:lnTo>
                    <a:pt x="4175468" y="4808348"/>
                  </a:lnTo>
                  <a:lnTo>
                    <a:pt x="4154033" y="4825595"/>
                  </a:lnTo>
                  <a:lnTo>
                    <a:pt x="4139696" y="4817410"/>
                  </a:lnTo>
                  <a:lnTo>
                    <a:pt x="4120879" y="4848344"/>
                  </a:lnTo>
                  <a:lnTo>
                    <a:pt x="4089675" y="4804538"/>
                  </a:lnTo>
                  <a:lnTo>
                    <a:pt x="4037784" y="4819780"/>
                  </a:lnTo>
                  <a:lnTo>
                    <a:pt x="4028317" y="4794526"/>
                  </a:lnTo>
                  <a:lnTo>
                    <a:pt x="4049281" y="4765452"/>
                  </a:lnTo>
                  <a:lnTo>
                    <a:pt x="4083654" y="4766897"/>
                  </a:lnTo>
                  <a:lnTo>
                    <a:pt x="4100696" y="4741291"/>
                  </a:lnTo>
                  <a:lnTo>
                    <a:pt x="4054632" y="4741571"/>
                  </a:lnTo>
                  <a:lnTo>
                    <a:pt x="4007613" y="4689857"/>
                  </a:lnTo>
                  <a:lnTo>
                    <a:pt x="3995473" y="4700667"/>
                  </a:lnTo>
                  <a:lnTo>
                    <a:pt x="4004831" y="4719377"/>
                  </a:lnTo>
                  <a:lnTo>
                    <a:pt x="3979308" y="4715715"/>
                  </a:lnTo>
                  <a:lnTo>
                    <a:pt x="3986408" y="4686376"/>
                  </a:lnTo>
                  <a:lnTo>
                    <a:pt x="4000161" y="4686144"/>
                  </a:lnTo>
                  <a:lnTo>
                    <a:pt x="3971655" y="4635589"/>
                  </a:lnTo>
                  <a:lnTo>
                    <a:pt x="3970239" y="4676764"/>
                  </a:lnTo>
                  <a:lnTo>
                    <a:pt x="3958760" y="4651798"/>
                  </a:lnTo>
                  <a:lnTo>
                    <a:pt x="3943082" y="4643288"/>
                  </a:lnTo>
                  <a:lnTo>
                    <a:pt x="3926876" y="4662567"/>
                  </a:lnTo>
                  <a:lnTo>
                    <a:pt x="3900594" y="4636788"/>
                  </a:lnTo>
                  <a:lnTo>
                    <a:pt x="3884838" y="4645397"/>
                  </a:lnTo>
                  <a:lnTo>
                    <a:pt x="3880788" y="4627241"/>
                  </a:lnTo>
                  <a:lnTo>
                    <a:pt x="3885163" y="4604345"/>
                  </a:lnTo>
                  <a:lnTo>
                    <a:pt x="3900258" y="4615394"/>
                  </a:lnTo>
                  <a:lnTo>
                    <a:pt x="3930310" y="4567534"/>
                  </a:lnTo>
                  <a:lnTo>
                    <a:pt x="3915834" y="4542845"/>
                  </a:lnTo>
                  <a:lnTo>
                    <a:pt x="3934248" y="4498451"/>
                  </a:lnTo>
                  <a:lnTo>
                    <a:pt x="3930265" y="4461692"/>
                  </a:lnTo>
                  <a:lnTo>
                    <a:pt x="3901465" y="4449227"/>
                  </a:lnTo>
                  <a:lnTo>
                    <a:pt x="3903841" y="4442102"/>
                  </a:lnTo>
                  <a:lnTo>
                    <a:pt x="3873865" y="4460503"/>
                  </a:lnTo>
                  <a:lnTo>
                    <a:pt x="3843154" y="4411560"/>
                  </a:lnTo>
                  <a:lnTo>
                    <a:pt x="3851038" y="4392935"/>
                  </a:lnTo>
                  <a:lnTo>
                    <a:pt x="3830584" y="4408198"/>
                  </a:lnTo>
                  <a:lnTo>
                    <a:pt x="3789262" y="4370968"/>
                  </a:lnTo>
                  <a:lnTo>
                    <a:pt x="3783108" y="4394980"/>
                  </a:lnTo>
                  <a:lnTo>
                    <a:pt x="3761176" y="4368162"/>
                  </a:lnTo>
                  <a:lnTo>
                    <a:pt x="3765381" y="4377535"/>
                  </a:lnTo>
                  <a:lnTo>
                    <a:pt x="3747936" y="4392941"/>
                  </a:lnTo>
                  <a:lnTo>
                    <a:pt x="3712669" y="4375746"/>
                  </a:lnTo>
                  <a:lnTo>
                    <a:pt x="3701569" y="4410188"/>
                  </a:lnTo>
                  <a:lnTo>
                    <a:pt x="3498804" y="4367408"/>
                  </a:lnTo>
                  <a:lnTo>
                    <a:pt x="3504150" y="4354035"/>
                  </a:lnTo>
                  <a:lnTo>
                    <a:pt x="3477540" y="4359268"/>
                  </a:lnTo>
                  <a:lnTo>
                    <a:pt x="3460647" y="4341733"/>
                  </a:lnTo>
                  <a:lnTo>
                    <a:pt x="3455539" y="4353961"/>
                  </a:lnTo>
                  <a:lnTo>
                    <a:pt x="3430422" y="4345641"/>
                  </a:lnTo>
                  <a:lnTo>
                    <a:pt x="3415635" y="4374344"/>
                  </a:lnTo>
                  <a:lnTo>
                    <a:pt x="3372364" y="4339731"/>
                  </a:lnTo>
                  <a:lnTo>
                    <a:pt x="3315257" y="4324688"/>
                  </a:lnTo>
                  <a:lnTo>
                    <a:pt x="3305514" y="4337244"/>
                  </a:lnTo>
                  <a:lnTo>
                    <a:pt x="3297673" y="4320049"/>
                  </a:lnTo>
                  <a:lnTo>
                    <a:pt x="3257514" y="4311743"/>
                  </a:lnTo>
                  <a:lnTo>
                    <a:pt x="3256754" y="4309407"/>
                  </a:lnTo>
                  <a:lnTo>
                    <a:pt x="3188016" y="4292162"/>
                  </a:lnTo>
                  <a:lnTo>
                    <a:pt x="3169140" y="4309926"/>
                  </a:lnTo>
                  <a:lnTo>
                    <a:pt x="3172135" y="4287471"/>
                  </a:lnTo>
                  <a:lnTo>
                    <a:pt x="3139785" y="4269438"/>
                  </a:lnTo>
                  <a:lnTo>
                    <a:pt x="3126211" y="4277561"/>
                  </a:lnTo>
                  <a:lnTo>
                    <a:pt x="3126060" y="4262628"/>
                  </a:lnTo>
                  <a:lnTo>
                    <a:pt x="3099569" y="4258038"/>
                  </a:lnTo>
                  <a:lnTo>
                    <a:pt x="3096366" y="4234488"/>
                  </a:lnTo>
                  <a:lnTo>
                    <a:pt x="3079894" y="4233271"/>
                  </a:lnTo>
                  <a:lnTo>
                    <a:pt x="3073600" y="4249338"/>
                  </a:lnTo>
                  <a:lnTo>
                    <a:pt x="3052220" y="4234773"/>
                  </a:lnTo>
                  <a:lnTo>
                    <a:pt x="3058581" y="4264462"/>
                  </a:lnTo>
                  <a:lnTo>
                    <a:pt x="3019259" y="4270834"/>
                  </a:lnTo>
                  <a:lnTo>
                    <a:pt x="3065208" y="4317867"/>
                  </a:lnTo>
                  <a:lnTo>
                    <a:pt x="3037483" y="4304124"/>
                  </a:lnTo>
                  <a:lnTo>
                    <a:pt x="3014902" y="4326276"/>
                  </a:lnTo>
                  <a:lnTo>
                    <a:pt x="3050480" y="4356370"/>
                  </a:lnTo>
                  <a:lnTo>
                    <a:pt x="3073564" y="4398378"/>
                  </a:lnTo>
                  <a:lnTo>
                    <a:pt x="3064640" y="4415308"/>
                  </a:lnTo>
                  <a:lnTo>
                    <a:pt x="2974169" y="4362020"/>
                  </a:lnTo>
                  <a:lnTo>
                    <a:pt x="2924747" y="4389143"/>
                  </a:lnTo>
                  <a:lnTo>
                    <a:pt x="2927012" y="4448451"/>
                  </a:lnTo>
                  <a:lnTo>
                    <a:pt x="2882887" y="4456085"/>
                  </a:lnTo>
                  <a:lnTo>
                    <a:pt x="2811611" y="4440854"/>
                  </a:lnTo>
                  <a:lnTo>
                    <a:pt x="2811375" y="4424241"/>
                  </a:lnTo>
                  <a:lnTo>
                    <a:pt x="2805920" y="4460027"/>
                  </a:lnTo>
                  <a:lnTo>
                    <a:pt x="2837071" y="4493184"/>
                  </a:lnTo>
                  <a:lnTo>
                    <a:pt x="2816111" y="4507752"/>
                  </a:lnTo>
                  <a:lnTo>
                    <a:pt x="2855993" y="4538643"/>
                  </a:lnTo>
                  <a:lnTo>
                    <a:pt x="2847104" y="4556031"/>
                  </a:lnTo>
                  <a:lnTo>
                    <a:pt x="2885618" y="4594750"/>
                  </a:lnTo>
                  <a:lnTo>
                    <a:pt x="2888821" y="4624757"/>
                  </a:lnTo>
                  <a:lnTo>
                    <a:pt x="2877255" y="4620976"/>
                  </a:lnTo>
                  <a:lnTo>
                    <a:pt x="2832149" y="4672237"/>
                  </a:lnTo>
                  <a:lnTo>
                    <a:pt x="2735799" y="4639018"/>
                  </a:lnTo>
                  <a:lnTo>
                    <a:pt x="2717725" y="4593186"/>
                  </a:lnTo>
                  <a:lnTo>
                    <a:pt x="2673253" y="4621396"/>
                  </a:lnTo>
                  <a:lnTo>
                    <a:pt x="2644372" y="4609811"/>
                  </a:lnTo>
                  <a:lnTo>
                    <a:pt x="2654384" y="4589487"/>
                  </a:lnTo>
                  <a:lnTo>
                    <a:pt x="2601622" y="4523486"/>
                  </a:lnTo>
                  <a:lnTo>
                    <a:pt x="2616958" y="4493666"/>
                  </a:lnTo>
                  <a:lnTo>
                    <a:pt x="2605662" y="4457765"/>
                  </a:lnTo>
                  <a:lnTo>
                    <a:pt x="2583953" y="4464233"/>
                  </a:lnTo>
                  <a:lnTo>
                    <a:pt x="2558343" y="4432334"/>
                  </a:lnTo>
                  <a:lnTo>
                    <a:pt x="2538066" y="4458354"/>
                  </a:lnTo>
                  <a:lnTo>
                    <a:pt x="2514162" y="4450617"/>
                  </a:lnTo>
                  <a:lnTo>
                    <a:pt x="2508817" y="4402458"/>
                  </a:lnTo>
                  <a:lnTo>
                    <a:pt x="2467652" y="4380129"/>
                  </a:lnTo>
                  <a:lnTo>
                    <a:pt x="2459954" y="4394927"/>
                  </a:lnTo>
                  <a:lnTo>
                    <a:pt x="2453466" y="4368414"/>
                  </a:lnTo>
                  <a:lnTo>
                    <a:pt x="2340784" y="4390215"/>
                  </a:lnTo>
                  <a:lnTo>
                    <a:pt x="2313136" y="4318052"/>
                  </a:lnTo>
                  <a:lnTo>
                    <a:pt x="2324360" y="4306047"/>
                  </a:lnTo>
                  <a:lnTo>
                    <a:pt x="2297128" y="4264328"/>
                  </a:lnTo>
                  <a:lnTo>
                    <a:pt x="2268780" y="4322500"/>
                  </a:lnTo>
                  <a:lnTo>
                    <a:pt x="2243780" y="4320113"/>
                  </a:lnTo>
                  <a:lnTo>
                    <a:pt x="2243917" y="4304237"/>
                  </a:lnTo>
                  <a:lnTo>
                    <a:pt x="2274965" y="4282614"/>
                  </a:lnTo>
                  <a:lnTo>
                    <a:pt x="2261158" y="4262223"/>
                  </a:lnTo>
                  <a:lnTo>
                    <a:pt x="2265001" y="4214329"/>
                  </a:lnTo>
                  <a:lnTo>
                    <a:pt x="2244297" y="4182618"/>
                  </a:lnTo>
                  <a:lnTo>
                    <a:pt x="2256314" y="4161988"/>
                  </a:lnTo>
                  <a:lnTo>
                    <a:pt x="2246615" y="4130805"/>
                  </a:lnTo>
                  <a:lnTo>
                    <a:pt x="2181022" y="4089987"/>
                  </a:lnTo>
                  <a:lnTo>
                    <a:pt x="2197458" y="4038856"/>
                  </a:lnTo>
                  <a:lnTo>
                    <a:pt x="2150364" y="4021005"/>
                  </a:lnTo>
                  <a:lnTo>
                    <a:pt x="2112605" y="4035324"/>
                  </a:lnTo>
                  <a:lnTo>
                    <a:pt x="2118826" y="4019915"/>
                  </a:lnTo>
                  <a:lnTo>
                    <a:pt x="2090007" y="4007429"/>
                  </a:lnTo>
                  <a:lnTo>
                    <a:pt x="2109915" y="3997623"/>
                  </a:lnTo>
                  <a:lnTo>
                    <a:pt x="2107806" y="3983243"/>
                  </a:lnTo>
                  <a:lnTo>
                    <a:pt x="2079925" y="3942667"/>
                  </a:lnTo>
                  <a:lnTo>
                    <a:pt x="2072021" y="3960792"/>
                  </a:lnTo>
                  <a:lnTo>
                    <a:pt x="2052995" y="3959785"/>
                  </a:lnTo>
                  <a:lnTo>
                    <a:pt x="2053107" y="3945578"/>
                  </a:lnTo>
                  <a:lnTo>
                    <a:pt x="2032654" y="3963164"/>
                  </a:lnTo>
                  <a:lnTo>
                    <a:pt x="1991863" y="3966765"/>
                  </a:lnTo>
                  <a:lnTo>
                    <a:pt x="1939415" y="3957345"/>
                  </a:lnTo>
                  <a:lnTo>
                    <a:pt x="1908823" y="3934108"/>
                  </a:lnTo>
                  <a:lnTo>
                    <a:pt x="1886132" y="3964448"/>
                  </a:lnTo>
                  <a:lnTo>
                    <a:pt x="1816245" y="3955499"/>
                  </a:lnTo>
                  <a:lnTo>
                    <a:pt x="1801800" y="3934101"/>
                  </a:lnTo>
                  <a:lnTo>
                    <a:pt x="1761921" y="4026941"/>
                  </a:lnTo>
                  <a:lnTo>
                    <a:pt x="1704896" y="4021682"/>
                  </a:lnTo>
                  <a:lnTo>
                    <a:pt x="1695884" y="3999232"/>
                  </a:lnTo>
                  <a:lnTo>
                    <a:pt x="1714098" y="3892337"/>
                  </a:lnTo>
                  <a:lnTo>
                    <a:pt x="1676004" y="3874658"/>
                  </a:lnTo>
                  <a:lnTo>
                    <a:pt x="1688557" y="3856945"/>
                  </a:lnTo>
                  <a:lnTo>
                    <a:pt x="1665328" y="3839144"/>
                  </a:lnTo>
                  <a:lnTo>
                    <a:pt x="1675357" y="3801357"/>
                  </a:lnTo>
                  <a:lnTo>
                    <a:pt x="1675245" y="3801336"/>
                  </a:lnTo>
                  <a:lnTo>
                    <a:pt x="1665323" y="3839144"/>
                  </a:lnTo>
                  <a:lnTo>
                    <a:pt x="1688553" y="3856945"/>
                  </a:lnTo>
                  <a:lnTo>
                    <a:pt x="1676000" y="3874658"/>
                  </a:lnTo>
                  <a:lnTo>
                    <a:pt x="1690809" y="3887275"/>
                  </a:lnTo>
                  <a:lnTo>
                    <a:pt x="1658481" y="3896568"/>
                  </a:lnTo>
                  <a:lnTo>
                    <a:pt x="1655032" y="3914179"/>
                  </a:lnTo>
                  <a:lnTo>
                    <a:pt x="1595830" y="3910510"/>
                  </a:lnTo>
                  <a:lnTo>
                    <a:pt x="1532172" y="3960306"/>
                  </a:lnTo>
                  <a:lnTo>
                    <a:pt x="1523890" y="4006033"/>
                  </a:lnTo>
                  <a:lnTo>
                    <a:pt x="1450044" y="4023886"/>
                  </a:lnTo>
                  <a:lnTo>
                    <a:pt x="1450044" y="4023884"/>
                  </a:lnTo>
                  <a:lnTo>
                    <a:pt x="1450044" y="4023886"/>
                  </a:lnTo>
                  <a:lnTo>
                    <a:pt x="1413618" y="4042006"/>
                  </a:lnTo>
                  <a:lnTo>
                    <a:pt x="1443550" y="4105654"/>
                  </a:lnTo>
                  <a:lnTo>
                    <a:pt x="1423669" y="4122470"/>
                  </a:lnTo>
                  <a:lnTo>
                    <a:pt x="1430434" y="4132959"/>
                  </a:lnTo>
                  <a:lnTo>
                    <a:pt x="1408185" y="4132165"/>
                  </a:lnTo>
                  <a:lnTo>
                    <a:pt x="1394637" y="4168470"/>
                  </a:lnTo>
                  <a:lnTo>
                    <a:pt x="1400299" y="4191219"/>
                  </a:lnTo>
                  <a:lnTo>
                    <a:pt x="1418981" y="4176187"/>
                  </a:lnTo>
                  <a:lnTo>
                    <a:pt x="1464584" y="4235568"/>
                  </a:lnTo>
                  <a:lnTo>
                    <a:pt x="1460398" y="4302967"/>
                  </a:lnTo>
                  <a:lnTo>
                    <a:pt x="1432557" y="4414011"/>
                  </a:lnTo>
                  <a:lnTo>
                    <a:pt x="1403188" y="4403671"/>
                  </a:lnTo>
                  <a:lnTo>
                    <a:pt x="1392934" y="4381007"/>
                  </a:lnTo>
                  <a:lnTo>
                    <a:pt x="1373538" y="4404344"/>
                  </a:lnTo>
                  <a:lnTo>
                    <a:pt x="1404165" y="4465856"/>
                  </a:lnTo>
                  <a:lnTo>
                    <a:pt x="1404290" y="4548920"/>
                  </a:lnTo>
                  <a:lnTo>
                    <a:pt x="1325531" y="4542842"/>
                  </a:lnTo>
                  <a:lnTo>
                    <a:pt x="1283659" y="4556724"/>
                  </a:lnTo>
                  <a:lnTo>
                    <a:pt x="1232944" y="4509468"/>
                  </a:lnTo>
                  <a:lnTo>
                    <a:pt x="1188559" y="4507337"/>
                  </a:lnTo>
                  <a:lnTo>
                    <a:pt x="1171497" y="4462193"/>
                  </a:lnTo>
                  <a:lnTo>
                    <a:pt x="1179221" y="4500025"/>
                  </a:lnTo>
                  <a:lnTo>
                    <a:pt x="1156129" y="4490512"/>
                  </a:lnTo>
                  <a:lnTo>
                    <a:pt x="1078090" y="4521650"/>
                  </a:lnTo>
                  <a:lnTo>
                    <a:pt x="1078091" y="4521651"/>
                  </a:lnTo>
                  <a:lnTo>
                    <a:pt x="1078086" y="4521652"/>
                  </a:lnTo>
                  <a:lnTo>
                    <a:pt x="1078085" y="4521652"/>
                  </a:lnTo>
                  <a:lnTo>
                    <a:pt x="1078085" y="4521652"/>
                  </a:lnTo>
                  <a:lnTo>
                    <a:pt x="1055444" y="4524691"/>
                  </a:lnTo>
                  <a:lnTo>
                    <a:pt x="1094768" y="4542355"/>
                  </a:lnTo>
                  <a:lnTo>
                    <a:pt x="1104888" y="4573151"/>
                  </a:lnTo>
                  <a:lnTo>
                    <a:pt x="1086329" y="4602103"/>
                  </a:lnTo>
                  <a:lnTo>
                    <a:pt x="1054527" y="4608017"/>
                  </a:lnTo>
                  <a:lnTo>
                    <a:pt x="1078142" y="4641468"/>
                  </a:lnTo>
                  <a:lnTo>
                    <a:pt x="1069571" y="4671955"/>
                  </a:lnTo>
                  <a:lnTo>
                    <a:pt x="1008902" y="4687800"/>
                  </a:lnTo>
                  <a:lnTo>
                    <a:pt x="950538" y="4739570"/>
                  </a:lnTo>
                  <a:lnTo>
                    <a:pt x="915533" y="4957934"/>
                  </a:lnTo>
                  <a:lnTo>
                    <a:pt x="841675" y="4964361"/>
                  </a:lnTo>
                  <a:lnTo>
                    <a:pt x="803616" y="4950725"/>
                  </a:lnTo>
                  <a:lnTo>
                    <a:pt x="756227" y="4967505"/>
                  </a:lnTo>
                  <a:lnTo>
                    <a:pt x="717573" y="4918078"/>
                  </a:lnTo>
                  <a:lnTo>
                    <a:pt x="727780" y="4803376"/>
                  </a:lnTo>
                  <a:lnTo>
                    <a:pt x="706484" y="4795767"/>
                  </a:lnTo>
                  <a:lnTo>
                    <a:pt x="668233" y="4669592"/>
                  </a:lnTo>
                  <a:lnTo>
                    <a:pt x="712249" y="4652718"/>
                  </a:lnTo>
                  <a:lnTo>
                    <a:pt x="715144" y="4652954"/>
                  </a:lnTo>
                  <a:lnTo>
                    <a:pt x="679845" y="4613346"/>
                  </a:lnTo>
                  <a:lnTo>
                    <a:pt x="679604" y="4571433"/>
                  </a:lnTo>
                  <a:lnTo>
                    <a:pt x="714021" y="4563571"/>
                  </a:lnTo>
                  <a:lnTo>
                    <a:pt x="762354" y="4500131"/>
                  </a:lnTo>
                  <a:lnTo>
                    <a:pt x="762354" y="4500130"/>
                  </a:lnTo>
                  <a:lnTo>
                    <a:pt x="714020" y="4563571"/>
                  </a:lnTo>
                  <a:lnTo>
                    <a:pt x="675994" y="4571386"/>
                  </a:lnTo>
                  <a:lnTo>
                    <a:pt x="667042" y="4551193"/>
                  </a:lnTo>
                  <a:lnTo>
                    <a:pt x="647619" y="4560655"/>
                  </a:lnTo>
                  <a:lnTo>
                    <a:pt x="664643" y="4512063"/>
                  </a:lnTo>
                  <a:lnTo>
                    <a:pt x="649639" y="4532917"/>
                  </a:lnTo>
                  <a:lnTo>
                    <a:pt x="617316" y="4506527"/>
                  </a:lnTo>
                  <a:lnTo>
                    <a:pt x="569367" y="4496387"/>
                  </a:lnTo>
                  <a:lnTo>
                    <a:pt x="558641" y="4466505"/>
                  </a:lnTo>
                  <a:lnTo>
                    <a:pt x="578329" y="4461688"/>
                  </a:lnTo>
                  <a:lnTo>
                    <a:pt x="562957" y="4411100"/>
                  </a:lnTo>
                  <a:lnTo>
                    <a:pt x="582094" y="4420676"/>
                  </a:lnTo>
                  <a:lnTo>
                    <a:pt x="645398" y="4400974"/>
                  </a:lnTo>
                  <a:lnTo>
                    <a:pt x="646876" y="4427322"/>
                  </a:lnTo>
                  <a:lnTo>
                    <a:pt x="679533" y="4412009"/>
                  </a:lnTo>
                  <a:lnTo>
                    <a:pt x="679533" y="4412008"/>
                  </a:lnTo>
                  <a:lnTo>
                    <a:pt x="646876" y="4427321"/>
                  </a:lnTo>
                  <a:lnTo>
                    <a:pt x="645398" y="4400973"/>
                  </a:lnTo>
                  <a:lnTo>
                    <a:pt x="582094" y="4420675"/>
                  </a:lnTo>
                  <a:lnTo>
                    <a:pt x="557090" y="4406487"/>
                  </a:lnTo>
                  <a:lnTo>
                    <a:pt x="554240" y="4344972"/>
                  </a:lnTo>
                  <a:lnTo>
                    <a:pt x="531659" y="4324280"/>
                  </a:lnTo>
                  <a:lnTo>
                    <a:pt x="528520" y="4284624"/>
                  </a:lnTo>
                  <a:lnTo>
                    <a:pt x="568507" y="4255963"/>
                  </a:lnTo>
                  <a:lnTo>
                    <a:pt x="516009" y="4287463"/>
                  </a:lnTo>
                  <a:lnTo>
                    <a:pt x="459834" y="4225977"/>
                  </a:lnTo>
                  <a:lnTo>
                    <a:pt x="458979" y="4191542"/>
                  </a:lnTo>
                  <a:lnTo>
                    <a:pt x="431165" y="4148359"/>
                  </a:lnTo>
                  <a:lnTo>
                    <a:pt x="426571" y="4116197"/>
                  </a:lnTo>
                  <a:lnTo>
                    <a:pt x="444861" y="4094063"/>
                  </a:lnTo>
                  <a:lnTo>
                    <a:pt x="444862" y="4094063"/>
                  </a:lnTo>
                  <a:lnTo>
                    <a:pt x="499701" y="4084981"/>
                  </a:lnTo>
                  <a:lnTo>
                    <a:pt x="510998" y="4068228"/>
                  </a:lnTo>
                  <a:lnTo>
                    <a:pt x="510997" y="4068222"/>
                  </a:lnTo>
                  <a:lnTo>
                    <a:pt x="499697" y="4084981"/>
                  </a:lnTo>
                  <a:lnTo>
                    <a:pt x="444857" y="4094062"/>
                  </a:lnTo>
                  <a:lnTo>
                    <a:pt x="426241" y="4116069"/>
                  </a:lnTo>
                  <a:lnTo>
                    <a:pt x="384518" y="4060039"/>
                  </a:lnTo>
                  <a:lnTo>
                    <a:pt x="324421" y="4070902"/>
                  </a:lnTo>
                  <a:lnTo>
                    <a:pt x="340650" y="3876064"/>
                  </a:lnTo>
                  <a:lnTo>
                    <a:pt x="300109" y="3721235"/>
                  </a:lnTo>
                  <a:lnTo>
                    <a:pt x="315676" y="3666041"/>
                  </a:lnTo>
                  <a:lnTo>
                    <a:pt x="297940" y="3619561"/>
                  </a:lnTo>
                  <a:lnTo>
                    <a:pt x="297940" y="3619561"/>
                  </a:lnTo>
                  <a:lnTo>
                    <a:pt x="259041" y="3599843"/>
                  </a:lnTo>
                  <a:lnTo>
                    <a:pt x="219920" y="3542071"/>
                  </a:lnTo>
                  <a:lnTo>
                    <a:pt x="157895" y="3525196"/>
                  </a:lnTo>
                  <a:lnTo>
                    <a:pt x="126650" y="3486672"/>
                  </a:lnTo>
                  <a:lnTo>
                    <a:pt x="49113" y="3474122"/>
                  </a:lnTo>
                  <a:lnTo>
                    <a:pt x="9931" y="3432458"/>
                  </a:lnTo>
                  <a:lnTo>
                    <a:pt x="37398" y="3416283"/>
                  </a:lnTo>
                  <a:lnTo>
                    <a:pt x="7994" y="3428395"/>
                  </a:lnTo>
                  <a:lnTo>
                    <a:pt x="0" y="3376271"/>
                  </a:lnTo>
                  <a:lnTo>
                    <a:pt x="17122" y="3338078"/>
                  </a:lnTo>
                  <a:lnTo>
                    <a:pt x="76754" y="3323758"/>
                  </a:lnTo>
                  <a:lnTo>
                    <a:pt x="81271" y="3363096"/>
                  </a:lnTo>
                  <a:lnTo>
                    <a:pt x="73765" y="3262728"/>
                  </a:lnTo>
                  <a:lnTo>
                    <a:pt x="46625" y="3218215"/>
                  </a:lnTo>
                  <a:lnTo>
                    <a:pt x="65480" y="3183577"/>
                  </a:lnTo>
                  <a:lnTo>
                    <a:pt x="98670" y="3176788"/>
                  </a:lnTo>
                  <a:lnTo>
                    <a:pt x="156311" y="3196967"/>
                  </a:lnTo>
                  <a:lnTo>
                    <a:pt x="228399" y="3248741"/>
                  </a:lnTo>
                  <a:lnTo>
                    <a:pt x="228402" y="3248740"/>
                  </a:lnTo>
                  <a:lnTo>
                    <a:pt x="188938" y="3220396"/>
                  </a:lnTo>
                  <a:lnTo>
                    <a:pt x="156573" y="3191078"/>
                  </a:lnTo>
                  <a:lnTo>
                    <a:pt x="159924" y="3113929"/>
                  </a:lnTo>
                  <a:lnTo>
                    <a:pt x="113740" y="3077748"/>
                  </a:lnTo>
                  <a:lnTo>
                    <a:pt x="135329" y="3066817"/>
                  </a:lnTo>
                  <a:lnTo>
                    <a:pt x="115741" y="3031364"/>
                  </a:lnTo>
                  <a:lnTo>
                    <a:pt x="164043" y="3014121"/>
                  </a:lnTo>
                  <a:lnTo>
                    <a:pt x="162048" y="3022320"/>
                  </a:lnTo>
                  <a:lnTo>
                    <a:pt x="167171" y="3054086"/>
                  </a:lnTo>
                  <a:lnTo>
                    <a:pt x="192727" y="3038428"/>
                  </a:lnTo>
                  <a:lnTo>
                    <a:pt x="222672" y="3053936"/>
                  </a:lnTo>
                  <a:lnTo>
                    <a:pt x="231454" y="3064244"/>
                  </a:lnTo>
                  <a:lnTo>
                    <a:pt x="245702" y="3063974"/>
                  </a:lnTo>
                  <a:lnTo>
                    <a:pt x="249331" y="3074283"/>
                  </a:lnTo>
                  <a:lnTo>
                    <a:pt x="258593" y="3075151"/>
                  </a:lnTo>
                  <a:lnTo>
                    <a:pt x="263639" y="3083139"/>
                  </a:lnTo>
                  <a:lnTo>
                    <a:pt x="273456" y="3087221"/>
                  </a:lnTo>
                  <a:lnTo>
                    <a:pt x="287777" y="3114680"/>
                  </a:lnTo>
                  <a:lnTo>
                    <a:pt x="315178" y="3110502"/>
                  </a:lnTo>
                  <a:lnTo>
                    <a:pt x="325869" y="3116840"/>
                  </a:lnTo>
                  <a:lnTo>
                    <a:pt x="326550" y="3095212"/>
                  </a:lnTo>
                  <a:lnTo>
                    <a:pt x="341090" y="3090470"/>
                  </a:lnTo>
                  <a:lnTo>
                    <a:pt x="355759" y="3102313"/>
                  </a:lnTo>
                  <a:lnTo>
                    <a:pt x="371545" y="3090656"/>
                  </a:lnTo>
                  <a:lnTo>
                    <a:pt x="373658" y="3073213"/>
                  </a:lnTo>
                  <a:lnTo>
                    <a:pt x="381755" y="3070732"/>
                  </a:lnTo>
                  <a:lnTo>
                    <a:pt x="381379" y="3079127"/>
                  </a:lnTo>
                  <a:lnTo>
                    <a:pt x="401737" y="3061077"/>
                  </a:lnTo>
                  <a:lnTo>
                    <a:pt x="406413" y="3092357"/>
                  </a:lnTo>
                  <a:lnTo>
                    <a:pt x="426781" y="3099601"/>
                  </a:lnTo>
                  <a:lnTo>
                    <a:pt x="430833" y="3105815"/>
                  </a:lnTo>
                  <a:lnTo>
                    <a:pt x="426334" y="3117046"/>
                  </a:lnTo>
                  <a:lnTo>
                    <a:pt x="446591" y="3143768"/>
                  </a:lnTo>
                  <a:lnTo>
                    <a:pt x="449330" y="3164711"/>
                  </a:lnTo>
                  <a:lnTo>
                    <a:pt x="439945" y="3178838"/>
                  </a:lnTo>
                  <a:lnTo>
                    <a:pt x="456254" y="3172386"/>
                  </a:lnTo>
                  <a:lnTo>
                    <a:pt x="511378" y="3222617"/>
                  </a:lnTo>
                  <a:lnTo>
                    <a:pt x="510910" y="3212113"/>
                  </a:lnTo>
                  <a:lnTo>
                    <a:pt x="534782" y="3199479"/>
                  </a:lnTo>
                  <a:lnTo>
                    <a:pt x="534506" y="3190934"/>
                  </a:lnTo>
                  <a:lnTo>
                    <a:pt x="539588" y="3186145"/>
                  </a:lnTo>
                  <a:lnTo>
                    <a:pt x="542419" y="3171779"/>
                  </a:lnTo>
                  <a:lnTo>
                    <a:pt x="555449" y="3172234"/>
                  </a:lnTo>
                  <a:lnTo>
                    <a:pt x="559285" y="3156582"/>
                  </a:lnTo>
                  <a:lnTo>
                    <a:pt x="574337" y="3146382"/>
                  </a:lnTo>
                  <a:lnTo>
                    <a:pt x="586389" y="3163169"/>
                  </a:lnTo>
                  <a:lnTo>
                    <a:pt x="605909" y="3187254"/>
                  </a:lnTo>
                  <a:lnTo>
                    <a:pt x="617833" y="3216832"/>
                  </a:lnTo>
                  <a:lnTo>
                    <a:pt x="627262" y="3218103"/>
                  </a:lnTo>
                  <a:lnTo>
                    <a:pt x="635167" y="3233613"/>
                  </a:lnTo>
                  <a:lnTo>
                    <a:pt x="643079" y="3246642"/>
                  </a:lnTo>
                  <a:lnTo>
                    <a:pt x="652103" y="3256885"/>
                  </a:lnTo>
                  <a:lnTo>
                    <a:pt x="650307" y="3269430"/>
                  </a:lnTo>
                  <a:lnTo>
                    <a:pt x="639598" y="3281399"/>
                  </a:lnTo>
                  <a:lnTo>
                    <a:pt x="634418" y="3292846"/>
                  </a:lnTo>
                  <a:lnTo>
                    <a:pt x="629224" y="3298829"/>
                  </a:lnTo>
                  <a:lnTo>
                    <a:pt x="639436" y="3304131"/>
                  </a:lnTo>
                  <a:lnTo>
                    <a:pt x="638222" y="3314969"/>
                  </a:lnTo>
                  <a:lnTo>
                    <a:pt x="648711" y="3331033"/>
                  </a:lnTo>
                  <a:lnTo>
                    <a:pt x="669515" y="3342894"/>
                  </a:lnTo>
                  <a:lnTo>
                    <a:pt x="669029" y="3345272"/>
                  </a:lnTo>
                  <a:lnTo>
                    <a:pt x="669515" y="3342894"/>
                  </a:lnTo>
                  <a:lnTo>
                    <a:pt x="676501" y="3346743"/>
                  </a:lnTo>
                  <a:lnTo>
                    <a:pt x="678456" y="3340704"/>
                  </a:lnTo>
                  <a:lnTo>
                    <a:pt x="689189" y="3327520"/>
                  </a:lnTo>
                  <a:lnTo>
                    <a:pt x="697949" y="3331432"/>
                  </a:lnTo>
                  <a:lnTo>
                    <a:pt x="703901" y="3350932"/>
                  </a:lnTo>
                  <a:lnTo>
                    <a:pt x="709740" y="3352491"/>
                  </a:lnTo>
                  <a:lnTo>
                    <a:pt x="720811" y="3339791"/>
                  </a:lnTo>
                  <a:lnTo>
                    <a:pt x="727254" y="3344415"/>
                  </a:lnTo>
                  <a:lnTo>
                    <a:pt x="737096" y="3331819"/>
                  </a:lnTo>
                  <a:lnTo>
                    <a:pt x="731992" y="3321071"/>
                  </a:lnTo>
                  <a:lnTo>
                    <a:pt x="747799" y="3310846"/>
                  </a:lnTo>
                  <a:lnTo>
                    <a:pt x="761322" y="3309318"/>
                  </a:lnTo>
                  <a:lnTo>
                    <a:pt x="761322" y="3309320"/>
                  </a:lnTo>
                  <a:lnTo>
                    <a:pt x="761322" y="3309318"/>
                  </a:lnTo>
                  <a:lnTo>
                    <a:pt x="761322" y="3309318"/>
                  </a:lnTo>
                  <a:lnTo>
                    <a:pt x="757030" y="3291797"/>
                  </a:lnTo>
                  <a:lnTo>
                    <a:pt x="768239" y="3280888"/>
                  </a:lnTo>
                  <a:lnTo>
                    <a:pt x="772444" y="3272834"/>
                  </a:lnTo>
                  <a:lnTo>
                    <a:pt x="776907" y="3268711"/>
                  </a:lnTo>
                  <a:lnTo>
                    <a:pt x="780702" y="3276129"/>
                  </a:lnTo>
                  <a:lnTo>
                    <a:pt x="780920" y="3282067"/>
                  </a:lnTo>
                  <a:lnTo>
                    <a:pt x="786126" y="3279567"/>
                  </a:lnTo>
                  <a:lnTo>
                    <a:pt x="789544" y="3285446"/>
                  </a:lnTo>
                  <a:lnTo>
                    <a:pt x="794647" y="3290731"/>
                  </a:lnTo>
                  <a:lnTo>
                    <a:pt x="800053" y="3293201"/>
                  </a:lnTo>
                  <a:lnTo>
                    <a:pt x="807830" y="3291855"/>
                  </a:lnTo>
                  <a:lnTo>
                    <a:pt x="809178" y="3302744"/>
                  </a:lnTo>
                  <a:lnTo>
                    <a:pt x="814453" y="3297600"/>
                  </a:lnTo>
                  <a:lnTo>
                    <a:pt x="822218" y="3296965"/>
                  </a:lnTo>
                  <a:lnTo>
                    <a:pt x="829686" y="3301729"/>
                  </a:lnTo>
                  <a:lnTo>
                    <a:pt x="833161" y="3294599"/>
                  </a:lnTo>
                  <a:lnTo>
                    <a:pt x="851324" y="3295216"/>
                  </a:lnTo>
                  <a:lnTo>
                    <a:pt x="856738" y="3298876"/>
                  </a:lnTo>
                  <a:lnTo>
                    <a:pt x="861234" y="3294853"/>
                  </a:lnTo>
                  <a:lnTo>
                    <a:pt x="869696" y="3299589"/>
                  </a:lnTo>
                  <a:lnTo>
                    <a:pt x="871716" y="3285802"/>
                  </a:lnTo>
                  <a:lnTo>
                    <a:pt x="881105" y="3291436"/>
                  </a:lnTo>
                  <a:lnTo>
                    <a:pt x="891647" y="3306187"/>
                  </a:lnTo>
                  <a:lnTo>
                    <a:pt x="901114" y="3308294"/>
                  </a:lnTo>
                  <a:lnTo>
                    <a:pt x="900394" y="3315843"/>
                  </a:lnTo>
                  <a:lnTo>
                    <a:pt x="900393" y="3315844"/>
                  </a:lnTo>
                  <a:lnTo>
                    <a:pt x="906136" y="3316138"/>
                  </a:lnTo>
                  <a:lnTo>
                    <a:pt x="904507" y="3306694"/>
                  </a:lnTo>
                  <a:lnTo>
                    <a:pt x="917354" y="3301442"/>
                  </a:lnTo>
                  <a:lnTo>
                    <a:pt x="917042" y="3291632"/>
                  </a:lnTo>
                  <a:lnTo>
                    <a:pt x="922796" y="3284617"/>
                  </a:lnTo>
                  <a:lnTo>
                    <a:pt x="925704" y="3284249"/>
                  </a:lnTo>
                  <a:lnTo>
                    <a:pt x="929854" y="3285072"/>
                  </a:lnTo>
                  <a:lnTo>
                    <a:pt x="929856" y="3285072"/>
                  </a:lnTo>
                  <a:lnTo>
                    <a:pt x="932521" y="3285391"/>
                  </a:lnTo>
                  <a:lnTo>
                    <a:pt x="932784" y="3284337"/>
                  </a:lnTo>
                  <a:lnTo>
                    <a:pt x="932767" y="3283322"/>
                  </a:lnTo>
                  <a:lnTo>
                    <a:pt x="932921" y="3282483"/>
                  </a:lnTo>
                  <a:lnTo>
                    <a:pt x="933848" y="3281918"/>
                  </a:lnTo>
                  <a:lnTo>
                    <a:pt x="935791" y="3282223"/>
                  </a:lnTo>
                  <a:lnTo>
                    <a:pt x="936721" y="3283954"/>
                  </a:lnTo>
                  <a:lnTo>
                    <a:pt x="937106" y="3285613"/>
                  </a:lnTo>
                  <a:lnTo>
                    <a:pt x="939139" y="3286358"/>
                  </a:lnTo>
                  <a:lnTo>
                    <a:pt x="940862" y="3285803"/>
                  </a:lnTo>
                  <a:lnTo>
                    <a:pt x="943380" y="3283379"/>
                  </a:lnTo>
                  <a:lnTo>
                    <a:pt x="945642" y="3281618"/>
                  </a:lnTo>
                  <a:lnTo>
                    <a:pt x="949420" y="3280267"/>
                  </a:lnTo>
                  <a:lnTo>
                    <a:pt x="956599" y="3283656"/>
                  </a:lnTo>
                  <a:lnTo>
                    <a:pt x="957271" y="3275669"/>
                  </a:lnTo>
                  <a:lnTo>
                    <a:pt x="956229" y="3269039"/>
                  </a:lnTo>
                  <a:lnTo>
                    <a:pt x="962704" y="3267530"/>
                  </a:lnTo>
                  <a:lnTo>
                    <a:pt x="969493" y="3269617"/>
                  </a:lnTo>
                  <a:lnTo>
                    <a:pt x="972508" y="3261181"/>
                  </a:lnTo>
                  <a:lnTo>
                    <a:pt x="979816" y="3257710"/>
                  </a:lnTo>
                  <a:lnTo>
                    <a:pt x="990214" y="3239478"/>
                  </a:lnTo>
                  <a:cubicBezTo>
                    <a:pt x="983526" y="3253286"/>
                    <a:pt x="984079" y="3255395"/>
                    <a:pt x="989276" y="3254967"/>
                  </a:cubicBezTo>
                  <a:lnTo>
                    <a:pt x="991327" y="3254705"/>
                  </a:lnTo>
                  <a:lnTo>
                    <a:pt x="1000230" y="3253568"/>
                  </a:lnTo>
                  <a:cubicBezTo>
                    <a:pt x="1004827" y="3253230"/>
                    <a:pt x="1010261" y="3253403"/>
                    <a:pt x="1016207" y="3255233"/>
                  </a:cubicBezTo>
                  <a:lnTo>
                    <a:pt x="1033467" y="3256631"/>
                  </a:lnTo>
                  <a:lnTo>
                    <a:pt x="1035032" y="3261383"/>
                  </a:lnTo>
                  <a:lnTo>
                    <a:pt x="1035707" y="3256687"/>
                  </a:lnTo>
                  <a:lnTo>
                    <a:pt x="993184" y="3251173"/>
                  </a:lnTo>
                  <a:lnTo>
                    <a:pt x="1027990" y="3155645"/>
                  </a:lnTo>
                  <a:lnTo>
                    <a:pt x="947226" y="3114671"/>
                  </a:lnTo>
                  <a:lnTo>
                    <a:pt x="941220" y="3048485"/>
                  </a:lnTo>
                  <a:lnTo>
                    <a:pt x="901459" y="3021444"/>
                  </a:lnTo>
                  <a:lnTo>
                    <a:pt x="915637" y="2981394"/>
                  </a:lnTo>
                  <a:lnTo>
                    <a:pt x="945906" y="2970446"/>
                  </a:lnTo>
                  <a:lnTo>
                    <a:pt x="957373" y="2941707"/>
                  </a:lnTo>
                  <a:lnTo>
                    <a:pt x="963927" y="2950687"/>
                  </a:lnTo>
                  <a:lnTo>
                    <a:pt x="962350" y="2941001"/>
                  </a:lnTo>
                  <a:lnTo>
                    <a:pt x="975215" y="2934251"/>
                  </a:lnTo>
                  <a:lnTo>
                    <a:pt x="963764" y="2915068"/>
                  </a:lnTo>
                  <a:lnTo>
                    <a:pt x="981461" y="2902039"/>
                  </a:lnTo>
                  <a:lnTo>
                    <a:pt x="955190" y="2881117"/>
                  </a:lnTo>
                  <a:lnTo>
                    <a:pt x="933369" y="2826254"/>
                  </a:lnTo>
                  <a:lnTo>
                    <a:pt x="969800" y="2808721"/>
                  </a:lnTo>
                  <a:lnTo>
                    <a:pt x="975151" y="2777655"/>
                  </a:lnTo>
                  <a:lnTo>
                    <a:pt x="1003283" y="2799145"/>
                  </a:lnTo>
                  <a:lnTo>
                    <a:pt x="1014886" y="2784745"/>
                  </a:lnTo>
                  <a:lnTo>
                    <a:pt x="1047868" y="2692000"/>
                  </a:lnTo>
                  <a:lnTo>
                    <a:pt x="1026334" y="2679186"/>
                  </a:lnTo>
                  <a:lnTo>
                    <a:pt x="1015628" y="2643444"/>
                  </a:lnTo>
                  <a:lnTo>
                    <a:pt x="982056" y="2632114"/>
                  </a:lnTo>
                  <a:lnTo>
                    <a:pt x="966071" y="2584058"/>
                  </a:lnTo>
                  <a:lnTo>
                    <a:pt x="939861" y="2600253"/>
                  </a:lnTo>
                  <a:lnTo>
                    <a:pt x="903730" y="2573949"/>
                  </a:lnTo>
                  <a:lnTo>
                    <a:pt x="921377" y="2523527"/>
                  </a:lnTo>
                  <a:lnTo>
                    <a:pt x="982695" y="2482306"/>
                  </a:lnTo>
                  <a:lnTo>
                    <a:pt x="994763" y="2435134"/>
                  </a:lnTo>
                  <a:lnTo>
                    <a:pt x="1027077" y="2431551"/>
                  </a:lnTo>
                  <a:lnTo>
                    <a:pt x="1041337" y="2447350"/>
                  </a:lnTo>
                  <a:lnTo>
                    <a:pt x="1038289" y="2483919"/>
                  </a:lnTo>
                  <a:lnTo>
                    <a:pt x="1063420" y="2508250"/>
                  </a:lnTo>
                  <a:lnTo>
                    <a:pt x="1133559" y="2525010"/>
                  </a:lnTo>
                  <a:lnTo>
                    <a:pt x="1139538" y="2523947"/>
                  </a:lnTo>
                  <a:lnTo>
                    <a:pt x="1131432" y="2523877"/>
                  </a:lnTo>
                  <a:lnTo>
                    <a:pt x="1126678" y="2484288"/>
                  </a:lnTo>
                  <a:lnTo>
                    <a:pt x="1149948" y="2466213"/>
                  </a:lnTo>
                  <a:lnTo>
                    <a:pt x="1121141" y="2408099"/>
                  </a:lnTo>
                  <a:lnTo>
                    <a:pt x="1161260" y="2396059"/>
                  </a:lnTo>
                  <a:lnTo>
                    <a:pt x="1156408" y="2335531"/>
                  </a:lnTo>
                  <a:lnTo>
                    <a:pt x="1179187" y="2294982"/>
                  </a:lnTo>
                  <a:lnTo>
                    <a:pt x="1204041" y="2290415"/>
                  </a:lnTo>
                  <a:lnTo>
                    <a:pt x="1201602" y="2244283"/>
                  </a:lnTo>
                  <a:lnTo>
                    <a:pt x="1248062" y="2243123"/>
                  </a:lnTo>
                  <a:lnTo>
                    <a:pt x="1270847" y="2205841"/>
                  </a:lnTo>
                  <a:lnTo>
                    <a:pt x="1339391" y="2183622"/>
                  </a:lnTo>
                  <a:lnTo>
                    <a:pt x="1339398" y="2183640"/>
                  </a:lnTo>
                  <a:lnTo>
                    <a:pt x="1339392" y="2183622"/>
                  </a:lnTo>
                  <a:lnTo>
                    <a:pt x="1304377" y="2179651"/>
                  </a:lnTo>
                  <a:lnTo>
                    <a:pt x="1319011" y="2141757"/>
                  </a:lnTo>
                  <a:lnTo>
                    <a:pt x="1312936" y="2110182"/>
                  </a:lnTo>
                  <a:lnTo>
                    <a:pt x="1259232" y="2077040"/>
                  </a:lnTo>
                  <a:lnTo>
                    <a:pt x="1259288" y="2060724"/>
                  </a:lnTo>
                  <a:lnTo>
                    <a:pt x="1289985" y="2047877"/>
                  </a:lnTo>
                  <a:lnTo>
                    <a:pt x="1283145" y="2017881"/>
                  </a:lnTo>
                  <a:lnTo>
                    <a:pt x="1261368" y="2006188"/>
                  </a:lnTo>
                  <a:lnTo>
                    <a:pt x="1273297" y="1981646"/>
                  </a:lnTo>
                  <a:lnTo>
                    <a:pt x="1251457" y="1951115"/>
                  </a:lnTo>
                  <a:lnTo>
                    <a:pt x="1339007" y="1870783"/>
                  </a:lnTo>
                  <a:lnTo>
                    <a:pt x="1325684" y="1848188"/>
                  </a:lnTo>
                  <a:lnTo>
                    <a:pt x="1396599" y="1826203"/>
                  </a:lnTo>
                  <a:lnTo>
                    <a:pt x="1410950" y="1764146"/>
                  </a:lnTo>
                  <a:lnTo>
                    <a:pt x="1410956" y="1764146"/>
                  </a:lnTo>
                  <a:lnTo>
                    <a:pt x="1453054" y="1760850"/>
                  </a:lnTo>
                  <a:lnTo>
                    <a:pt x="1473575" y="1775244"/>
                  </a:lnTo>
                  <a:lnTo>
                    <a:pt x="1504729" y="1725323"/>
                  </a:lnTo>
                  <a:lnTo>
                    <a:pt x="1574653" y="1671310"/>
                  </a:lnTo>
                  <a:lnTo>
                    <a:pt x="1620235" y="1688101"/>
                  </a:lnTo>
                  <a:lnTo>
                    <a:pt x="1615830" y="1682425"/>
                  </a:lnTo>
                  <a:lnTo>
                    <a:pt x="1690927" y="1679394"/>
                  </a:lnTo>
                  <a:lnTo>
                    <a:pt x="1701502" y="1642166"/>
                  </a:lnTo>
                  <a:lnTo>
                    <a:pt x="1670354" y="1574324"/>
                  </a:lnTo>
                  <a:lnTo>
                    <a:pt x="1693111" y="1518165"/>
                  </a:lnTo>
                  <a:lnTo>
                    <a:pt x="1693111" y="1518166"/>
                  </a:lnTo>
                  <a:lnTo>
                    <a:pt x="1790461" y="1566527"/>
                  </a:lnTo>
                  <a:lnTo>
                    <a:pt x="1838773" y="1561204"/>
                  </a:lnTo>
                  <a:lnTo>
                    <a:pt x="1991830" y="1594537"/>
                  </a:lnTo>
                  <a:lnTo>
                    <a:pt x="1983007" y="1624727"/>
                  </a:lnTo>
                  <a:lnTo>
                    <a:pt x="2018054" y="1699753"/>
                  </a:lnTo>
                  <a:lnTo>
                    <a:pt x="2058863" y="1878011"/>
                  </a:lnTo>
                  <a:lnTo>
                    <a:pt x="2058864" y="1878011"/>
                  </a:lnTo>
                  <a:lnTo>
                    <a:pt x="2018056" y="1699754"/>
                  </a:lnTo>
                  <a:lnTo>
                    <a:pt x="1983009" y="1624727"/>
                  </a:lnTo>
                  <a:lnTo>
                    <a:pt x="1991832" y="1594537"/>
                  </a:lnTo>
                  <a:lnTo>
                    <a:pt x="2212282" y="1614941"/>
                  </a:lnTo>
                  <a:lnTo>
                    <a:pt x="2289191" y="1600042"/>
                  </a:lnTo>
                  <a:lnTo>
                    <a:pt x="2315368" y="1552886"/>
                  </a:lnTo>
                  <a:lnTo>
                    <a:pt x="2337012" y="1432193"/>
                  </a:lnTo>
                  <a:lnTo>
                    <a:pt x="2356379" y="1443686"/>
                  </a:lnTo>
                  <a:lnTo>
                    <a:pt x="2407989" y="1434154"/>
                  </a:lnTo>
                  <a:lnTo>
                    <a:pt x="2424259" y="1382114"/>
                  </a:lnTo>
                  <a:lnTo>
                    <a:pt x="2474579" y="1353045"/>
                  </a:lnTo>
                  <a:lnTo>
                    <a:pt x="2464011" y="1332066"/>
                  </a:lnTo>
                  <a:lnTo>
                    <a:pt x="2477451" y="1313209"/>
                  </a:lnTo>
                  <a:lnTo>
                    <a:pt x="2495679" y="1302818"/>
                  </a:lnTo>
                  <a:lnTo>
                    <a:pt x="2511099" y="1314460"/>
                  </a:lnTo>
                  <a:lnTo>
                    <a:pt x="2520924" y="1284985"/>
                  </a:lnTo>
                  <a:lnTo>
                    <a:pt x="2569668" y="1274399"/>
                  </a:lnTo>
                  <a:lnTo>
                    <a:pt x="2574736" y="1260150"/>
                  </a:lnTo>
                  <a:lnTo>
                    <a:pt x="2593590" y="1280346"/>
                  </a:lnTo>
                  <a:lnTo>
                    <a:pt x="2696100" y="1152885"/>
                  </a:lnTo>
                  <a:lnTo>
                    <a:pt x="2772600" y="1272769"/>
                  </a:lnTo>
                  <a:lnTo>
                    <a:pt x="2772600" y="1272768"/>
                  </a:lnTo>
                  <a:lnTo>
                    <a:pt x="2696100" y="1152885"/>
                  </a:lnTo>
                  <a:lnTo>
                    <a:pt x="2726192" y="1113150"/>
                  </a:lnTo>
                  <a:lnTo>
                    <a:pt x="2852126" y="1104667"/>
                  </a:lnTo>
                  <a:lnTo>
                    <a:pt x="2882472" y="1035946"/>
                  </a:lnTo>
                  <a:lnTo>
                    <a:pt x="2877056" y="991447"/>
                  </a:lnTo>
                  <a:lnTo>
                    <a:pt x="2916107" y="952608"/>
                  </a:lnTo>
                  <a:lnTo>
                    <a:pt x="2971130" y="944013"/>
                  </a:lnTo>
                  <a:lnTo>
                    <a:pt x="2965482" y="921182"/>
                  </a:lnTo>
                  <a:lnTo>
                    <a:pt x="2998291" y="944595"/>
                  </a:lnTo>
                  <a:lnTo>
                    <a:pt x="3042102" y="932718"/>
                  </a:lnTo>
                  <a:lnTo>
                    <a:pt x="3082264" y="957866"/>
                  </a:lnTo>
                  <a:lnTo>
                    <a:pt x="3114357" y="940581"/>
                  </a:lnTo>
                  <a:lnTo>
                    <a:pt x="3125601" y="988942"/>
                  </a:lnTo>
                  <a:lnTo>
                    <a:pt x="3154718" y="963471"/>
                  </a:lnTo>
                  <a:lnTo>
                    <a:pt x="3196010" y="962694"/>
                  </a:lnTo>
                  <a:lnTo>
                    <a:pt x="3242925" y="999623"/>
                  </a:lnTo>
                  <a:lnTo>
                    <a:pt x="3251168" y="1078675"/>
                  </a:lnTo>
                  <a:lnTo>
                    <a:pt x="3225892" y="1119529"/>
                  </a:lnTo>
                  <a:lnTo>
                    <a:pt x="3275149" y="1243442"/>
                  </a:lnTo>
                  <a:lnTo>
                    <a:pt x="3283630" y="1389226"/>
                  </a:lnTo>
                  <a:lnTo>
                    <a:pt x="3271952" y="1438060"/>
                  </a:lnTo>
                  <a:lnTo>
                    <a:pt x="3385275" y="1536014"/>
                  </a:lnTo>
                  <a:lnTo>
                    <a:pt x="3385275" y="1536015"/>
                  </a:lnTo>
                  <a:lnTo>
                    <a:pt x="3490067" y="1614930"/>
                  </a:lnTo>
                  <a:lnTo>
                    <a:pt x="3511007" y="1665782"/>
                  </a:lnTo>
                  <a:lnTo>
                    <a:pt x="3559928" y="1717695"/>
                  </a:lnTo>
                  <a:lnTo>
                    <a:pt x="3584773" y="1800651"/>
                  </a:lnTo>
                  <a:lnTo>
                    <a:pt x="3553227" y="1863215"/>
                  </a:lnTo>
                  <a:lnTo>
                    <a:pt x="3650246" y="1938822"/>
                  </a:lnTo>
                  <a:lnTo>
                    <a:pt x="3777116" y="1935564"/>
                  </a:lnTo>
                  <a:lnTo>
                    <a:pt x="3829036" y="1964483"/>
                  </a:lnTo>
                  <a:lnTo>
                    <a:pt x="3962764" y="1982331"/>
                  </a:lnTo>
                  <a:lnTo>
                    <a:pt x="4005702" y="2009318"/>
                  </a:lnTo>
                  <a:lnTo>
                    <a:pt x="4109439" y="2141135"/>
                  </a:lnTo>
                  <a:lnTo>
                    <a:pt x="4168036" y="2144053"/>
                  </a:lnTo>
                  <a:lnTo>
                    <a:pt x="4182691" y="2086264"/>
                  </a:lnTo>
                  <a:lnTo>
                    <a:pt x="4237992" y="2022761"/>
                  </a:lnTo>
                  <a:lnTo>
                    <a:pt x="4241831" y="1971495"/>
                  </a:lnTo>
                  <a:lnTo>
                    <a:pt x="4241833" y="1971495"/>
                  </a:lnTo>
                  <a:lnTo>
                    <a:pt x="4137390" y="1892369"/>
                  </a:lnTo>
                  <a:lnTo>
                    <a:pt x="4080793" y="1784066"/>
                  </a:lnTo>
                  <a:lnTo>
                    <a:pt x="4072680" y="1616145"/>
                  </a:lnTo>
                  <a:lnTo>
                    <a:pt x="4101972" y="1556653"/>
                  </a:lnTo>
                  <a:lnTo>
                    <a:pt x="4141502" y="1525355"/>
                  </a:lnTo>
                  <a:lnTo>
                    <a:pt x="4216247" y="1516945"/>
                  </a:lnTo>
                  <a:lnTo>
                    <a:pt x="4223495" y="1485770"/>
                  </a:lnTo>
                  <a:lnTo>
                    <a:pt x="4250017" y="1466951"/>
                  </a:lnTo>
                  <a:lnTo>
                    <a:pt x="4361203" y="1437739"/>
                  </a:lnTo>
                  <a:lnTo>
                    <a:pt x="4388845" y="1382178"/>
                  </a:lnTo>
                  <a:lnTo>
                    <a:pt x="4498588" y="1358340"/>
                  </a:lnTo>
                  <a:lnTo>
                    <a:pt x="4593562" y="1272038"/>
                  </a:lnTo>
                  <a:lnTo>
                    <a:pt x="4693231" y="1269488"/>
                  </a:lnTo>
                  <a:lnTo>
                    <a:pt x="4792957" y="1232510"/>
                  </a:lnTo>
                  <a:lnTo>
                    <a:pt x="4900514" y="1247905"/>
                  </a:lnTo>
                  <a:lnTo>
                    <a:pt x="4979013" y="1296972"/>
                  </a:lnTo>
                  <a:lnTo>
                    <a:pt x="5025266" y="1307224"/>
                  </a:lnTo>
                  <a:lnTo>
                    <a:pt x="5149156" y="1279400"/>
                  </a:lnTo>
                  <a:lnTo>
                    <a:pt x="5193841" y="1284042"/>
                  </a:lnTo>
                  <a:lnTo>
                    <a:pt x="5239920" y="1317103"/>
                  </a:lnTo>
                  <a:lnTo>
                    <a:pt x="5253019" y="1350910"/>
                  </a:lnTo>
                  <a:lnTo>
                    <a:pt x="5245778" y="1401074"/>
                  </a:lnTo>
                  <a:lnTo>
                    <a:pt x="5172918" y="1459885"/>
                  </a:lnTo>
                  <a:lnTo>
                    <a:pt x="4895257" y="1453264"/>
                  </a:lnTo>
                  <a:lnTo>
                    <a:pt x="4816436" y="1465046"/>
                  </a:lnTo>
                  <a:lnTo>
                    <a:pt x="4604612" y="1541693"/>
                  </a:lnTo>
                  <a:lnTo>
                    <a:pt x="4378711" y="1652488"/>
                  </a:lnTo>
                  <a:lnTo>
                    <a:pt x="4310523" y="1752307"/>
                  </a:lnTo>
                  <a:lnTo>
                    <a:pt x="4296154" y="1810366"/>
                  </a:lnTo>
                  <a:lnTo>
                    <a:pt x="4313758" y="1908826"/>
                  </a:lnTo>
                  <a:lnTo>
                    <a:pt x="4303575" y="1947272"/>
                  </a:lnTo>
                  <a:lnTo>
                    <a:pt x="4241957" y="1971446"/>
                  </a:lnTo>
                  <a:lnTo>
                    <a:pt x="4304144" y="1947234"/>
                  </a:lnTo>
                  <a:lnTo>
                    <a:pt x="4344648" y="1966765"/>
                  </a:lnTo>
                  <a:lnTo>
                    <a:pt x="4373345" y="2090123"/>
                  </a:lnTo>
                  <a:lnTo>
                    <a:pt x="4500466" y="2223037"/>
                  </a:lnTo>
                  <a:lnTo>
                    <a:pt x="4548942" y="2316770"/>
                  </a:lnTo>
                  <a:lnTo>
                    <a:pt x="4543995" y="2318658"/>
                  </a:lnTo>
                  <a:lnTo>
                    <a:pt x="4594665" y="2326503"/>
                  </a:lnTo>
                  <a:lnTo>
                    <a:pt x="4655460" y="2234920"/>
                  </a:lnTo>
                  <a:lnTo>
                    <a:pt x="4649552" y="2174234"/>
                  </a:lnTo>
                  <a:lnTo>
                    <a:pt x="4674973" y="2123146"/>
                  </a:lnTo>
                  <a:lnTo>
                    <a:pt x="4736254" y="2068091"/>
                  </a:lnTo>
                  <a:lnTo>
                    <a:pt x="4827418" y="2044638"/>
                  </a:lnTo>
                  <a:lnTo>
                    <a:pt x="4918201" y="1926508"/>
                  </a:lnTo>
                  <a:lnTo>
                    <a:pt x="4995391" y="1878118"/>
                  </a:lnTo>
                  <a:lnTo>
                    <a:pt x="5017791" y="1840245"/>
                  </a:lnTo>
                  <a:lnTo>
                    <a:pt x="5083727" y="1838788"/>
                  </a:lnTo>
                  <a:lnTo>
                    <a:pt x="5125420" y="1881553"/>
                  </a:lnTo>
                  <a:lnTo>
                    <a:pt x="5188649" y="1880462"/>
                  </a:lnTo>
                  <a:lnTo>
                    <a:pt x="5336787" y="1933370"/>
                  </a:lnTo>
                  <a:lnTo>
                    <a:pt x="5367200" y="1966076"/>
                  </a:lnTo>
                  <a:lnTo>
                    <a:pt x="5369726" y="1999564"/>
                  </a:lnTo>
                  <a:lnTo>
                    <a:pt x="5340948" y="2051214"/>
                  </a:lnTo>
                  <a:lnTo>
                    <a:pt x="5277536" y="2057208"/>
                  </a:lnTo>
                  <a:lnTo>
                    <a:pt x="5273435" y="2109212"/>
                  </a:lnTo>
                  <a:lnTo>
                    <a:pt x="5372305" y="2074606"/>
                  </a:lnTo>
                  <a:lnTo>
                    <a:pt x="5382530" y="2150652"/>
                  </a:lnTo>
                  <a:lnTo>
                    <a:pt x="5364736" y="2191083"/>
                  </a:lnTo>
                  <a:lnTo>
                    <a:pt x="5438872" y="2265217"/>
                  </a:lnTo>
                  <a:lnTo>
                    <a:pt x="5439407" y="2265137"/>
                  </a:lnTo>
                  <a:lnTo>
                    <a:pt x="5364760" y="2191082"/>
                  </a:lnTo>
                  <a:lnTo>
                    <a:pt x="5382552" y="2150651"/>
                  </a:lnTo>
                  <a:lnTo>
                    <a:pt x="5372327" y="2074605"/>
                  </a:lnTo>
                  <a:lnTo>
                    <a:pt x="5372305" y="2074605"/>
                  </a:lnTo>
                  <a:lnTo>
                    <a:pt x="5410199" y="2013163"/>
                  </a:lnTo>
                  <a:lnTo>
                    <a:pt x="5496770" y="1984817"/>
                  </a:lnTo>
                  <a:lnTo>
                    <a:pt x="5536556" y="1986663"/>
                  </a:lnTo>
                  <a:lnTo>
                    <a:pt x="5622672" y="1923249"/>
                  </a:lnTo>
                  <a:lnTo>
                    <a:pt x="5667180" y="1929844"/>
                  </a:lnTo>
                  <a:lnTo>
                    <a:pt x="5688111" y="1916099"/>
                  </a:lnTo>
                  <a:lnTo>
                    <a:pt x="5706423" y="1867009"/>
                  </a:lnTo>
                  <a:lnTo>
                    <a:pt x="5795821" y="1839628"/>
                  </a:lnTo>
                  <a:lnTo>
                    <a:pt x="5814088" y="1787894"/>
                  </a:lnTo>
                  <a:lnTo>
                    <a:pt x="5855959" y="1785967"/>
                  </a:lnTo>
                  <a:lnTo>
                    <a:pt x="5880966" y="1804565"/>
                  </a:lnTo>
                  <a:lnTo>
                    <a:pt x="5884310" y="1763687"/>
                  </a:lnTo>
                  <a:lnTo>
                    <a:pt x="5901301" y="1747046"/>
                  </a:lnTo>
                  <a:lnTo>
                    <a:pt x="5947248" y="1740172"/>
                  </a:lnTo>
                  <a:lnTo>
                    <a:pt x="5991880" y="1771825"/>
                  </a:lnTo>
                  <a:lnTo>
                    <a:pt x="6043334" y="1748553"/>
                  </a:lnTo>
                  <a:lnTo>
                    <a:pt x="6057706" y="1706442"/>
                  </a:lnTo>
                  <a:lnTo>
                    <a:pt x="6149352" y="1700212"/>
                  </a:lnTo>
                  <a:lnTo>
                    <a:pt x="6163090" y="1637221"/>
                  </a:lnTo>
                  <a:lnTo>
                    <a:pt x="6275774" y="1550210"/>
                  </a:lnTo>
                  <a:lnTo>
                    <a:pt x="6310918" y="1547967"/>
                  </a:lnTo>
                  <a:lnTo>
                    <a:pt x="6396583" y="1599891"/>
                  </a:lnTo>
                  <a:lnTo>
                    <a:pt x="6418317" y="1559581"/>
                  </a:lnTo>
                  <a:lnTo>
                    <a:pt x="6478979" y="1549486"/>
                  </a:lnTo>
                  <a:lnTo>
                    <a:pt x="6536446" y="1486018"/>
                  </a:lnTo>
                  <a:lnTo>
                    <a:pt x="6591929" y="1459844"/>
                  </a:lnTo>
                  <a:lnTo>
                    <a:pt x="6755446" y="1505293"/>
                  </a:lnTo>
                  <a:lnTo>
                    <a:pt x="6776743" y="1535301"/>
                  </a:lnTo>
                  <a:lnTo>
                    <a:pt x="6767471" y="1583650"/>
                  </a:lnTo>
                  <a:lnTo>
                    <a:pt x="6787519" y="1596769"/>
                  </a:lnTo>
                  <a:lnTo>
                    <a:pt x="6875413" y="1575644"/>
                  </a:lnTo>
                  <a:lnTo>
                    <a:pt x="6965608" y="1595304"/>
                  </a:lnTo>
                  <a:lnTo>
                    <a:pt x="7022391" y="1634729"/>
                  </a:lnTo>
                  <a:lnTo>
                    <a:pt x="7060888" y="1721460"/>
                  </a:lnTo>
                  <a:lnTo>
                    <a:pt x="7059544" y="1841304"/>
                  </a:lnTo>
                  <a:lnTo>
                    <a:pt x="7040025" y="1865846"/>
                  </a:lnTo>
                  <a:lnTo>
                    <a:pt x="7048704" y="1861201"/>
                  </a:lnTo>
                  <a:lnTo>
                    <a:pt x="7051351" y="1900451"/>
                  </a:lnTo>
                  <a:lnTo>
                    <a:pt x="7084393" y="1948375"/>
                  </a:lnTo>
                  <a:lnTo>
                    <a:pt x="7088702" y="2032955"/>
                  </a:lnTo>
                  <a:lnTo>
                    <a:pt x="7107207" y="2037372"/>
                  </a:lnTo>
                  <a:lnTo>
                    <a:pt x="7168444" y="2007069"/>
                  </a:lnTo>
                  <a:lnTo>
                    <a:pt x="7320487" y="1994740"/>
                  </a:lnTo>
                  <a:lnTo>
                    <a:pt x="7445774" y="2053430"/>
                  </a:lnTo>
                  <a:lnTo>
                    <a:pt x="7495059" y="2019342"/>
                  </a:lnTo>
                  <a:lnTo>
                    <a:pt x="7500793" y="1991912"/>
                  </a:lnTo>
                  <a:lnTo>
                    <a:pt x="7468002" y="1905493"/>
                  </a:lnTo>
                  <a:lnTo>
                    <a:pt x="7484598" y="1873340"/>
                  </a:lnTo>
                  <a:lnTo>
                    <a:pt x="7572266" y="1851399"/>
                  </a:lnTo>
                  <a:lnTo>
                    <a:pt x="7673531" y="1878431"/>
                  </a:lnTo>
                  <a:lnTo>
                    <a:pt x="7749329" y="1860500"/>
                  </a:lnTo>
                  <a:lnTo>
                    <a:pt x="7868700" y="1909204"/>
                  </a:lnTo>
                  <a:lnTo>
                    <a:pt x="7917554" y="2005320"/>
                  </a:lnTo>
                  <a:lnTo>
                    <a:pt x="7931201" y="2075844"/>
                  </a:lnTo>
                  <a:lnTo>
                    <a:pt x="7982921" y="2104544"/>
                  </a:lnTo>
                  <a:lnTo>
                    <a:pt x="7992863" y="2155947"/>
                  </a:lnTo>
                  <a:lnTo>
                    <a:pt x="8020229" y="2158957"/>
                  </a:lnTo>
                  <a:lnTo>
                    <a:pt x="8037364" y="2138760"/>
                  </a:lnTo>
                  <a:lnTo>
                    <a:pt x="8021285" y="2025350"/>
                  </a:lnTo>
                  <a:lnTo>
                    <a:pt x="8037138" y="1985509"/>
                  </a:lnTo>
                  <a:lnTo>
                    <a:pt x="8088745" y="1968078"/>
                  </a:lnTo>
                  <a:lnTo>
                    <a:pt x="8117253" y="1987887"/>
                  </a:lnTo>
                  <a:lnTo>
                    <a:pt x="8126896" y="2023905"/>
                  </a:lnTo>
                  <a:lnTo>
                    <a:pt x="8149259" y="2025500"/>
                  </a:lnTo>
                  <a:lnTo>
                    <a:pt x="8198407" y="1952316"/>
                  </a:lnTo>
                  <a:lnTo>
                    <a:pt x="8280938" y="1914547"/>
                  </a:lnTo>
                  <a:lnTo>
                    <a:pt x="8284424" y="1767709"/>
                  </a:lnTo>
                  <a:lnTo>
                    <a:pt x="8309979" y="1728460"/>
                  </a:lnTo>
                  <a:lnTo>
                    <a:pt x="8299443" y="1684257"/>
                  </a:lnTo>
                  <a:lnTo>
                    <a:pt x="8315908" y="1656250"/>
                  </a:lnTo>
                  <a:lnTo>
                    <a:pt x="8384203" y="1640999"/>
                  </a:lnTo>
                  <a:lnTo>
                    <a:pt x="8739159" y="1478180"/>
                  </a:lnTo>
                  <a:lnTo>
                    <a:pt x="8797936" y="1482276"/>
                  </a:lnTo>
                  <a:lnTo>
                    <a:pt x="8845398" y="1513815"/>
                  </a:lnTo>
                  <a:lnTo>
                    <a:pt x="8928472" y="1505165"/>
                  </a:lnTo>
                  <a:lnTo>
                    <a:pt x="9000325" y="1523219"/>
                  </a:lnTo>
                  <a:lnTo>
                    <a:pt x="9090859" y="1377849"/>
                  </a:lnTo>
                  <a:lnTo>
                    <a:pt x="9170270" y="1307711"/>
                  </a:lnTo>
                  <a:lnTo>
                    <a:pt x="9250160" y="1272811"/>
                  </a:lnTo>
                  <a:lnTo>
                    <a:pt x="9264957" y="1224997"/>
                  </a:lnTo>
                  <a:lnTo>
                    <a:pt x="9314370" y="1167875"/>
                  </a:lnTo>
                  <a:lnTo>
                    <a:pt x="9396853" y="1151324"/>
                  </a:lnTo>
                  <a:lnTo>
                    <a:pt x="9422823" y="1167099"/>
                  </a:lnTo>
                  <a:lnTo>
                    <a:pt x="9416828" y="1210641"/>
                  </a:lnTo>
                  <a:lnTo>
                    <a:pt x="9343413" y="1262089"/>
                  </a:lnTo>
                  <a:lnTo>
                    <a:pt x="9345213" y="1280567"/>
                  </a:lnTo>
                  <a:lnTo>
                    <a:pt x="9402187" y="1334623"/>
                  </a:lnTo>
                  <a:lnTo>
                    <a:pt x="9418120" y="1340985"/>
                  </a:lnTo>
                  <a:lnTo>
                    <a:pt x="9458228" y="1306931"/>
                  </a:lnTo>
                  <a:lnTo>
                    <a:pt x="9489306" y="1256999"/>
                  </a:lnTo>
                  <a:lnTo>
                    <a:pt x="9489305" y="1256998"/>
                  </a:lnTo>
                  <a:lnTo>
                    <a:pt x="9533732" y="1180736"/>
                  </a:lnTo>
                  <a:lnTo>
                    <a:pt x="9581894" y="1165320"/>
                  </a:lnTo>
                  <a:lnTo>
                    <a:pt x="9646541" y="1092142"/>
                  </a:lnTo>
                  <a:lnTo>
                    <a:pt x="9653587" y="1071529"/>
                  </a:lnTo>
                  <a:lnTo>
                    <a:pt x="9629343" y="989281"/>
                  </a:lnTo>
                  <a:lnTo>
                    <a:pt x="9641641" y="956863"/>
                  </a:lnTo>
                  <a:lnTo>
                    <a:pt x="9673401" y="932848"/>
                  </a:lnTo>
                  <a:lnTo>
                    <a:pt x="9691809" y="852877"/>
                  </a:lnTo>
                  <a:lnTo>
                    <a:pt x="9844587" y="680683"/>
                  </a:lnTo>
                  <a:lnTo>
                    <a:pt x="9883610" y="600131"/>
                  </a:lnTo>
                  <a:lnTo>
                    <a:pt x="9937932" y="575710"/>
                  </a:lnTo>
                  <a:lnTo>
                    <a:pt x="10064208" y="471839"/>
                  </a:lnTo>
                  <a:lnTo>
                    <a:pt x="10084006" y="465538"/>
                  </a:lnTo>
                  <a:lnTo>
                    <a:pt x="10454998" y="248678"/>
                  </a:lnTo>
                  <a:lnTo>
                    <a:pt x="10500904" y="258623"/>
                  </a:lnTo>
                  <a:lnTo>
                    <a:pt x="10580746" y="111958"/>
                  </a:lnTo>
                  <a:lnTo>
                    <a:pt x="10692756" y="65935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38100" cap="rnd">
              <a:solidFill>
                <a:srgbClr val="535864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776" name="Центральный федеральный округ">
              <a:extLst>
                <a:ext uri="{FF2B5EF4-FFF2-40B4-BE49-F238E27FC236}">
                  <a16:creationId xmlns:a16="http://schemas.microsoft.com/office/drawing/2014/main" id="{D5F719D1-243F-4330-9B61-18C6976547E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04064" y="2340624"/>
              <a:ext cx="1751774" cy="1419250"/>
              <a:chOff x="1104064" y="2340624"/>
              <a:chExt cx="1751774" cy="1419250"/>
            </a:xfrm>
            <a:solidFill>
              <a:srgbClr val="FB7B6F"/>
            </a:solidFill>
          </p:grpSpPr>
          <p:sp>
            <p:nvSpPr>
              <p:cNvPr id="19" name="Смоленская область">
                <a:extLst>
                  <a:ext uri="{FF2B5EF4-FFF2-40B4-BE49-F238E27FC236}">
                    <a16:creationId xmlns:a16="http://schemas.microsoft.com/office/drawing/2014/main" id="{8EA4E2ED-0905-440E-9DE6-81484390FEE8}"/>
                  </a:ext>
                </a:extLst>
              </p:cNvPr>
              <p:cNvSpPr/>
              <p:nvPr/>
            </p:nvSpPr>
            <p:spPr>
              <a:xfrm>
                <a:off x="1323745" y="2448602"/>
                <a:ext cx="449618" cy="369176"/>
              </a:xfrm>
              <a:custGeom>
                <a:avLst/>
                <a:gdLst>
                  <a:gd name="connsiteX0" fmla="*/ 79796 w 449618"/>
                  <a:gd name="connsiteY0" fmla="*/ 60504 h 369176"/>
                  <a:gd name="connsiteX1" fmla="*/ 126255 w 449618"/>
                  <a:gd name="connsiteY1" fmla="*/ 59344 h 369176"/>
                  <a:gd name="connsiteX2" fmla="*/ 149041 w 449618"/>
                  <a:gd name="connsiteY2" fmla="*/ 22062 h 369176"/>
                  <a:gd name="connsiteX3" fmla="*/ 217584 w 449618"/>
                  <a:gd name="connsiteY3" fmla="*/ -157 h 369176"/>
                  <a:gd name="connsiteX4" fmla="*/ 242830 w 449618"/>
                  <a:gd name="connsiteY4" fmla="*/ 56317 h 369176"/>
                  <a:gd name="connsiteX5" fmla="*/ 262370 w 449618"/>
                  <a:gd name="connsiteY5" fmla="*/ 59083 h 369176"/>
                  <a:gd name="connsiteX6" fmla="*/ 264924 w 449618"/>
                  <a:gd name="connsiteY6" fmla="*/ 81444 h 369176"/>
                  <a:gd name="connsiteX7" fmla="*/ 252099 w 449618"/>
                  <a:gd name="connsiteY7" fmla="*/ 82085 h 369176"/>
                  <a:gd name="connsiteX8" fmla="*/ 286488 w 449618"/>
                  <a:gd name="connsiteY8" fmla="*/ 107199 h 369176"/>
                  <a:gd name="connsiteX9" fmla="*/ 275263 w 449618"/>
                  <a:gd name="connsiteY9" fmla="*/ 117642 h 369176"/>
                  <a:gd name="connsiteX10" fmla="*/ 304341 w 449618"/>
                  <a:gd name="connsiteY10" fmla="*/ 160888 h 369176"/>
                  <a:gd name="connsiteX11" fmla="*/ 399411 w 449618"/>
                  <a:gd name="connsiteY11" fmla="*/ 178384 h 369176"/>
                  <a:gd name="connsiteX12" fmla="*/ 415311 w 449618"/>
                  <a:gd name="connsiteY12" fmla="*/ 241027 h 369176"/>
                  <a:gd name="connsiteX13" fmla="*/ 448953 w 449618"/>
                  <a:gd name="connsiteY13" fmla="*/ 265842 h 369176"/>
                  <a:gd name="connsiteX14" fmla="*/ 437631 w 449618"/>
                  <a:gd name="connsiteY14" fmla="*/ 303321 h 369176"/>
                  <a:gd name="connsiteX15" fmla="*/ 366030 w 449618"/>
                  <a:gd name="connsiteY15" fmla="*/ 358844 h 369176"/>
                  <a:gd name="connsiteX16" fmla="*/ 303184 w 449618"/>
                  <a:gd name="connsiteY16" fmla="*/ 353892 h 369176"/>
                  <a:gd name="connsiteX17" fmla="*/ 291215 w 449618"/>
                  <a:gd name="connsiteY17" fmla="*/ 368821 h 369176"/>
                  <a:gd name="connsiteX18" fmla="*/ 273838 w 449618"/>
                  <a:gd name="connsiteY18" fmla="*/ 369020 h 369176"/>
                  <a:gd name="connsiteX19" fmla="*/ 251434 w 449618"/>
                  <a:gd name="connsiteY19" fmla="*/ 340023 h 369176"/>
                  <a:gd name="connsiteX20" fmla="*/ 230606 w 449618"/>
                  <a:gd name="connsiteY20" fmla="*/ 358636 h 369176"/>
                  <a:gd name="connsiteX21" fmla="*/ 214249 w 449618"/>
                  <a:gd name="connsiteY21" fmla="*/ 316662 h 369176"/>
                  <a:gd name="connsiteX22" fmla="*/ 188585 w 449618"/>
                  <a:gd name="connsiteY22" fmla="*/ 301538 h 369176"/>
                  <a:gd name="connsiteX23" fmla="*/ 117790 w 449618"/>
                  <a:gd name="connsiteY23" fmla="*/ 335887 h 369176"/>
                  <a:gd name="connsiteX24" fmla="*/ 96942 w 449618"/>
                  <a:gd name="connsiteY24" fmla="*/ 325903 h 369176"/>
                  <a:gd name="connsiteX25" fmla="*/ 69103 w 449618"/>
                  <a:gd name="connsiteY25" fmla="*/ 340608 h 369176"/>
                  <a:gd name="connsiteX26" fmla="*/ 9626 w 449618"/>
                  <a:gd name="connsiteY26" fmla="*/ 340098 h 369176"/>
                  <a:gd name="connsiteX27" fmla="*/ 4871 w 449618"/>
                  <a:gd name="connsiteY27" fmla="*/ 300509 h 369176"/>
                  <a:gd name="connsiteX28" fmla="*/ 28141 w 449618"/>
                  <a:gd name="connsiteY28" fmla="*/ 282434 h 369176"/>
                  <a:gd name="connsiteX29" fmla="*/ -666 w 449618"/>
                  <a:gd name="connsiteY29" fmla="*/ 224320 h 369176"/>
                  <a:gd name="connsiteX30" fmla="*/ 39453 w 449618"/>
                  <a:gd name="connsiteY30" fmla="*/ 212280 h 369176"/>
                  <a:gd name="connsiteX31" fmla="*/ 34601 w 449618"/>
                  <a:gd name="connsiteY31" fmla="*/ 151752 h 369176"/>
                  <a:gd name="connsiteX32" fmla="*/ 57381 w 449618"/>
                  <a:gd name="connsiteY32" fmla="*/ 111203 h 369176"/>
                  <a:gd name="connsiteX33" fmla="*/ 82234 w 449618"/>
                  <a:gd name="connsiteY33" fmla="*/ 106636 h 369176"/>
                  <a:gd name="connsiteX34" fmla="*/ 79796 w 449618"/>
                  <a:gd name="connsiteY34" fmla="*/ 60504 h 369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449618" h="369176">
                    <a:moveTo>
                      <a:pt x="79796" y="60504"/>
                    </a:moveTo>
                    <a:lnTo>
                      <a:pt x="126255" y="59344"/>
                    </a:lnTo>
                    <a:lnTo>
                      <a:pt x="149041" y="22062"/>
                    </a:lnTo>
                    <a:lnTo>
                      <a:pt x="217584" y="-157"/>
                    </a:lnTo>
                    <a:lnTo>
                      <a:pt x="242830" y="56317"/>
                    </a:lnTo>
                    <a:lnTo>
                      <a:pt x="262370" y="59083"/>
                    </a:lnTo>
                    <a:lnTo>
                      <a:pt x="264924" y="81444"/>
                    </a:lnTo>
                    <a:lnTo>
                      <a:pt x="252099" y="82085"/>
                    </a:lnTo>
                    <a:lnTo>
                      <a:pt x="286488" y="107199"/>
                    </a:lnTo>
                    <a:lnTo>
                      <a:pt x="275263" y="117642"/>
                    </a:lnTo>
                    <a:lnTo>
                      <a:pt x="304341" y="160888"/>
                    </a:lnTo>
                    <a:lnTo>
                      <a:pt x="399411" y="178384"/>
                    </a:lnTo>
                    <a:lnTo>
                      <a:pt x="415311" y="241027"/>
                    </a:lnTo>
                    <a:lnTo>
                      <a:pt x="448953" y="265842"/>
                    </a:lnTo>
                    <a:lnTo>
                      <a:pt x="437631" y="303321"/>
                    </a:lnTo>
                    <a:lnTo>
                      <a:pt x="366030" y="358844"/>
                    </a:lnTo>
                    <a:lnTo>
                      <a:pt x="303184" y="353892"/>
                    </a:lnTo>
                    <a:lnTo>
                      <a:pt x="291215" y="368821"/>
                    </a:lnTo>
                    <a:lnTo>
                      <a:pt x="273838" y="369020"/>
                    </a:lnTo>
                    <a:lnTo>
                      <a:pt x="251434" y="340023"/>
                    </a:lnTo>
                    <a:lnTo>
                      <a:pt x="230606" y="358636"/>
                    </a:lnTo>
                    <a:lnTo>
                      <a:pt x="214249" y="316662"/>
                    </a:lnTo>
                    <a:lnTo>
                      <a:pt x="188585" y="301538"/>
                    </a:lnTo>
                    <a:lnTo>
                      <a:pt x="117790" y="335887"/>
                    </a:lnTo>
                    <a:lnTo>
                      <a:pt x="96942" y="325903"/>
                    </a:lnTo>
                    <a:lnTo>
                      <a:pt x="69103" y="340608"/>
                    </a:lnTo>
                    <a:lnTo>
                      <a:pt x="9626" y="340098"/>
                    </a:lnTo>
                    <a:lnTo>
                      <a:pt x="4871" y="300509"/>
                    </a:lnTo>
                    <a:lnTo>
                      <a:pt x="28141" y="282434"/>
                    </a:lnTo>
                    <a:lnTo>
                      <a:pt x="-666" y="224320"/>
                    </a:lnTo>
                    <a:lnTo>
                      <a:pt x="39453" y="212280"/>
                    </a:lnTo>
                    <a:lnTo>
                      <a:pt x="34601" y="151752"/>
                    </a:lnTo>
                    <a:lnTo>
                      <a:pt x="57381" y="111203"/>
                    </a:lnTo>
                    <a:lnTo>
                      <a:pt x="82234" y="106636"/>
                    </a:lnTo>
                    <a:lnTo>
                      <a:pt x="79796" y="60504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" name="Тверская область">
                <a:extLst>
                  <a:ext uri="{FF2B5EF4-FFF2-40B4-BE49-F238E27FC236}">
                    <a16:creationId xmlns:a16="http://schemas.microsoft.com/office/drawing/2014/main" id="{2984FDF4-841B-4A4C-BCD9-FD5DE3DD5BA7}"/>
                  </a:ext>
                </a:extLst>
              </p:cNvPr>
              <p:cNvSpPr/>
              <p:nvPr/>
            </p:nvSpPr>
            <p:spPr>
              <a:xfrm>
                <a:off x="1558112" y="2340624"/>
                <a:ext cx="672148" cy="514428"/>
              </a:xfrm>
              <a:custGeom>
                <a:avLst/>
                <a:gdLst>
                  <a:gd name="connsiteX0" fmla="*/ 100944 w 672148"/>
                  <a:gd name="connsiteY0" fmla="*/ 2471 h 514428"/>
                  <a:gd name="connsiteX1" fmla="*/ 140708 w 672148"/>
                  <a:gd name="connsiteY1" fmla="*/ -157 h 514428"/>
                  <a:gd name="connsiteX2" fmla="*/ 148798 w 672148"/>
                  <a:gd name="connsiteY2" fmla="*/ 33752 h 514428"/>
                  <a:gd name="connsiteX3" fmla="*/ 173718 w 672148"/>
                  <a:gd name="connsiteY3" fmla="*/ 48128 h 514428"/>
                  <a:gd name="connsiteX4" fmla="*/ 192544 w 672148"/>
                  <a:gd name="connsiteY4" fmla="*/ 41457 h 514428"/>
                  <a:gd name="connsiteX5" fmla="*/ 236352 w 672148"/>
                  <a:gd name="connsiteY5" fmla="*/ 74888 h 514428"/>
                  <a:gd name="connsiteX6" fmla="*/ 287085 w 672148"/>
                  <a:gd name="connsiteY6" fmla="*/ 81599 h 514428"/>
                  <a:gd name="connsiteX7" fmla="*/ 304241 w 672148"/>
                  <a:gd name="connsiteY7" fmla="*/ 118150 h 514428"/>
                  <a:gd name="connsiteX8" fmla="*/ 335083 w 672148"/>
                  <a:gd name="connsiteY8" fmla="*/ 100576 h 514428"/>
                  <a:gd name="connsiteX9" fmla="*/ 358950 w 672148"/>
                  <a:gd name="connsiteY9" fmla="*/ 112771 h 514428"/>
                  <a:gd name="connsiteX10" fmla="*/ 397018 w 672148"/>
                  <a:gd name="connsiteY10" fmla="*/ 95549 h 514428"/>
                  <a:gd name="connsiteX11" fmla="*/ 397741 w 672148"/>
                  <a:gd name="connsiteY11" fmla="*/ 78391 h 514428"/>
                  <a:gd name="connsiteX12" fmla="*/ 420401 w 672148"/>
                  <a:gd name="connsiteY12" fmla="*/ 80043 h 514428"/>
                  <a:gd name="connsiteX13" fmla="*/ 448607 w 672148"/>
                  <a:gd name="connsiteY13" fmla="*/ 107656 h 514428"/>
                  <a:gd name="connsiteX14" fmla="*/ 455004 w 672148"/>
                  <a:gd name="connsiteY14" fmla="*/ 152972 h 514428"/>
                  <a:gd name="connsiteX15" fmla="*/ 471733 w 672148"/>
                  <a:gd name="connsiteY15" fmla="*/ 142390 h 514428"/>
                  <a:gd name="connsiteX16" fmla="*/ 494296 w 672148"/>
                  <a:gd name="connsiteY16" fmla="*/ 169398 h 514428"/>
                  <a:gd name="connsiteX17" fmla="*/ 527976 w 672148"/>
                  <a:gd name="connsiteY17" fmla="*/ 162995 h 514428"/>
                  <a:gd name="connsiteX18" fmla="*/ 600503 w 672148"/>
                  <a:gd name="connsiteY18" fmla="*/ 230278 h 514428"/>
                  <a:gd name="connsiteX19" fmla="*/ 648606 w 672148"/>
                  <a:gd name="connsiteY19" fmla="*/ 219483 h 514428"/>
                  <a:gd name="connsiteX20" fmla="*/ 671483 w 672148"/>
                  <a:gd name="connsiteY20" fmla="*/ 232746 h 514428"/>
                  <a:gd name="connsiteX21" fmla="*/ 651468 w 672148"/>
                  <a:gd name="connsiteY21" fmla="*/ 310473 h 514428"/>
                  <a:gd name="connsiteX22" fmla="*/ 608210 w 672148"/>
                  <a:gd name="connsiteY22" fmla="*/ 309986 h 514428"/>
                  <a:gd name="connsiteX23" fmla="*/ 608895 w 672148"/>
                  <a:gd name="connsiteY23" fmla="*/ 350226 h 514428"/>
                  <a:gd name="connsiteX24" fmla="*/ 579571 w 672148"/>
                  <a:gd name="connsiteY24" fmla="*/ 335709 h 514428"/>
                  <a:gd name="connsiteX25" fmla="*/ 576541 w 672148"/>
                  <a:gd name="connsiteY25" fmla="*/ 352816 h 514428"/>
                  <a:gd name="connsiteX26" fmla="*/ 564937 w 672148"/>
                  <a:gd name="connsiteY26" fmla="*/ 345041 h 514428"/>
                  <a:gd name="connsiteX27" fmla="*/ 559021 w 672148"/>
                  <a:gd name="connsiteY27" fmla="*/ 402003 h 514428"/>
                  <a:gd name="connsiteX28" fmla="*/ 534967 w 672148"/>
                  <a:gd name="connsiteY28" fmla="*/ 427014 h 514428"/>
                  <a:gd name="connsiteX29" fmla="*/ 547357 w 672148"/>
                  <a:gd name="connsiteY29" fmla="*/ 466263 h 514428"/>
                  <a:gd name="connsiteX30" fmla="*/ 528794 w 672148"/>
                  <a:gd name="connsiteY30" fmla="*/ 462269 h 514428"/>
                  <a:gd name="connsiteX31" fmla="*/ 512383 w 672148"/>
                  <a:gd name="connsiteY31" fmla="*/ 487521 h 514428"/>
                  <a:gd name="connsiteX32" fmla="*/ 481559 w 672148"/>
                  <a:gd name="connsiteY32" fmla="*/ 495611 h 514428"/>
                  <a:gd name="connsiteX33" fmla="*/ 477799 w 672148"/>
                  <a:gd name="connsiteY33" fmla="*/ 514272 h 514428"/>
                  <a:gd name="connsiteX34" fmla="*/ 465165 w 672148"/>
                  <a:gd name="connsiteY34" fmla="*/ 497238 h 514428"/>
                  <a:gd name="connsiteX35" fmla="*/ 472491 w 672148"/>
                  <a:gd name="connsiteY35" fmla="*/ 459037 h 514428"/>
                  <a:gd name="connsiteX36" fmla="*/ 438650 w 672148"/>
                  <a:gd name="connsiteY36" fmla="*/ 462272 h 514428"/>
                  <a:gd name="connsiteX37" fmla="*/ 414254 w 672148"/>
                  <a:gd name="connsiteY37" fmla="*/ 437029 h 514428"/>
                  <a:gd name="connsiteX38" fmla="*/ 385618 w 672148"/>
                  <a:gd name="connsiteY38" fmla="*/ 458459 h 514428"/>
                  <a:gd name="connsiteX39" fmla="*/ 380954 w 672148"/>
                  <a:gd name="connsiteY39" fmla="*/ 434702 h 514428"/>
                  <a:gd name="connsiteX40" fmla="*/ 311065 w 672148"/>
                  <a:gd name="connsiteY40" fmla="*/ 411537 h 514428"/>
                  <a:gd name="connsiteX41" fmla="*/ 292087 w 672148"/>
                  <a:gd name="connsiteY41" fmla="*/ 355227 h 514428"/>
                  <a:gd name="connsiteX42" fmla="*/ 270902 w 672148"/>
                  <a:gd name="connsiteY42" fmla="*/ 378661 h 514428"/>
                  <a:gd name="connsiteX43" fmla="*/ 257268 w 672148"/>
                  <a:gd name="connsiteY43" fmla="*/ 368798 h 514428"/>
                  <a:gd name="connsiteX44" fmla="*/ 214881 w 672148"/>
                  <a:gd name="connsiteY44" fmla="*/ 382605 h 514428"/>
                  <a:gd name="connsiteX45" fmla="*/ 180944 w 672148"/>
                  <a:gd name="connsiteY45" fmla="*/ 349004 h 514428"/>
                  <a:gd name="connsiteX46" fmla="*/ 161493 w 672148"/>
                  <a:gd name="connsiteY46" fmla="*/ 283379 h 514428"/>
                  <a:gd name="connsiteX47" fmla="*/ 123310 w 672148"/>
                  <a:gd name="connsiteY47" fmla="*/ 287816 h 514428"/>
                  <a:gd name="connsiteX48" fmla="*/ 69974 w 672148"/>
                  <a:gd name="connsiteY48" fmla="*/ 268866 h 514428"/>
                  <a:gd name="connsiteX49" fmla="*/ 40896 w 672148"/>
                  <a:gd name="connsiteY49" fmla="*/ 225620 h 514428"/>
                  <a:gd name="connsiteX50" fmla="*/ 52122 w 672148"/>
                  <a:gd name="connsiteY50" fmla="*/ 215177 h 514428"/>
                  <a:gd name="connsiteX51" fmla="*/ 17732 w 672148"/>
                  <a:gd name="connsiteY51" fmla="*/ 190063 h 514428"/>
                  <a:gd name="connsiteX52" fmla="*/ 30571 w 672148"/>
                  <a:gd name="connsiteY52" fmla="*/ 189364 h 514428"/>
                  <a:gd name="connsiteX53" fmla="*/ 28003 w 672148"/>
                  <a:gd name="connsiteY53" fmla="*/ 167060 h 514428"/>
                  <a:gd name="connsiteX54" fmla="*/ 11091 w 672148"/>
                  <a:gd name="connsiteY54" fmla="*/ 166854 h 514428"/>
                  <a:gd name="connsiteX55" fmla="*/ -666 w 672148"/>
                  <a:gd name="connsiteY55" fmla="*/ 142528 h 514428"/>
                  <a:gd name="connsiteX56" fmla="*/ 21773 w 672148"/>
                  <a:gd name="connsiteY56" fmla="*/ 114761 h 514428"/>
                  <a:gd name="connsiteX57" fmla="*/ 76814 w 672148"/>
                  <a:gd name="connsiteY57" fmla="*/ 95054 h 514428"/>
                  <a:gd name="connsiteX58" fmla="*/ 74646 w 672148"/>
                  <a:gd name="connsiteY58" fmla="*/ 42068 h 514428"/>
                  <a:gd name="connsiteX59" fmla="*/ 99505 w 672148"/>
                  <a:gd name="connsiteY59" fmla="*/ 35416 h 514428"/>
                  <a:gd name="connsiteX60" fmla="*/ 100944 w 672148"/>
                  <a:gd name="connsiteY60" fmla="*/ 2471 h 514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72148" h="514428">
                    <a:moveTo>
                      <a:pt x="100944" y="2471"/>
                    </a:moveTo>
                    <a:lnTo>
                      <a:pt x="140708" y="-157"/>
                    </a:lnTo>
                    <a:lnTo>
                      <a:pt x="148798" y="33752"/>
                    </a:lnTo>
                    <a:lnTo>
                      <a:pt x="173718" y="48128"/>
                    </a:lnTo>
                    <a:lnTo>
                      <a:pt x="192544" y="41457"/>
                    </a:lnTo>
                    <a:lnTo>
                      <a:pt x="236352" y="74888"/>
                    </a:lnTo>
                    <a:lnTo>
                      <a:pt x="287085" y="81599"/>
                    </a:lnTo>
                    <a:lnTo>
                      <a:pt x="304241" y="118150"/>
                    </a:lnTo>
                    <a:lnTo>
                      <a:pt x="335083" y="100576"/>
                    </a:lnTo>
                    <a:lnTo>
                      <a:pt x="358950" y="112771"/>
                    </a:lnTo>
                    <a:lnTo>
                      <a:pt x="397018" y="95549"/>
                    </a:lnTo>
                    <a:lnTo>
                      <a:pt x="397741" y="78391"/>
                    </a:lnTo>
                    <a:lnTo>
                      <a:pt x="420401" y="80043"/>
                    </a:lnTo>
                    <a:lnTo>
                      <a:pt x="448607" y="107656"/>
                    </a:lnTo>
                    <a:lnTo>
                      <a:pt x="455004" y="152972"/>
                    </a:lnTo>
                    <a:lnTo>
                      <a:pt x="471733" y="142390"/>
                    </a:lnTo>
                    <a:lnTo>
                      <a:pt x="494296" y="169398"/>
                    </a:lnTo>
                    <a:lnTo>
                      <a:pt x="527976" y="162995"/>
                    </a:lnTo>
                    <a:lnTo>
                      <a:pt x="600503" y="230278"/>
                    </a:lnTo>
                    <a:lnTo>
                      <a:pt x="648606" y="219483"/>
                    </a:lnTo>
                    <a:lnTo>
                      <a:pt x="671483" y="232746"/>
                    </a:lnTo>
                    <a:lnTo>
                      <a:pt x="651468" y="310473"/>
                    </a:lnTo>
                    <a:lnTo>
                      <a:pt x="608210" y="309986"/>
                    </a:lnTo>
                    <a:lnTo>
                      <a:pt x="608895" y="350226"/>
                    </a:lnTo>
                    <a:lnTo>
                      <a:pt x="579571" y="335709"/>
                    </a:lnTo>
                    <a:lnTo>
                      <a:pt x="576541" y="352816"/>
                    </a:lnTo>
                    <a:lnTo>
                      <a:pt x="564937" y="345041"/>
                    </a:lnTo>
                    <a:lnTo>
                      <a:pt x="559021" y="402003"/>
                    </a:lnTo>
                    <a:lnTo>
                      <a:pt x="534967" y="427014"/>
                    </a:lnTo>
                    <a:lnTo>
                      <a:pt x="547357" y="466263"/>
                    </a:lnTo>
                    <a:lnTo>
                      <a:pt x="528794" y="462269"/>
                    </a:lnTo>
                    <a:lnTo>
                      <a:pt x="512383" y="487521"/>
                    </a:lnTo>
                    <a:lnTo>
                      <a:pt x="481559" y="495611"/>
                    </a:lnTo>
                    <a:lnTo>
                      <a:pt x="477799" y="514272"/>
                    </a:lnTo>
                    <a:lnTo>
                      <a:pt x="465165" y="497238"/>
                    </a:lnTo>
                    <a:lnTo>
                      <a:pt x="472491" y="459037"/>
                    </a:lnTo>
                    <a:lnTo>
                      <a:pt x="438650" y="462272"/>
                    </a:lnTo>
                    <a:lnTo>
                      <a:pt x="414254" y="437029"/>
                    </a:lnTo>
                    <a:lnTo>
                      <a:pt x="385618" y="458459"/>
                    </a:lnTo>
                    <a:lnTo>
                      <a:pt x="380954" y="434702"/>
                    </a:lnTo>
                    <a:lnTo>
                      <a:pt x="311065" y="411537"/>
                    </a:lnTo>
                    <a:lnTo>
                      <a:pt x="292087" y="355227"/>
                    </a:lnTo>
                    <a:lnTo>
                      <a:pt x="270902" y="378661"/>
                    </a:lnTo>
                    <a:lnTo>
                      <a:pt x="257268" y="368798"/>
                    </a:lnTo>
                    <a:lnTo>
                      <a:pt x="214881" y="382605"/>
                    </a:lnTo>
                    <a:lnTo>
                      <a:pt x="180944" y="349004"/>
                    </a:lnTo>
                    <a:lnTo>
                      <a:pt x="161493" y="283379"/>
                    </a:lnTo>
                    <a:lnTo>
                      <a:pt x="123310" y="287816"/>
                    </a:lnTo>
                    <a:lnTo>
                      <a:pt x="69974" y="268866"/>
                    </a:lnTo>
                    <a:lnTo>
                      <a:pt x="40896" y="225620"/>
                    </a:lnTo>
                    <a:lnTo>
                      <a:pt x="52122" y="215177"/>
                    </a:lnTo>
                    <a:lnTo>
                      <a:pt x="17732" y="190063"/>
                    </a:lnTo>
                    <a:lnTo>
                      <a:pt x="30571" y="189364"/>
                    </a:lnTo>
                    <a:lnTo>
                      <a:pt x="28003" y="167060"/>
                    </a:lnTo>
                    <a:lnTo>
                      <a:pt x="11091" y="166854"/>
                    </a:lnTo>
                    <a:lnTo>
                      <a:pt x="-666" y="142528"/>
                    </a:lnTo>
                    <a:lnTo>
                      <a:pt x="21773" y="114761"/>
                    </a:lnTo>
                    <a:lnTo>
                      <a:pt x="76814" y="95054"/>
                    </a:lnTo>
                    <a:lnTo>
                      <a:pt x="74646" y="42068"/>
                    </a:lnTo>
                    <a:lnTo>
                      <a:pt x="99505" y="35416"/>
                    </a:lnTo>
                    <a:lnTo>
                      <a:pt x="100944" y="247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Брянская область">
                <a:extLst>
                  <a:ext uri="{FF2B5EF4-FFF2-40B4-BE49-F238E27FC236}">
                    <a16:creationId xmlns:a16="http://schemas.microsoft.com/office/drawing/2014/main" id="{6CB73C1B-C6EF-4F24-911B-CB0DECFBDF58}"/>
                  </a:ext>
                </a:extLst>
              </p:cNvPr>
              <p:cNvSpPr/>
              <p:nvPr/>
            </p:nvSpPr>
            <p:spPr>
              <a:xfrm>
                <a:off x="1106334" y="2696531"/>
                <a:ext cx="360926" cy="356580"/>
              </a:xfrm>
              <a:custGeom>
                <a:avLst/>
                <a:gdLst>
                  <a:gd name="connsiteX0" fmla="*/ 90368 w 360926"/>
                  <a:gd name="connsiteY0" fmla="*/ 3426 h 356580"/>
                  <a:gd name="connsiteX1" fmla="*/ 122682 w 360926"/>
                  <a:gd name="connsiteY1" fmla="*/ -157 h 356580"/>
                  <a:gd name="connsiteX2" fmla="*/ 136941 w 360926"/>
                  <a:gd name="connsiteY2" fmla="*/ 15642 h 356580"/>
                  <a:gd name="connsiteX3" fmla="*/ 133894 w 360926"/>
                  <a:gd name="connsiteY3" fmla="*/ 52211 h 356580"/>
                  <a:gd name="connsiteX4" fmla="*/ 159025 w 360926"/>
                  <a:gd name="connsiteY4" fmla="*/ 76542 h 356580"/>
                  <a:gd name="connsiteX5" fmla="*/ 229164 w 360926"/>
                  <a:gd name="connsiteY5" fmla="*/ 93302 h 356580"/>
                  <a:gd name="connsiteX6" fmla="*/ 315035 w 360926"/>
                  <a:gd name="connsiteY6" fmla="*/ 78028 h 356580"/>
                  <a:gd name="connsiteX7" fmla="*/ 342926 w 360926"/>
                  <a:gd name="connsiteY7" fmla="*/ 92178 h 356580"/>
                  <a:gd name="connsiteX8" fmla="*/ 349792 w 360926"/>
                  <a:gd name="connsiteY8" fmla="*/ 112944 h 356580"/>
                  <a:gd name="connsiteX9" fmla="*/ 336803 w 360926"/>
                  <a:gd name="connsiteY9" fmla="*/ 124682 h 356580"/>
                  <a:gd name="connsiteX10" fmla="*/ 360260 w 360926"/>
                  <a:gd name="connsiteY10" fmla="*/ 148693 h 356580"/>
                  <a:gd name="connsiteX11" fmla="*/ 319737 w 360926"/>
                  <a:gd name="connsiteY11" fmla="*/ 220798 h 356580"/>
                  <a:gd name="connsiteX12" fmla="*/ 336362 w 360926"/>
                  <a:gd name="connsiteY12" fmla="*/ 260693 h 356580"/>
                  <a:gd name="connsiteX13" fmla="*/ 314402 w 360926"/>
                  <a:gd name="connsiteY13" fmla="*/ 289143 h 356580"/>
                  <a:gd name="connsiteX14" fmla="*/ 318066 w 360926"/>
                  <a:gd name="connsiteY14" fmla="*/ 309477 h 356580"/>
                  <a:gd name="connsiteX15" fmla="*/ 261489 w 360926"/>
                  <a:gd name="connsiteY15" fmla="*/ 289550 h 356580"/>
                  <a:gd name="connsiteX16" fmla="*/ 258379 w 360926"/>
                  <a:gd name="connsiteY16" fmla="*/ 329327 h 356580"/>
                  <a:gd name="connsiteX17" fmla="*/ 213244 w 360926"/>
                  <a:gd name="connsiteY17" fmla="*/ 332844 h 356580"/>
                  <a:gd name="connsiteX18" fmla="*/ 189025 w 360926"/>
                  <a:gd name="connsiteY18" fmla="*/ 356424 h 356580"/>
                  <a:gd name="connsiteX19" fmla="*/ 132030 w 360926"/>
                  <a:gd name="connsiteY19" fmla="*/ 340749 h 356580"/>
                  <a:gd name="connsiteX20" fmla="*/ 110396 w 360926"/>
                  <a:gd name="connsiteY20" fmla="*/ 353302 h 356580"/>
                  <a:gd name="connsiteX21" fmla="*/ 143472 w 360926"/>
                  <a:gd name="connsiteY21" fmla="*/ 260292 h 356580"/>
                  <a:gd name="connsiteX22" fmla="*/ 121938 w 360926"/>
                  <a:gd name="connsiteY22" fmla="*/ 247478 h 356580"/>
                  <a:gd name="connsiteX23" fmla="*/ 111233 w 360926"/>
                  <a:gd name="connsiteY23" fmla="*/ 211736 h 356580"/>
                  <a:gd name="connsiteX24" fmla="*/ 77661 w 360926"/>
                  <a:gd name="connsiteY24" fmla="*/ 200406 h 356580"/>
                  <a:gd name="connsiteX25" fmla="*/ 61675 w 360926"/>
                  <a:gd name="connsiteY25" fmla="*/ 152350 h 356580"/>
                  <a:gd name="connsiteX26" fmla="*/ 35465 w 360926"/>
                  <a:gd name="connsiteY26" fmla="*/ 168545 h 356580"/>
                  <a:gd name="connsiteX27" fmla="*/ -666 w 360926"/>
                  <a:gd name="connsiteY27" fmla="*/ 142241 h 356580"/>
                  <a:gd name="connsiteX28" fmla="*/ 16982 w 360926"/>
                  <a:gd name="connsiteY28" fmla="*/ 91819 h 356580"/>
                  <a:gd name="connsiteX29" fmla="*/ 78300 w 360926"/>
                  <a:gd name="connsiteY29" fmla="*/ 50598 h 356580"/>
                  <a:gd name="connsiteX30" fmla="*/ 90368 w 360926"/>
                  <a:gd name="connsiteY30" fmla="*/ 3426 h 356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60926" h="356580">
                    <a:moveTo>
                      <a:pt x="90368" y="3426"/>
                    </a:moveTo>
                    <a:lnTo>
                      <a:pt x="122682" y="-157"/>
                    </a:lnTo>
                    <a:lnTo>
                      <a:pt x="136941" y="15642"/>
                    </a:lnTo>
                    <a:lnTo>
                      <a:pt x="133894" y="52211"/>
                    </a:lnTo>
                    <a:lnTo>
                      <a:pt x="159025" y="76542"/>
                    </a:lnTo>
                    <a:lnTo>
                      <a:pt x="229164" y="93302"/>
                    </a:lnTo>
                    <a:lnTo>
                      <a:pt x="315035" y="78028"/>
                    </a:lnTo>
                    <a:lnTo>
                      <a:pt x="342926" y="92178"/>
                    </a:lnTo>
                    <a:lnTo>
                      <a:pt x="349792" y="112944"/>
                    </a:lnTo>
                    <a:lnTo>
                      <a:pt x="336803" y="124682"/>
                    </a:lnTo>
                    <a:lnTo>
                      <a:pt x="360260" y="148693"/>
                    </a:lnTo>
                    <a:lnTo>
                      <a:pt x="319737" y="220798"/>
                    </a:lnTo>
                    <a:lnTo>
                      <a:pt x="336362" y="260693"/>
                    </a:lnTo>
                    <a:lnTo>
                      <a:pt x="314402" y="289143"/>
                    </a:lnTo>
                    <a:lnTo>
                      <a:pt x="318066" y="309477"/>
                    </a:lnTo>
                    <a:lnTo>
                      <a:pt x="261489" y="289550"/>
                    </a:lnTo>
                    <a:lnTo>
                      <a:pt x="258379" y="329327"/>
                    </a:lnTo>
                    <a:lnTo>
                      <a:pt x="213244" y="332844"/>
                    </a:lnTo>
                    <a:lnTo>
                      <a:pt x="189025" y="356424"/>
                    </a:lnTo>
                    <a:lnTo>
                      <a:pt x="132030" y="340749"/>
                    </a:lnTo>
                    <a:lnTo>
                      <a:pt x="110396" y="353302"/>
                    </a:lnTo>
                    <a:lnTo>
                      <a:pt x="143472" y="260292"/>
                    </a:lnTo>
                    <a:lnTo>
                      <a:pt x="121938" y="247478"/>
                    </a:lnTo>
                    <a:lnTo>
                      <a:pt x="111233" y="211736"/>
                    </a:lnTo>
                    <a:lnTo>
                      <a:pt x="77661" y="200406"/>
                    </a:lnTo>
                    <a:lnTo>
                      <a:pt x="61675" y="152350"/>
                    </a:lnTo>
                    <a:lnTo>
                      <a:pt x="35465" y="168545"/>
                    </a:lnTo>
                    <a:lnTo>
                      <a:pt x="-666" y="142241"/>
                    </a:lnTo>
                    <a:lnTo>
                      <a:pt x="16982" y="91819"/>
                    </a:lnTo>
                    <a:lnTo>
                      <a:pt x="78300" y="50598"/>
                    </a:lnTo>
                    <a:lnTo>
                      <a:pt x="90368" y="3426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Калужская область">
                <a:extLst>
                  <a:ext uri="{FF2B5EF4-FFF2-40B4-BE49-F238E27FC236}">
                    <a16:creationId xmlns:a16="http://schemas.microsoft.com/office/drawing/2014/main" id="{0CD921CF-3281-4F65-937C-F6706EA00A30}"/>
                  </a:ext>
                </a:extLst>
              </p:cNvPr>
              <p:cNvSpPr/>
              <p:nvPr/>
            </p:nvSpPr>
            <p:spPr>
              <a:xfrm>
                <a:off x="1424775" y="2750297"/>
                <a:ext cx="351481" cy="259557"/>
              </a:xfrm>
              <a:custGeom>
                <a:avLst/>
                <a:gdLst>
                  <a:gd name="connsiteX0" fmla="*/ 19262 w 351481"/>
                  <a:gd name="connsiteY0" fmla="*/ 25625 h 259557"/>
                  <a:gd name="connsiteX1" fmla="*/ 62710 w 351481"/>
                  <a:gd name="connsiteY1" fmla="*/ 22019 h 259557"/>
                  <a:gd name="connsiteX2" fmla="*/ 87554 w 351481"/>
                  <a:gd name="connsiteY2" fmla="*/ -157 h 259557"/>
                  <a:gd name="connsiteX3" fmla="*/ 113218 w 351481"/>
                  <a:gd name="connsiteY3" fmla="*/ 14968 h 259557"/>
                  <a:gd name="connsiteX4" fmla="*/ 129575 w 351481"/>
                  <a:gd name="connsiteY4" fmla="*/ 56941 h 259557"/>
                  <a:gd name="connsiteX5" fmla="*/ 150404 w 351481"/>
                  <a:gd name="connsiteY5" fmla="*/ 38328 h 259557"/>
                  <a:gd name="connsiteX6" fmla="*/ 175527 w 351481"/>
                  <a:gd name="connsiteY6" fmla="*/ 67441 h 259557"/>
                  <a:gd name="connsiteX7" fmla="*/ 201859 w 351481"/>
                  <a:gd name="connsiteY7" fmla="*/ 51772 h 259557"/>
                  <a:gd name="connsiteX8" fmla="*/ 224844 w 351481"/>
                  <a:gd name="connsiteY8" fmla="*/ 63014 h 259557"/>
                  <a:gd name="connsiteX9" fmla="*/ 272340 w 351481"/>
                  <a:gd name="connsiteY9" fmla="*/ 50061 h 259557"/>
                  <a:gd name="connsiteX10" fmla="*/ 297429 w 351481"/>
                  <a:gd name="connsiteY10" fmla="*/ 76679 h 259557"/>
                  <a:gd name="connsiteX11" fmla="*/ 310429 w 351481"/>
                  <a:gd name="connsiteY11" fmla="*/ 125201 h 259557"/>
                  <a:gd name="connsiteX12" fmla="*/ 350815 w 351481"/>
                  <a:gd name="connsiteY12" fmla="*/ 131381 h 259557"/>
                  <a:gd name="connsiteX13" fmla="*/ 347937 w 351481"/>
                  <a:gd name="connsiteY13" fmla="*/ 191937 h 259557"/>
                  <a:gd name="connsiteX14" fmla="*/ 326473 w 351481"/>
                  <a:gd name="connsiteY14" fmla="*/ 227486 h 259557"/>
                  <a:gd name="connsiteX15" fmla="*/ 282464 w 351481"/>
                  <a:gd name="connsiteY15" fmla="*/ 245296 h 259557"/>
                  <a:gd name="connsiteX16" fmla="*/ 270630 w 351481"/>
                  <a:gd name="connsiteY16" fmla="*/ 227994 h 259557"/>
                  <a:gd name="connsiteX17" fmla="*/ 241460 w 351481"/>
                  <a:gd name="connsiteY17" fmla="*/ 259401 h 259557"/>
                  <a:gd name="connsiteX18" fmla="*/ 174887 w 351481"/>
                  <a:gd name="connsiteY18" fmla="*/ 198505 h 259557"/>
                  <a:gd name="connsiteX19" fmla="*/ 174575 w 351481"/>
                  <a:gd name="connsiteY19" fmla="*/ 225300 h 259557"/>
                  <a:gd name="connsiteX20" fmla="*/ 126979 w 351481"/>
                  <a:gd name="connsiteY20" fmla="*/ 225478 h 259557"/>
                  <a:gd name="connsiteX21" fmla="*/ 116366 w 351481"/>
                  <a:gd name="connsiteY21" fmla="*/ 253814 h 259557"/>
                  <a:gd name="connsiteX22" fmla="*/ 19755 w 351481"/>
                  <a:gd name="connsiteY22" fmla="*/ 230392 h 259557"/>
                  <a:gd name="connsiteX23" fmla="*/ -666 w 351481"/>
                  <a:gd name="connsiteY23" fmla="*/ 176409 h 259557"/>
                  <a:gd name="connsiteX24" fmla="*/ 41819 w 351481"/>
                  <a:gd name="connsiteY24" fmla="*/ 94926 h 259557"/>
                  <a:gd name="connsiteX25" fmla="*/ 18361 w 351481"/>
                  <a:gd name="connsiteY25" fmla="*/ 70916 h 259557"/>
                  <a:gd name="connsiteX26" fmla="*/ 31351 w 351481"/>
                  <a:gd name="connsiteY26" fmla="*/ 59178 h 259557"/>
                  <a:gd name="connsiteX27" fmla="*/ 19261 w 351481"/>
                  <a:gd name="connsiteY27" fmla="*/ 25624 h 25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51481" h="259557">
                    <a:moveTo>
                      <a:pt x="19262" y="25625"/>
                    </a:moveTo>
                    <a:lnTo>
                      <a:pt x="62710" y="22019"/>
                    </a:lnTo>
                    <a:lnTo>
                      <a:pt x="87554" y="-157"/>
                    </a:lnTo>
                    <a:lnTo>
                      <a:pt x="113218" y="14968"/>
                    </a:lnTo>
                    <a:lnTo>
                      <a:pt x="129575" y="56941"/>
                    </a:lnTo>
                    <a:lnTo>
                      <a:pt x="150404" y="38328"/>
                    </a:lnTo>
                    <a:lnTo>
                      <a:pt x="175527" y="67441"/>
                    </a:lnTo>
                    <a:lnTo>
                      <a:pt x="201859" y="51772"/>
                    </a:lnTo>
                    <a:lnTo>
                      <a:pt x="224844" y="63014"/>
                    </a:lnTo>
                    <a:lnTo>
                      <a:pt x="272340" y="50061"/>
                    </a:lnTo>
                    <a:lnTo>
                      <a:pt x="297429" y="76679"/>
                    </a:lnTo>
                    <a:lnTo>
                      <a:pt x="310429" y="125201"/>
                    </a:lnTo>
                    <a:lnTo>
                      <a:pt x="350815" y="131381"/>
                    </a:lnTo>
                    <a:lnTo>
                      <a:pt x="347937" y="191937"/>
                    </a:lnTo>
                    <a:lnTo>
                      <a:pt x="326473" y="227486"/>
                    </a:lnTo>
                    <a:lnTo>
                      <a:pt x="282464" y="245296"/>
                    </a:lnTo>
                    <a:lnTo>
                      <a:pt x="270630" y="227994"/>
                    </a:lnTo>
                    <a:lnTo>
                      <a:pt x="241460" y="259401"/>
                    </a:lnTo>
                    <a:lnTo>
                      <a:pt x="174887" y="198505"/>
                    </a:lnTo>
                    <a:lnTo>
                      <a:pt x="174575" y="225300"/>
                    </a:lnTo>
                    <a:lnTo>
                      <a:pt x="126979" y="225478"/>
                    </a:lnTo>
                    <a:lnTo>
                      <a:pt x="116366" y="253814"/>
                    </a:lnTo>
                    <a:lnTo>
                      <a:pt x="19755" y="230392"/>
                    </a:lnTo>
                    <a:lnTo>
                      <a:pt x="-666" y="176409"/>
                    </a:lnTo>
                    <a:lnTo>
                      <a:pt x="41819" y="94926"/>
                    </a:lnTo>
                    <a:lnTo>
                      <a:pt x="18361" y="70916"/>
                    </a:lnTo>
                    <a:lnTo>
                      <a:pt x="31351" y="59178"/>
                    </a:lnTo>
                    <a:lnTo>
                      <a:pt x="19261" y="25624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Курская область">
                <a:extLst>
                  <a:ext uri="{FF2B5EF4-FFF2-40B4-BE49-F238E27FC236}">
                    <a16:creationId xmlns:a16="http://schemas.microsoft.com/office/drawing/2014/main" id="{87AF9F20-446E-455E-BB28-FD17D93B1915}"/>
                  </a:ext>
                </a:extLst>
              </p:cNvPr>
              <p:cNvSpPr/>
              <p:nvPr/>
            </p:nvSpPr>
            <p:spPr>
              <a:xfrm>
                <a:off x="1135974" y="3037063"/>
                <a:ext cx="332652" cy="367144"/>
              </a:xfrm>
              <a:custGeom>
                <a:avLst/>
                <a:gdLst>
                  <a:gd name="connsiteX0" fmla="*/ 41116 w 332652"/>
                  <a:gd name="connsiteY0" fmla="*/ 5415 h 367144"/>
                  <a:gd name="connsiteX1" fmla="*/ 69247 w 332652"/>
                  <a:gd name="connsiteY1" fmla="*/ 26905 h 367144"/>
                  <a:gd name="connsiteX2" fmla="*/ 91053 w 332652"/>
                  <a:gd name="connsiteY2" fmla="*/ -157 h 367144"/>
                  <a:gd name="connsiteX3" fmla="*/ 131785 w 332652"/>
                  <a:gd name="connsiteY3" fmla="*/ 17616 h 367144"/>
                  <a:gd name="connsiteX4" fmla="*/ 142113 w 332652"/>
                  <a:gd name="connsiteY4" fmla="*/ 2898 h 367144"/>
                  <a:gd name="connsiteX5" fmla="*/ 153258 w 332652"/>
                  <a:gd name="connsiteY5" fmla="*/ 16648 h 367144"/>
                  <a:gd name="connsiteX6" fmla="*/ 177305 w 332652"/>
                  <a:gd name="connsiteY6" fmla="*/ 5305 h 367144"/>
                  <a:gd name="connsiteX7" fmla="*/ 179423 w 332652"/>
                  <a:gd name="connsiteY7" fmla="*/ 20571 h 367144"/>
                  <a:gd name="connsiteX8" fmla="*/ 221936 w 332652"/>
                  <a:gd name="connsiteY8" fmla="*/ 44887 h 367144"/>
                  <a:gd name="connsiteX9" fmla="*/ 203804 w 332652"/>
                  <a:gd name="connsiteY9" fmla="*/ 71135 h 367144"/>
                  <a:gd name="connsiteX10" fmla="*/ 259321 w 332652"/>
                  <a:gd name="connsiteY10" fmla="*/ 109597 h 367144"/>
                  <a:gd name="connsiteX11" fmla="*/ 251206 w 332652"/>
                  <a:gd name="connsiteY11" fmla="*/ 140224 h 367144"/>
                  <a:gd name="connsiteX12" fmla="*/ 274885 w 332652"/>
                  <a:gd name="connsiteY12" fmla="*/ 204599 h 367144"/>
                  <a:gd name="connsiteX13" fmla="*/ 269965 w 332652"/>
                  <a:gd name="connsiteY13" fmla="*/ 235295 h 367144"/>
                  <a:gd name="connsiteX14" fmla="*/ 284820 w 332652"/>
                  <a:gd name="connsiteY14" fmla="*/ 233491 h 367144"/>
                  <a:gd name="connsiteX15" fmla="*/ 299446 w 332652"/>
                  <a:gd name="connsiteY15" fmla="*/ 252112 h 367144"/>
                  <a:gd name="connsiteX16" fmla="*/ 294738 w 332652"/>
                  <a:gd name="connsiteY16" fmla="*/ 276630 h 367144"/>
                  <a:gd name="connsiteX17" fmla="*/ 331987 w 332652"/>
                  <a:gd name="connsiteY17" fmla="*/ 308887 h 367144"/>
                  <a:gd name="connsiteX18" fmla="*/ 313642 w 332652"/>
                  <a:gd name="connsiteY18" fmla="*/ 335112 h 367144"/>
                  <a:gd name="connsiteX19" fmla="*/ 278684 w 332652"/>
                  <a:gd name="connsiteY19" fmla="*/ 317129 h 367144"/>
                  <a:gd name="connsiteX20" fmla="*/ 249333 w 332652"/>
                  <a:gd name="connsiteY20" fmla="*/ 366988 h 367144"/>
                  <a:gd name="connsiteX21" fmla="*/ 240206 w 332652"/>
                  <a:gd name="connsiteY21" fmla="*/ 324382 h 367144"/>
                  <a:gd name="connsiteX22" fmla="*/ 182535 w 332652"/>
                  <a:gd name="connsiteY22" fmla="*/ 270681 h 367144"/>
                  <a:gd name="connsiteX23" fmla="*/ 167365 w 332652"/>
                  <a:gd name="connsiteY23" fmla="*/ 283242 h 367144"/>
                  <a:gd name="connsiteX24" fmla="*/ 118211 w 332652"/>
                  <a:gd name="connsiteY24" fmla="*/ 259086 h 367144"/>
                  <a:gd name="connsiteX25" fmla="*/ 94031 w 332652"/>
                  <a:gd name="connsiteY25" fmla="*/ 205408 h 367144"/>
                  <a:gd name="connsiteX26" fmla="*/ 52723 w 332652"/>
                  <a:gd name="connsiteY26" fmla="*/ 209729 h 367144"/>
                  <a:gd name="connsiteX27" fmla="*/ 32239 w 332652"/>
                  <a:gd name="connsiteY27" fmla="*/ 192867 h 367144"/>
                  <a:gd name="connsiteX28" fmla="*/ 28315 w 332652"/>
                  <a:gd name="connsiteY28" fmla="*/ 168761 h 367144"/>
                  <a:gd name="connsiteX29" fmla="*/ 41180 w 332652"/>
                  <a:gd name="connsiteY29" fmla="*/ 162011 h 367144"/>
                  <a:gd name="connsiteX30" fmla="*/ 29729 w 332652"/>
                  <a:gd name="connsiteY30" fmla="*/ 142828 h 367144"/>
                  <a:gd name="connsiteX31" fmla="*/ 47425 w 332652"/>
                  <a:gd name="connsiteY31" fmla="*/ 129799 h 367144"/>
                  <a:gd name="connsiteX32" fmla="*/ 21154 w 332652"/>
                  <a:gd name="connsiteY32" fmla="*/ 108877 h 367144"/>
                  <a:gd name="connsiteX33" fmla="*/ -666 w 332652"/>
                  <a:gd name="connsiteY33" fmla="*/ 54014 h 367144"/>
                  <a:gd name="connsiteX34" fmla="*/ 35765 w 332652"/>
                  <a:gd name="connsiteY34" fmla="*/ 36481 h 367144"/>
                  <a:gd name="connsiteX35" fmla="*/ 41116 w 332652"/>
                  <a:gd name="connsiteY35" fmla="*/ 5415 h 36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32652" h="367144">
                    <a:moveTo>
                      <a:pt x="41116" y="5415"/>
                    </a:moveTo>
                    <a:lnTo>
                      <a:pt x="69247" y="26905"/>
                    </a:lnTo>
                    <a:lnTo>
                      <a:pt x="91053" y="-157"/>
                    </a:lnTo>
                    <a:lnTo>
                      <a:pt x="131785" y="17616"/>
                    </a:lnTo>
                    <a:lnTo>
                      <a:pt x="142113" y="2898"/>
                    </a:lnTo>
                    <a:lnTo>
                      <a:pt x="153258" y="16648"/>
                    </a:lnTo>
                    <a:lnTo>
                      <a:pt x="177305" y="5305"/>
                    </a:lnTo>
                    <a:lnTo>
                      <a:pt x="179423" y="20571"/>
                    </a:lnTo>
                    <a:lnTo>
                      <a:pt x="221936" y="44887"/>
                    </a:lnTo>
                    <a:lnTo>
                      <a:pt x="203804" y="71135"/>
                    </a:lnTo>
                    <a:lnTo>
                      <a:pt x="259321" y="109597"/>
                    </a:lnTo>
                    <a:lnTo>
                      <a:pt x="251206" y="140224"/>
                    </a:lnTo>
                    <a:lnTo>
                      <a:pt x="274885" y="204599"/>
                    </a:lnTo>
                    <a:lnTo>
                      <a:pt x="269965" y="235295"/>
                    </a:lnTo>
                    <a:lnTo>
                      <a:pt x="284820" y="233491"/>
                    </a:lnTo>
                    <a:lnTo>
                      <a:pt x="299446" y="252112"/>
                    </a:lnTo>
                    <a:lnTo>
                      <a:pt x="294738" y="276630"/>
                    </a:lnTo>
                    <a:lnTo>
                      <a:pt x="331987" y="308887"/>
                    </a:lnTo>
                    <a:lnTo>
                      <a:pt x="313642" y="335112"/>
                    </a:lnTo>
                    <a:lnTo>
                      <a:pt x="278684" y="317129"/>
                    </a:lnTo>
                    <a:lnTo>
                      <a:pt x="249333" y="366988"/>
                    </a:lnTo>
                    <a:lnTo>
                      <a:pt x="240206" y="324382"/>
                    </a:lnTo>
                    <a:lnTo>
                      <a:pt x="182535" y="270681"/>
                    </a:lnTo>
                    <a:lnTo>
                      <a:pt x="167365" y="283242"/>
                    </a:lnTo>
                    <a:lnTo>
                      <a:pt x="118211" y="259086"/>
                    </a:lnTo>
                    <a:lnTo>
                      <a:pt x="94031" y="205408"/>
                    </a:lnTo>
                    <a:lnTo>
                      <a:pt x="52723" y="209729"/>
                    </a:lnTo>
                    <a:lnTo>
                      <a:pt x="32239" y="192867"/>
                    </a:lnTo>
                    <a:lnTo>
                      <a:pt x="28315" y="168761"/>
                    </a:lnTo>
                    <a:lnTo>
                      <a:pt x="41180" y="162011"/>
                    </a:lnTo>
                    <a:lnTo>
                      <a:pt x="29729" y="142828"/>
                    </a:lnTo>
                    <a:lnTo>
                      <a:pt x="47425" y="129799"/>
                    </a:lnTo>
                    <a:lnTo>
                      <a:pt x="21154" y="108877"/>
                    </a:lnTo>
                    <a:lnTo>
                      <a:pt x="-666" y="54014"/>
                    </a:lnTo>
                    <a:lnTo>
                      <a:pt x="35765" y="36481"/>
                    </a:lnTo>
                    <a:lnTo>
                      <a:pt x="41116" y="5415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" name="Орловская область">
                <a:extLst>
                  <a:ext uri="{FF2B5EF4-FFF2-40B4-BE49-F238E27FC236}">
                    <a16:creationId xmlns:a16="http://schemas.microsoft.com/office/drawing/2014/main" id="{AD604796-5BBD-4676-BAEA-0BFD40351371}"/>
                  </a:ext>
                </a:extLst>
              </p:cNvPr>
              <p:cNvSpPr/>
              <p:nvPr/>
            </p:nvSpPr>
            <p:spPr>
              <a:xfrm>
                <a:off x="1314454" y="2973369"/>
                <a:ext cx="265008" cy="316935"/>
              </a:xfrm>
              <a:custGeom>
                <a:avLst/>
                <a:gdLst>
                  <a:gd name="connsiteX0" fmla="*/ 53368 w 265008"/>
                  <a:gd name="connsiteY0" fmla="*/ 12713 h 316935"/>
                  <a:gd name="connsiteX1" fmla="*/ 100623 w 265008"/>
                  <a:gd name="connsiteY1" fmla="*/ 35147 h 316935"/>
                  <a:gd name="connsiteX2" fmla="*/ 119866 w 265008"/>
                  <a:gd name="connsiteY2" fmla="*/ -157 h 316935"/>
                  <a:gd name="connsiteX3" fmla="*/ 215488 w 265008"/>
                  <a:gd name="connsiteY3" fmla="*/ 24079 h 316935"/>
                  <a:gd name="connsiteX4" fmla="*/ 219668 w 265008"/>
                  <a:gd name="connsiteY4" fmla="*/ 119503 h 316935"/>
                  <a:gd name="connsiteX5" fmla="*/ 264343 w 265008"/>
                  <a:gd name="connsiteY5" fmla="*/ 179657 h 316935"/>
                  <a:gd name="connsiteX6" fmla="*/ 243609 w 265008"/>
                  <a:gd name="connsiteY6" fmla="*/ 198732 h 316935"/>
                  <a:gd name="connsiteX7" fmla="*/ 254283 w 265008"/>
                  <a:gd name="connsiteY7" fmla="*/ 204627 h 316935"/>
                  <a:gd name="connsiteX8" fmla="*/ 246274 w 265008"/>
                  <a:gd name="connsiteY8" fmla="*/ 228492 h 316935"/>
                  <a:gd name="connsiteX9" fmla="*/ 216904 w 265008"/>
                  <a:gd name="connsiteY9" fmla="*/ 254379 h 316935"/>
                  <a:gd name="connsiteX10" fmla="*/ 189238 w 265008"/>
                  <a:gd name="connsiteY10" fmla="*/ 256337 h 316935"/>
                  <a:gd name="connsiteX11" fmla="*/ 167577 w 265008"/>
                  <a:gd name="connsiteY11" fmla="*/ 313526 h 316935"/>
                  <a:gd name="connsiteX12" fmla="*/ 139587 w 265008"/>
                  <a:gd name="connsiteY12" fmla="*/ 301638 h 316935"/>
                  <a:gd name="connsiteX13" fmla="*/ 112917 w 265008"/>
                  <a:gd name="connsiteY13" fmla="*/ 316779 h 316935"/>
                  <a:gd name="connsiteX14" fmla="*/ 106340 w 265008"/>
                  <a:gd name="connsiteY14" fmla="*/ 297185 h 316935"/>
                  <a:gd name="connsiteX15" fmla="*/ 91485 w 265008"/>
                  <a:gd name="connsiteY15" fmla="*/ 298989 h 316935"/>
                  <a:gd name="connsiteX16" fmla="*/ 96404 w 265008"/>
                  <a:gd name="connsiteY16" fmla="*/ 268293 h 316935"/>
                  <a:gd name="connsiteX17" fmla="*/ 72725 w 265008"/>
                  <a:gd name="connsiteY17" fmla="*/ 203919 h 316935"/>
                  <a:gd name="connsiteX18" fmla="*/ 80840 w 265008"/>
                  <a:gd name="connsiteY18" fmla="*/ 173291 h 316935"/>
                  <a:gd name="connsiteX19" fmla="*/ 25901 w 265008"/>
                  <a:gd name="connsiteY19" fmla="*/ 136332 h 316935"/>
                  <a:gd name="connsiteX20" fmla="*/ 46328 w 265008"/>
                  <a:gd name="connsiteY20" fmla="*/ 113269 h 316935"/>
                  <a:gd name="connsiteX21" fmla="*/ -666 w 265008"/>
                  <a:gd name="connsiteY21" fmla="*/ 82267 h 316935"/>
                  <a:gd name="connsiteX22" fmla="*/ 5124 w 265008"/>
                  <a:gd name="connsiteY22" fmla="*/ 56006 h 316935"/>
                  <a:gd name="connsiteX23" fmla="*/ 51070 w 265008"/>
                  <a:gd name="connsiteY23" fmla="*/ 51660 h 316935"/>
                  <a:gd name="connsiteX24" fmla="*/ 53368 w 265008"/>
                  <a:gd name="connsiteY24" fmla="*/ 12713 h 316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65008" h="316935">
                    <a:moveTo>
                      <a:pt x="53368" y="12713"/>
                    </a:moveTo>
                    <a:lnTo>
                      <a:pt x="100623" y="35147"/>
                    </a:lnTo>
                    <a:lnTo>
                      <a:pt x="119866" y="-157"/>
                    </a:lnTo>
                    <a:lnTo>
                      <a:pt x="215488" y="24079"/>
                    </a:lnTo>
                    <a:lnTo>
                      <a:pt x="219668" y="119503"/>
                    </a:lnTo>
                    <a:lnTo>
                      <a:pt x="264343" y="179657"/>
                    </a:lnTo>
                    <a:lnTo>
                      <a:pt x="243609" y="198732"/>
                    </a:lnTo>
                    <a:lnTo>
                      <a:pt x="254283" y="204627"/>
                    </a:lnTo>
                    <a:lnTo>
                      <a:pt x="246274" y="228492"/>
                    </a:lnTo>
                    <a:lnTo>
                      <a:pt x="216904" y="254379"/>
                    </a:lnTo>
                    <a:lnTo>
                      <a:pt x="189238" y="256337"/>
                    </a:lnTo>
                    <a:lnTo>
                      <a:pt x="167577" y="313526"/>
                    </a:lnTo>
                    <a:lnTo>
                      <a:pt x="139587" y="301638"/>
                    </a:lnTo>
                    <a:lnTo>
                      <a:pt x="112917" y="316779"/>
                    </a:lnTo>
                    <a:lnTo>
                      <a:pt x="106340" y="297185"/>
                    </a:lnTo>
                    <a:lnTo>
                      <a:pt x="91485" y="298989"/>
                    </a:lnTo>
                    <a:lnTo>
                      <a:pt x="96404" y="268293"/>
                    </a:lnTo>
                    <a:lnTo>
                      <a:pt x="72725" y="203919"/>
                    </a:lnTo>
                    <a:lnTo>
                      <a:pt x="80840" y="173291"/>
                    </a:lnTo>
                    <a:lnTo>
                      <a:pt x="25901" y="136332"/>
                    </a:lnTo>
                    <a:lnTo>
                      <a:pt x="46328" y="113269"/>
                    </a:lnTo>
                    <a:lnTo>
                      <a:pt x="-666" y="82267"/>
                    </a:lnTo>
                    <a:lnTo>
                      <a:pt x="5124" y="56006"/>
                    </a:lnTo>
                    <a:lnTo>
                      <a:pt x="51070" y="51660"/>
                    </a:lnTo>
                    <a:lnTo>
                      <a:pt x="53368" y="12713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" name="Московская область">
                <a:extLst>
                  <a:ext uri="{FF2B5EF4-FFF2-40B4-BE49-F238E27FC236}">
                    <a16:creationId xmlns:a16="http://schemas.microsoft.com/office/drawing/2014/main" id="{2D51BFB6-F08B-47A2-BA53-5DC2C036D008}"/>
                  </a:ext>
                </a:extLst>
              </p:cNvPr>
              <p:cNvSpPr/>
              <p:nvPr/>
            </p:nvSpPr>
            <p:spPr>
              <a:xfrm>
                <a:off x="1697281" y="2696008"/>
                <a:ext cx="342616" cy="440730"/>
              </a:xfrm>
              <a:custGeom>
                <a:avLst/>
                <a:gdLst>
                  <a:gd name="connsiteX0" fmla="*/ 75711 w 342616"/>
                  <a:gd name="connsiteY0" fmla="*/ 27221 h 440730"/>
                  <a:gd name="connsiteX1" fmla="*/ 118099 w 342616"/>
                  <a:gd name="connsiteY1" fmla="*/ 13414 h 440730"/>
                  <a:gd name="connsiteX2" fmla="*/ 131735 w 342616"/>
                  <a:gd name="connsiteY2" fmla="*/ 23273 h 440730"/>
                  <a:gd name="connsiteX3" fmla="*/ 152917 w 342616"/>
                  <a:gd name="connsiteY3" fmla="*/ -157 h 440730"/>
                  <a:gd name="connsiteX4" fmla="*/ 171895 w 342616"/>
                  <a:gd name="connsiteY4" fmla="*/ 56153 h 440730"/>
                  <a:gd name="connsiteX5" fmla="*/ 241784 w 342616"/>
                  <a:gd name="connsiteY5" fmla="*/ 79318 h 440730"/>
                  <a:gd name="connsiteX6" fmla="*/ 246509 w 342616"/>
                  <a:gd name="connsiteY6" fmla="*/ 103151 h 440730"/>
                  <a:gd name="connsiteX7" fmla="*/ 275084 w 342616"/>
                  <a:gd name="connsiteY7" fmla="*/ 81646 h 440730"/>
                  <a:gd name="connsiteX8" fmla="*/ 299480 w 342616"/>
                  <a:gd name="connsiteY8" fmla="*/ 106888 h 440730"/>
                  <a:gd name="connsiteX9" fmla="*/ 334935 w 342616"/>
                  <a:gd name="connsiteY9" fmla="*/ 106304 h 440730"/>
                  <a:gd name="connsiteX10" fmla="*/ 325995 w 342616"/>
                  <a:gd name="connsiteY10" fmla="*/ 141853 h 440730"/>
                  <a:gd name="connsiteX11" fmla="*/ 341950 w 342616"/>
                  <a:gd name="connsiteY11" fmla="*/ 163081 h 440730"/>
                  <a:gd name="connsiteX12" fmla="*/ 311698 w 342616"/>
                  <a:gd name="connsiteY12" fmla="*/ 184017 h 440730"/>
                  <a:gd name="connsiteX13" fmla="*/ 264985 w 342616"/>
                  <a:gd name="connsiteY13" fmla="*/ 257306 h 440730"/>
                  <a:gd name="connsiteX14" fmla="*/ 285788 w 342616"/>
                  <a:gd name="connsiteY14" fmla="*/ 292813 h 440730"/>
                  <a:gd name="connsiteX15" fmla="*/ 275634 w 342616"/>
                  <a:gd name="connsiteY15" fmla="*/ 303156 h 440730"/>
                  <a:gd name="connsiteX16" fmla="*/ 291558 w 342616"/>
                  <a:gd name="connsiteY16" fmla="*/ 320197 h 440730"/>
                  <a:gd name="connsiteX17" fmla="*/ 285669 w 342616"/>
                  <a:gd name="connsiteY17" fmla="*/ 341616 h 440730"/>
                  <a:gd name="connsiteX18" fmla="*/ 319682 w 342616"/>
                  <a:gd name="connsiteY18" fmla="*/ 360604 h 440730"/>
                  <a:gd name="connsiteX19" fmla="*/ 276987 w 342616"/>
                  <a:gd name="connsiteY19" fmla="*/ 434450 h 440730"/>
                  <a:gd name="connsiteX20" fmla="*/ 237315 w 342616"/>
                  <a:gd name="connsiteY20" fmla="*/ 419505 h 440730"/>
                  <a:gd name="connsiteX21" fmla="*/ 217090 w 342616"/>
                  <a:gd name="connsiteY21" fmla="*/ 439245 h 440730"/>
                  <a:gd name="connsiteX22" fmla="*/ 197934 w 342616"/>
                  <a:gd name="connsiteY22" fmla="*/ 422030 h 440730"/>
                  <a:gd name="connsiteX23" fmla="*/ 140257 w 342616"/>
                  <a:gd name="connsiteY23" fmla="*/ 437524 h 440730"/>
                  <a:gd name="connsiteX24" fmla="*/ 116533 w 342616"/>
                  <a:gd name="connsiteY24" fmla="*/ 412448 h 440730"/>
                  <a:gd name="connsiteX25" fmla="*/ 95015 w 342616"/>
                  <a:gd name="connsiteY25" fmla="*/ 422319 h 440730"/>
                  <a:gd name="connsiteX26" fmla="*/ 95992 w 342616"/>
                  <a:gd name="connsiteY26" fmla="*/ 440574 h 440730"/>
                  <a:gd name="connsiteX27" fmla="*/ 61369 w 342616"/>
                  <a:gd name="connsiteY27" fmla="*/ 436193 h 440730"/>
                  <a:gd name="connsiteX28" fmla="*/ 70951 w 342616"/>
                  <a:gd name="connsiteY28" fmla="*/ 396269 h 440730"/>
                  <a:gd name="connsiteX29" fmla="*/ 97436 w 342616"/>
                  <a:gd name="connsiteY29" fmla="*/ 382565 h 440730"/>
                  <a:gd name="connsiteX30" fmla="*/ 80773 w 342616"/>
                  <a:gd name="connsiteY30" fmla="*/ 346421 h 440730"/>
                  <a:gd name="connsiteX31" fmla="*/ 91477 w 342616"/>
                  <a:gd name="connsiteY31" fmla="*/ 327129 h 440730"/>
                  <a:gd name="connsiteX32" fmla="*/ 60988 w 342616"/>
                  <a:gd name="connsiteY32" fmla="*/ 322858 h 440730"/>
                  <a:gd name="connsiteX33" fmla="*/ 50206 w 342616"/>
                  <a:gd name="connsiteY33" fmla="*/ 271930 h 440730"/>
                  <a:gd name="connsiteX34" fmla="*/ 77247 w 342616"/>
                  <a:gd name="connsiteY34" fmla="*/ 236591 h 440730"/>
                  <a:gd name="connsiteX35" fmla="*/ 110247 w 342616"/>
                  <a:gd name="connsiteY35" fmla="*/ 251110 h 440730"/>
                  <a:gd name="connsiteX36" fmla="*/ 136191 w 342616"/>
                  <a:gd name="connsiteY36" fmla="*/ 229045 h 440730"/>
                  <a:gd name="connsiteX37" fmla="*/ 139986 w 342616"/>
                  <a:gd name="connsiteY37" fmla="*/ 241893 h 440730"/>
                  <a:gd name="connsiteX38" fmla="*/ 160231 w 342616"/>
                  <a:gd name="connsiteY38" fmla="*/ 232691 h 440730"/>
                  <a:gd name="connsiteX39" fmla="*/ 192460 w 342616"/>
                  <a:gd name="connsiteY39" fmla="*/ 247767 h 440730"/>
                  <a:gd name="connsiteX40" fmla="*/ 205090 w 342616"/>
                  <a:gd name="connsiteY40" fmla="*/ 211165 h 440730"/>
                  <a:gd name="connsiteX41" fmla="*/ 191826 w 342616"/>
                  <a:gd name="connsiteY41" fmla="*/ 177701 h 440730"/>
                  <a:gd name="connsiteX42" fmla="*/ 160791 w 342616"/>
                  <a:gd name="connsiteY42" fmla="*/ 211235 h 440730"/>
                  <a:gd name="connsiteX43" fmla="*/ 135028 w 342616"/>
                  <a:gd name="connsiteY43" fmla="*/ 195858 h 440730"/>
                  <a:gd name="connsiteX44" fmla="*/ 119119 w 342616"/>
                  <a:gd name="connsiteY44" fmla="*/ 214383 h 440730"/>
                  <a:gd name="connsiteX45" fmla="*/ 109275 w 342616"/>
                  <a:gd name="connsiteY45" fmla="*/ 185419 h 440730"/>
                  <a:gd name="connsiteX46" fmla="*/ 82736 w 342616"/>
                  <a:gd name="connsiteY46" fmla="*/ 219882 h 440730"/>
                  <a:gd name="connsiteX47" fmla="*/ 70754 w 342616"/>
                  <a:gd name="connsiteY47" fmla="*/ 215671 h 440730"/>
                  <a:gd name="connsiteX48" fmla="*/ 78309 w 342616"/>
                  <a:gd name="connsiteY48" fmla="*/ 185669 h 440730"/>
                  <a:gd name="connsiteX49" fmla="*/ 31453 w 342616"/>
                  <a:gd name="connsiteY49" fmla="*/ 170524 h 440730"/>
                  <a:gd name="connsiteX50" fmla="*/ 25169 w 342616"/>
                  <a:gd name="connsiteY50" fmla="*/ 131472 h 440730"/>
                  <a:gd name="connsiteX51" fmla="*/ -666 w 342616"/>
                  <a:gd name="connsiteY51" fmla="*/ 114573 h 440730"/>
                  <a:gd name="connsiteX52" fmla="*/ 437 w 342616"/>
                  <a:gd name="connsiteY52" fmla="*/ 99916 h 440730"/>
                  <a:gd name="connsiteX53" fmla="*/ 43471 w 342616"/>
                  <a:gd name="connsiteY53" fmla="*/ 78527 h 440730"/>
                  <a:gd name="connsiteX54" fmla="*/ 75711 w 342616"/>
                  <a:gd name="connsiteY54" fmla="*/ 27221 h 44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42616" h="440730">
                    <a:moveTo>
                      <a:pt x="75711" y="27221"/>
                    </a:moveTo>
                    <a:lnTo>
                      <a:pt x="118099" y="13414"/>
                    </a:lnTo>
                    <a:lnTo>
                      <a:pt x="131735" y="23273"/>
                    </a:lnTo>
                    <a:lnTo>
                      <a:pt x="152917" y="-157"/>
                    </a:lnTo>
                    <a:lnTo>
                      <a:pt x="171895" y="56153"/>
                    </a:lnTo>
                    <a:lnTo>
                      <a:pt x="241784" y="79318"/>
                    </a:lnTo>
                    <a:lnTo>
                      <a:pt x="246509" y="103151"/>
                    </a:lnTo>
                    <a:lnTo>
                      <a:pt x="275084" y="81646"/>
                    </a:lnTo>
                    <a:lnTo>
                      <a:pt x="299480" y="106888"/>
                    </a:lnTo>
                    <a:lnTo>
                      <a:pt x="334935" y="106304"/>
                    </a:lnTo>
                    <a:lnTo>
                      <a:pt x="325995" y="141853"/>
                    </a:lnTo>
                    <a:lnTo>
                      <a:pt x="341950" y="163081"/>
                    </a:lnTo>
                    <a:lnTo>
                      <a:pt x="311698" y="184017"/>
                    </a:lnTo>
                    <a:lnTo>
                      <a:pt x="264985" y="257306"/>
                    </a:lnTo>
                    <a:lnTo>
                      <a:pt x="285788" y="292813"/>
                    </a:lnTo>
                    <a:lnTo>
                      <a:pt x="275634" y="303156"/>
                    </a:lnTo>
                    <a:lnTo>
                      <a:pt x="291558" y="320197"/>
                    </a:lnTo>
                    <a:lnTo>
                      <a:pt x="285669" y="341616"/>
                    </a:lnTo>
                    <a:lnTo>
                      <a:pt x="319682" y="360604"/>
                    </a:lnTo>
                    <a:lnTo>
                      <a:pt x="276987" y="434450"/>
                    </a:lnTo>
                    <a:lnTo>
                      <a:pt x="237315" y="419505"/>
                    </a:lnTo>
                    <a:lnTo>
                      <a:pt x="217090" y="439245"/>
                    </a:lnTo>
                    <a:lnTo>
                      <a:pt x="197934" y="422030"/>
                    </a:lnTo>
                    <a:lnTo>
                      <a:pt x="140257" y="437524"/>
                    </a:lnTo>
                    <a:lnTo>
                      <a:pt x="116533" y="412448"/>
                    </a:lnTo>
                    <a:lnTo>
                      <a:pt x="95015" y="422319"/>
                    </a:lnTo>
                    <a:lnTo>
                      <a:pt x="95992" y="440574"/>
                    </a:lnTo>
                    <a:lnTo>
                      <a:pt x="61369" y="436193"/>
                    </a:lnTo>
                    <a:lnTo>
                      <a:pt x="70951" y="396269"/>
                    </a:lnTo>
                    <a:lnTo>
                      <a:pt x="97436" y="382565"/>
                    </a:lnTo>
                    <a:lnTo>
                      <a:pt x="80773" y="346421"/>
                    </a:lnTo>
                    <a:lnTo>
                      <a:pt x="91477" y="327129"/>
                    </a:lnTo>
                    <a:lnTo>
                      <a:pt x="60988" y="322858"/>
                    </a:lnTo>
                    <a:lnTo>
                      <a:pt x="50206" y="271930"/>
                    </a:lnTo>
                    <a:lnTo>
                      <a:pt x="77247" y="236591"/>
                    </a:lnTo>
                    <a:lnTo>
                      <a:pt x="110247" y="251110"/>
                    </a:lnTo>
                    <a:lnTo>
                      <a:pt x="136191" y="229045"/>
                    </a:lnTo>
                    <a:lnTo>
                      <a:pt x="139986" y="241893"/>
                    </a:lnTo>
                    <a:lnTo>
                      <a:pt x="160231" y="232691"/>
                    </a:lnTo>
                    <a:lnTo>
                      <a:pt x="192460" y="247767"/>
                    </a:lnTo>
                    <a:lnTo>
                      <a:pt x="205090" y="211165"/>
                    </a:lnTo>
                    <a:lnTo>
                      <a:pt x="191826" y="177701"/>
                    </a:lnTo>
                    <a:lnTo>
                      <a:pt x="160791" y="211235"/>
                    </a:lnTo>
                    <a:lnTo>
                      <a:pt x="135028" y="195858"/>
                    </a:lnTo>
                    <a:lnTo>
                      <a:pt x="119119" y="214383"/>
                    </a:lnTo>
                    <a:lnTo>
                      <a:pt x="109275" y="185419"/>
                    </a:lnTo>
                    <a:lnTo>
                      <a:pt x="82736" y="219882"/>
                    </a:lnTo>
                    <a:lnTo>
                      <a:pt x="70754" y="215671"/>
                    </a:lnTo>
                    <a:lnTo>
                      <a:pt x="78309" y="185669"/>
                    </a:lnTo>
                    <a:lnTo>
                      <a:pt x="31453" y="170524"/>
                    </a:lnTo>
                    <a:lnTo>
                      <a:pt x="25169" y="131472"/>
                    </a:lnTo>
                    <a:lnTo>
                      <a:pt x="-666" y="114573"/>
                    </a:lnTo>
                    <a:lnTo>
                      <a:pt x="437" y="99916"/>
                    </a:lnTo>
                    <a:lnTo>
                      <a:pt x="43471" y="78527"/>
                    </a:lnTo>
                    <a:lnTo>
                      <a:pt x="75711" y="2722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" name="Белгородская область">
                <a:extLst>
                  <a:ext uri="{FF2B5EF4-FFF2-40B4-BE49-F238E27FC236}">
                    <a16:creationId xmlns:a16="http://schemas.microsoft.com/office/drawing/2014/main" id="{3F98750E-ED07-47BF-9A05-2759516AB41C}"/>
                  </a:ext>
                </a:extLst>
              </p:cNvPr>
              <p:cNvSpPr/>
              <p:nvPr/>
            </p:nvSpPr>
            <p:spPr>
              <a:xfrm>
                <a:off x="1104064" y="3206687"/>
                <a:ext cx="282248" cy="397331"/>
              </a:xfrm>
              <a:custGeom>
                <a:avLst/>
                <a:gdLst>
                  <a:gd name="connsiteX0" fmla="*/ 55248 w 282248"/>
                  <a:gd name="connsiteY0" fmla="*/ -157 h 397331"/>
                  <a:gd name="connsiteX1" fmla="*/ 84632 w 282248"/>
                  <a:gd name="connsiteY1" fmla="*/ 40105 h 397331"/>
                  <a:gd name="connsiteX2" fmla="*/ 125940 w 282248"/>
                  <a:gd name="connsiteY2" fmla="*/ 35784 h 397331"/>
                  <a:gd name="connsiteX3" fmla="*/ 145943 w 282248"/>
                  <a:gd name="connsiteY3" fmla="*/ 87165 h 397331"/>
                  <a:gd name="connsiteX4" fmla="*/ 199274 w 282248"/>
                  <a:gd name="connsiteY4" fmla="*/ 113618 h 397331"/>
                  <a:gd name="connsiteX5" fmla="*/ 214696 w 282248"/>
                  <a:gd name="connsiteY5" fmla="*/ 100967 h 397331"/>
                  <a:gd name="connsiteX6" fmla="*/ 275182 w 282248"/>
                  <a:gd name="connsiteY6" fmla="*/ 159408 h 397331"/>
                  <a:gd name="connsiteX7" fmla="*/ 281434 w 282248"/>
                  <a:gd name="connsiteY7" fmla="*/ 218976 h 397331"/>
                  <a:gd name="connsiteX8" fmla="*/ 257151 w 282248"/>
                  <a:gd name="connsiteY8" fmla="*/ 222398 h 397331"/>
                  <a:gd name="connsiteX9" fmla="*/ 281582 w 282248"/>
                  <a:gd name="connsiteY9" fmla="*/ 261734 h 397331"/>
                  <a:gd name="connsiteX10" fmla="*/ 266466 w 282248"/>
                  <a:gd name="connsiteY10" fmla="*/ 278663 h 397331"/>
                  <a:gd name="connsiteX11" fmla="*/ 257129 w 282248"/>
                  <a:gd name="connsiteY11" fmla="*/ 265535 h 397331"/>
                  <a:gd name="connsiteX12" fmla="*/ 243952 w 282248"/>
                  <a:gd name="connsiteY12" fmla="*/ 274032 h 397331"/>
                  <a:gd name="connsiteX13" fmla="*/ 249165 w 282248"/>
                  <a:gd name="connsiteY13" fmla="*/ 322798 h 397331"/>
                  <a:gd name="connsiteX14" fmla="*/ 218209 w 282248"/>
                  <a:gd name="connsiteY14" fmla="*/ 331051 h 397331"/>
                  <a:gd name="connsiteX15" fmla="*/ 183178 w 282248"/>
                  <a:gd name="connsiteY15" fmla="*/ 397175 h 397331"/>
                  <a:gd name="connsiteX16" fmla="*/ 139462 w 282248"/>
                  <a:gd name="connsiteY16" fmla="*/ 393061 h 397331"/>
                  <a:gd name="connsiteX17" fmla="*/ 134338 w 282248"/>
                  <a:gd name="connsiteY17" fmla="*/ 352513 h 397331"/>
                  <a:gd name="connsiteX18" fmla="*/ 129841 w 282248"/>
                  <a:gd name="connsiteY18" fmla="*/ 340842 h 397331"/>
                  <a:gd name="connsiteX19" fmla="*/ 133582 w 282248"/>
                  <a:gd name="connsiteY19" fmla="*/ 314823 h 397331"/>
                  <a:gd name="connsiteX20" fmla="*/ 91058 w 282248"/>
                  <a:gd name="connsiteY20" fmla="*/ 309309 h 397331"/>
                  <a:gd name="connsiteX21" fmla="*/ 125864 w 282248"/>
                  <a:gd name="connsiteY21" fmla="*/ 213781 h 397331"/>
                  <a:gd name="connsiteX22" fmla="*/ 45100 w 282248"/>
                  <a:gd name="connsiteY22" fmla="*/ 172807 h 397331"/>
                  <a:gd name="connsiteX23" fmla="*/ 39094 w 282248"/>
                  <a:gd name="connsiteY23" fmla="*/ 106621 h 397331"/>
                  <a:gd name="connsiteX24" fmla="*/ -666 w 282248"/>
                  <a:gd name="connsiteY24" fmla="*/ 79580 h 397331"/>
                  <a:gd name="connsiteX25" fmla="*/ 13512 w 282248"/>
                  <a:gd name="connsiteY25" fmla="*/ 39530 h 397331"/>
                  <a:gd name="connsiteX26" fmla="*/ 43780 w 282248"/>
                  <a:gd name="connsiteY26" fmla="*/ 28582 h 397331"/>
                  <a:gd name="connsiteX27" fmla="*/ 55248 w 282248"/>
                  <a:gd name="connsiteY27" fmla="*/ -157 h 397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82248" h="397331">
                    <a:moveTo>
                      <a:pt x="55248" y="-157"/>
                    </a:moveTo>
                    <a:lnTo>
                      <a:pt x="84632" y="40105"/>
                    </a:lnTo>
                    <a:lnTo>
                      <a:pt x="125940" y="35784"/>
                    </a:lnTo>
                    <a:lnTo>
                      <a:pt x="145943" y="87165"/>
                    </a:lnTo>
                    <a:lnTo>
                      <a:pt x="199274" y="113618"/>
                    </a:lnTo>
                    <a:lnTo>
                      <a:pt x="214696" y="100967"/>
                    </a:lnTo>
                    <a:lnTo>
                      <a:pt x="275182" y="159408"/>
                    </a:lnTo>
                    <a:lnTo>
                      <a:pt x="281434" y="218976"/>
                    </a:lnTo>
                    <a:lnTo>
                      <a:pt x="257151" y="222398"/>
                    </a:lnTo>
                    <a:lnTo>
                      <a:pt x="281582" y="261734"/>
                    </a:lnTo>
                    <a:lnTo>
                      <a:pt x="266466" y="278663"/>
                    </a:lnTo>
                    <a:lnTo>
                      <a:pt x="257129" y="265535"/>
                    </a:lnTo>
                    <a:lnTo>
                      <a:pt x="243952" y="274032"/>
                    </a:lnTo>
                    <a:lnTo>
                      <a:pt x="249165" y="322798"/>
                    </a:lnTo>
                    <a:lnTo>
                      <a:pt x="218209" y="331051"/>
                    </a:lnTo>
                    <a:lnTo>
                      <a:pt x="183178" y="397175"/>
                    </a:lnTo>
                    <a:lnTo>
                      <a:pt x="139462" y="393061"/>
                    </a:lnTo>
                    <a:lnTo>
                      <a:pt x="134338" y="352513"/>
                    </a:lnTo>
                    <a:lnTo>
                      <a:pt x="129841" y="340842"/>
                    </a:lnTo>
                    <a:lnTo>
                      <a:pt x="133582" y="314823"/>
                    </a:lnTo>
                    <a:lnTo>
                      <a:pt x="91058" y="309309"/>
                    </a:lnTo>
                    <a:lnTo>
                      <a:pt x="125864" y="213781"/>
                    </a:lnTo>
                    <a:lnTo>
                      <a:pt x="45100" y="172807"/>
                    </a:lnTo>
                    <a:lnTo>
                      <a:pt x="39094" y="106621"/>
                    </a:lnTo>
                    <a:lnTo>
                      <a:pt x="-666" y="79580"/>
                    </a:lnTo>
                    <a:lnTo>
                      <a:pt x="13512" y="39530"/>
                    </a:lnTo>
                    <a:lnTo>
                      <a:pt x="43780" y="28582"/>
                    </a:lnTo>
                    <a:lnTo>
                      <a:pt x="55248" y="-157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" name="Тульская область">
                <a:extLst>
                  <a:ext uri="{FF2B5EF4-FFF2-40B4-BE49-F238E27FC236}">
                    <a16:creationId xmlns:a16="http://schemas.microsoft.com/office/drawing/2014/main" id="{2AFB0826-FCDF-4EFB-89AF-77D66020BE54}"/>
                  </a:ext>
                </a:extLst>
              </p:cNvPr>
              <p:cNvSpPr/>
              <p:nvPr/>
            </p:nvSpPr>
            <p:spPr>
              <a:xfrm>
                <a:off x="1524608" y="2948959"/>
                <a:ext cx="267468" cy="302886"/>
              </a:xfrm>
              <a:custGeom>
                <a:avLst/>
                <a:gdLst>
                  <a:gd name="connsiteX0" fmla="*/ 26680 w 267468"/>
                  <a:gd name="connsiteY0" fmla="*/ 27103 h 302886"/>
                  <a:gd name="connsiteX1" fmla="*/ 72487 w 267468"/>
                  <a:gd name="connsiteY1" fmla="*/ 28607 h 302886"/>
                  <a:gd name="connsiteX2" fmla="*/ 75054 w 267468"/>
                  <a:gd name="connsiteY2" fmla="*/ -157 h 302886"/>
                  <a:gd name="connsiteX3" fmla="*/ 141628 w 267468"/>
                  <a:gd name="connsiteY3" fmla="*/ 60739 h 302886"/>
                  <a:gd name="connsiteX4" fmla="*/ 170797 w 267468"/>
                  <a:gd name="connsiteY4" fmla="*/ 29332 h 302886"/>
                  <a:gd name="connsiteX5" fmla="*/ 182632 w 267468"/>
                  <a:gd name="connsiteY5" fmla="*/ 46634 h 302886"/>
                  <a:gd name="connsiteX6" fmla="*/ 225630 w 267468"/>
                  <a:gd name="connsiteY6" fmla="*/ 28605 h 302886"/>
                  <a:gd name="connsiteX7" fmla="*/ 233787 w 267468"/>
                  <a:gd name="connsiteY7" fmla="*/ 69584 h 302886"/>
                  <a:gd name="connsiteX8" fmla="*/ 263873 w 267468"/>
                  <a:gd name="connsiteY8" fmla="*/ 73715 h 302886"/>
                  <a:gd name="connsiteX9" fmla="*/ 253447 w 267468"/>
                  <a:gd name="connsiteY9" fmla="*/ 93471 h 302886"/>
                  <a:gd name="connsiteX10" fmla="*/ 266803 w 267468"/>
                  <a:gd name="connsiteY10" fmla="*/ 139637 h 302886"/>
                  <a:gd name="connsiteX11" fmla="*/ 243624 w 267468"/>
                  <a:gd name="connsiteY11" fmla="*/ 143320 h 302886"/>
                  <a:gd name="connsiteX12" fmla="*/ 229482 w 267468"/>
                  <a:gd name="connsiteY12" fmla="*/ 201643 h 302886"/>
                  <a:gd name="connsiteX13" fmla="*/ 215496 w 267468"/>
                  <a:gd name="connsiteY13" fmla="*/ 201611 h 302886"/>
                  <a:gd name="connsiteX14" fmla="*/ 208814 w 267468"/>
                  <a:gd name="connsiteY14" fmla="*/ 231877 h 302886"/>
                  <a:gd name="connsiteX15" fmla="*/ 189994 w 267468"/>
                  <a:gd name="connsiteY15" fmla="*/ 235816 h 302886"/>
                  <a:gd name="connsiteX16" fmla="*/ 169893 w 267468"/>
                  <a:gd name="connsiteY16" fmla="*/ 270535 h 302886"/>
                  <a:gd name="connsiteX17" fmla="*/ 150769 w 267468"/>
                  <a:gd name="connsiteY17" fmla="*/ 260425 h 302886"/>
                  <a:gd name="connsiteX18" fmla="*/ 132793 w 267468"/>
                  <a:gd name="connsiteY18" fmla="*/ 280401 h 302886"/>
                  <a:gd name="connsiteX19" fmla="*/ 113028 w 267468"/>
                  <a:gd name="connsiteY19" fmla="*/ 268835 h 302886"/>
                  <a:gd name="connsiteX20" fmla="*/ 87765 w 267468"/>
                  <a:gd name="connsiteY20" fmla="*/ 302730 h 302886"/>
                  <a:gd name="connsiteX21" fmla="*/ 57494 w 267468"/>
                  <a:gd name="connsiteY21" fmla="*/ 290055 h 302886"/>
                  <a:gd name="connsiteX22" fmla="*/ 33455 w 267468"/>
                  <a:gd name="connsiteY22" fmla="*/ 223146 h 302886"/>
                  <a:gd name="connsiteX23" fmla="*/ 54189 w 267468"/>
                  <a:gd name="connsiteY23" fmla="*/ 204070 h 302886"/>
                  <a:gd name="connsiteX24" fmla="*/ 13326 w 267468"/>
                  <a:gd name="connsiteY24" fmla="*/ 154473 h 302886"/>
                  <a:gd name="connsiteX25" fmla="*/ 16228 w 267468"/>
                  <a:gd name="connsiteY25" fmla="*/ 121103 h 302886"/>
                  <a:gd name="connsiteX26" fmla="*/ 4181 w 267468"/>
                  <a:gd name="connsiteY26" fmla="*/ 113315 h 302886"/>
                  <a:gd name="connsiteX27" fmla="*/ 12754 w 267468"/>
                  <a:gd name="connsiteY27" fmla="*/ 82355 h 302886"/>
                  <a:gd name="connsiteX28" fmla="*/ -666 w 267468"/>
                  <a:gd name="connsiteY28" fmla="*/ 62029 h 302886"/>
                  <a:gd name="connsiteX29" fmla="*/ 19366 w 267468"/>
                  <a:gd name="connsiteY29" fmla="*/ 54450 h 302886"/>
                  <a:gd name="connsiteX30" fmla="*/ 26680 w 267468"/>
                  <a:gd name="connsiteY30" fmla="*/ 27106 h 302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67468" h="302886">
                    <a:moveTo>
                      <a:pt x="26680" y="27103"/>
                    </a:moveTo>
                    <a:lnTo>
                      <a:pt x="72487" y="28607"/>
                    </a:lnTo>
                    <a:lnTo>
                      <a:pt x="75054" y="-157"/>
                    </a:lnTo>
                    <a:lnTo>
                      <a:pt x="141628" y="60739"/>
                    </a:lnTo>
                    <a:lnTo>
                      <a:pt x="170797" y="29332"/>
                    </a:lnTo>
                    <a:lnTo>
                      <a:pt x="182632" y="46634"/>
                    </a:lnTo>
                    <a:lnTo>
                      <a:pt x="225630" y="28605"/>
                    </a:lnTo>
                    <a:lnTo>
                      <a:pt x="233787" y="69584"/>
                    </a:lnTo>
                    <a:lnTo>
                      <a:pt x="263873" y="73715"/>
                    </a:lnTo>
                    <a:lnTo>
                      <a:pt x="253447" y="93471"/>
                    </a:lnTo>
                    <a:lnTo>
                      <a:pt x="266803" y="139637"/>
                    </a:lnTo>
                    <a:lnTo>
                      <a:pt x="243624" y="143320"/>
                    </a:lnTo>
                    <a:lnTo>
                      <a:pt x="229482" y="201643"/>
                    </a:lnTo>
                    <a:lnTo>
                      <a:pt x="215496" y="201611"/>
                    </a:lnTo>
                    <a:lnTo>
                      <a:pt x="208814" y="231877"/>
                    </a:lnTo>
                    <a:lnTo>
                      <a:pt x="189994" y="235816"/>
                    </a:lnTo>
                    <a:lnTo>
                      <a:pt x="169893" y="270535"/>
                    </a:lnTo>
                    <a:lnTo>
                      <a:pt x="150769" y="260425"/>
                    </a:lnTo>
                    <a:lnTo>
                      <a:pt x="132793" y="280401"/>
                    </a:lnTo>
                    <a:lnTo>
                      <a:pt x="113028" y="268835"/>
                    </a:lnTo>
                    <a:lnTo>
                      <a:pt x="87765" y="302730"/>
                    </a:lnTo>
                    <a:lnTo>
                      <a:pt x="57494" y="290055"/>
                    </a:lnTo>
                    <a:lnTo>
                      <a:pt x="33455" y="223146"/>
                    </a:lnTo>
                    <a:lnTo>
                      <a:pt x="54189" y="204070"/>
                    </a:lnTo>
                    <a:lnTo>
                      <a:pt x="13326" y="154473"/>
                    </a:lnTo>
                    <a:lnTo>
                      <a:pt x="16228" y="121103"/>
                    </a:lnTo>
                    <a:lnTo>
                      <a:pt x="4181" y="113315"/>
                    </a:lnTo>
                    <a:lnTo>
                      <a:pt x="12754" y="82355"/>
                    </a:lnTo>
                    <a:lnTo>
                      <a:pt x="-666" y="62029"/>
                    </a:lnTo>
                    <a:lnTo>
                      <a:pt x="19366" y="54450"/>
                    </a:lnTo>
                    <a:lnTo>
                      <a:pt x="26680" y="27106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" name="Москва">
                <a:extLst>
                  <a:ext uri="{FF2B5EF4-FFF2-40B4-BE49-F238E27FC236}">
                    <a16:creationId xmlns:a16="http://schemas.microsoft.com/office/drawing/2014/main" id="{3156B978-D337-43E0-ADBC-B0CA4A0B8FD3}"/>
                  </a:ext>
                </a:extLst>
              </p:cNvPr>
              <p:cNvSpPr/>
              <p:nvPr/>
            </p:nvSpPr>
            <p:spPr>
              <a:xfrm>
                <a:off x="1782027" y="2853948"/>
                <a:ext cx="121282" cy="93327"/>
              </a:xfrm>
              <a:custGeom>
                <a:avLst/>
                <a:gdLst>
                  <a:gd name="connsiteX0" fmla="*/ 56084 w 121282"/>
                  <a:gd name="connsiteY0" fmla="*/ 10577 h 93327"/>
                  <a:gd name="connsiteX1" fmla="*/ 68344 w 121282"/>
                  <a:gd name="connsiteY1" fmla="*/ 27601 h 93327"/>
                  <a:gd name="connsiteX2" fmla="*/ 56084 w 121282"/>
                  <a:gd name="connsiteY2" fmla="*/ 10577 h 93327"/>
                  <a:gd name="connsiteX3" fmla="*/ 103695 w 121282"/>
                  <a:gd name="connsiteY3" fmla="*/ -157 h 93327"/>
                  <a:gd name="connsiteX4" fmla="*/ 104824 w 121282"/>
                  <a:gd name="connsiteY4" fmla="*/ 13338 h 93327"/>
                  <a:gd name="connsiteX5" fmla="*/ 103695 w 121282"/>
                  <a:gd name="connsiteY5" fmla="*/ -157 h 93327"/>
                  <a:gd name="connsiteX6" fmla="*/ 15563 w 121282"/>
                  <a:gd name="connsiteY6" fmla="*/ 33110 h 93327"/>
                  <a:gd name="connsiteX7" fmla="*/ 31052 w 121282"/>
                  <a:gd name="connsiteY7" fmla="*/ 33945 h 93327"/>
                  <a:gd name="connsiteX8" fmla="*/ 33449 w 121282"/>
                  <a:gd name="connsiteY8" fmla="*/ 56319 h 93327"/>
                  <a:gd name="connsiteX9" fmla="*/ 50997 w 121282"/>
                  <a:gd name="connsiteY9" fmla="*/ 37836 h 93327"/>
                  <a:gd name="connsiteX10" fmla="*/ 76374 w 121282"/>
                  <a:gd name="connsiteY10" fmla="*/ 53421 h 93327"/>
                  <a:gd name="connsiteX11" fmla="*/ 108321 w 121282"/>
                  <a:gd name="connsiteY11" fmla="*/ 20389 h 93327"/>
                  <a:gd name="connsiteX12" fmla="*/ 103104 w 121282"/>
                  <a:gd name="connsiteY12" fmla="*/ 33663 h 93327"/>
                  <a:gd name="connsiteX13" fmla="*/ 120616 w 121282"/>
                  <a:gd name="connsiteY13" fmla="*/ 35558 h 93327"/>
                  <a:gd name="connsiteX14" fmla="*/ 112995 w 121282"/>
                  <a:gd name="connsiteY14" fmla="*/ 85912 h 93327"/>
                  <a:gd name="connsiteX15" fmla="*/ 55559 w 121282"/>
                  <a:gd name="connsiteY15" fmla="*/ 84051 h 93327"/>
                  <a:gd name="connsiteX16" fmla="*/ 51445 w 121282"/>
                  <a:gd name="connsiteY16" fmla="*/ 71106 h 93327"/>
                  <a:gd name="connsiteX17" fmla="*/ 25501 w 121282"/>
                  <a:gd name="connsiteY17" fmla="*/ 93171 h 93327"/>
                  <a:gd name="connsiteX18" fmla="*/ -666 w 121282"/>
                  <a:gd name="connsiteY18" fmla="*/ 84159 h 93327"/>
                  <a:gd name="connsiteX19" fmla="*/ 15563 w 121282"/>
                  <a:gd name="connsiteY19" fmla="*/ 33110 h 9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1282" h="93327">
                    <a:moveTo>
                      <a:pt x="56084" y="10577"/>
                    </a:moveTo>
                    <a:lnTo>
                      <a:pt x="68344" y="27601"/>
                    </a:lnTo>
                    <a:lnTo>
                      <a:pt x="56084" y="10577"/>
                    </a:lnTo>
                    <a:moveTo>
                      <a:pt x="103695" y="-157"/>
                    </a:moveTo>
                    <a:lnTo>
                      <a:pt x="104824" y="13338"/>
                    </a:lnTo>
                    <a:lnTo>
                      <a:pt x="103695" y="-157"/>
                    </a:lnTo>
                    <a:moveTo>
                      <a:pt x="15563" y="33110"/>
                    </a:moveTo>
                    <a:lnTo>
                      <a:pt x="31052" y="33945"/>
                    </a:lnTo>
                    <a:lnTo>
                      <a:pt x="33449" y="56319"/>
                    </a:lnTo>
                    <a:lnTo>
                      <a:pt x="50997" y="37836"/>
                    </a:lnTo>
                    <a:lnTo>
                      <a:pt x="76374" y="53421"/>
                    </a:lnTo>
                    <a:lnTo>
                      <a:pt x="108321" y="20389"/>
                    </a:lnTo>
                    <a:lnTo>
                      <a:pt x="103104" y="33663"/>
                    </a:lnTo>
                    <a:lnTo>
                      <a:pt x="120616" y="35558"/>
                    </a:lnTo>
                    <a:lnTo>
                      <a:pt x="112995" y="85912"/>
                    </a:lnTo>
                    <a:lnTo>
                      <a:pt x="55559" y="84051"/>
                    </a:lnTo>
                    <a:lnTo>
                      <a:pt x="51445" y="71106"/>
                    </a:lnTo>
                    <a:lnTo>
                      <a:pt x="25501" y="93171"/>
                    </a:lnTo>
                    <a:lnTo>
                      <a:pt x="-666" y="84159"/>
                    </a:lnTo>
                    <a:lnTo>
                      <a:pt x="15563" y="33110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" name="Ярославская область">
                <a:extLst>
                  <a:ext uri="{FF2B5EF4-FFF2-40B4-BE49-F238E27FC236}">
                    <a16:creationId xmlns:a16="http://schemas.microsoft.com/office/drawing/2014/main" id="{F0346ED9-ECE1-4764-B4F5-5A52D6B91135}"/>
                  </a:ext>
                </a:extLst>
              </p:cNvPr>
              <p:cNvSpPr/>
              <p:nvPr/>
            </p:nvSpPr>
            <p:spPr>
              <a:xfrm>
                <a:off x="2027847" y="2637056"/>
                <a:ext cx="368578" cy="307959"/>
              </a:xfrm>
              <a:custGeom>
                <a:avLst/>
                <a:gdLst>
                  <a:gd name="connsiteX0" fmla="*/ 138475 w 368578"/>
                  <a:gd name="connsiteY0" fmla="*/ 13554 h 307959"/>
                  <a:gd name="connsiteX1" fmla="*/ 205313 w 368578"/>
                  <a:gd name="connsiteY1" fmla="*/ -157 h 307959"/>
                  <a:gd name="connsiteX2" fmla="*/ 235937 w 368578"/>
                  <a:gd name="connsiteY2" fmla="*/ 11650 h 307959"/>
                  <a:gd name="connsiteX3" fmla="*/ 280600 w 368578"/>
                  <a:gd name="connsiteY3" fmla="*/ 64696 h 307959"/>
                  <a:gd name="connsiteX4" fmla="*/ 310611 w 368578"/>
                  <a:gd name="connsiteY4" fmla="*/ 46459 h 307959"/>
                  <a:gd name="connsiteX5" fmla="*/ 336477 w 368578"/>
                  <a:gd name="connsiteY5" fmla="*/ 89219 h 307959"/>
                  <a:gd name="connsiteX6" fmla="*/ 326215 w 368578"/>
                  <a:gd name="connsiteY6" fmla="*/ 162122 h 307959"/>
                  <a:gd name="connsiteX7" fmla="*/ 367913 w 368578"/>
                  <a:gd name="connsiteY7" fmla="*/ 199576 h 307959"/>
                  <a:gd name="connsiteX8" fmla="*/ 355247 w 368578"/>
                  <a:gd name="connsiteY8" fmla="*/ 243954 h 307959"/>
                  <a:gd name="connsiteX9" fmla="*/ 271035 w 368578"/>
                  <a:gd name="connsiteY9" fmla="*/ 253368 h 307959"/>
                  <a:gd name="connsiteX10" fmla="*/ 250188 w 368578"/>
                  <a:gd name="connsiteY10" fmla="*/ 285095 h 307959"/>
                  <a:gd name="connsiteX11" fmla="*/ 222664 w 368578"/>
                  <a:gd name="connsiteY11" fmla="*/ 279551 h 307959"/>
                  <a:gd name="connsiteX12" fmla="*/ 191395 w 368578"/>
                  <a:gd name="connsiteY12" fmla="*/ 305803 h 307959"/>
                  <a:gd name="connsiteX13" fmla="*/ 108262 w 368578"/>
                  <a:gd name="connsiteY13" fmla="*/ 275358 h 307959"/>
                  <a:gd name="connsiteX14" fmla="*/ 37774 w 368578"/>
                  <a:gd name="connsiteY14" fmla="*/ 307803 h 307959"/>
                  <a:gd name="connsiteX15" fmla="*/ 18816 w 368578"/>
                  <a:gd name="connsiteY15" fmla="*/ 267448 h 307959"/>
                  <a:gd name="connsiteX16" fmla="*/ -666 w 368578"/>
                  <a:gd name="connsiteY16" fmla="*/ 262564 h 307959"/>
                  <a:gd name="connsiteX17" fmla="*/ 8359 w 368578"/>
                  <a:gd name="connsiteY17" fmla="*/ 203580 h 307959"/>
                  <a:gd name="connsiteX18" fmla="*/ 82263 w 368578"/>
                  <a:gd name="connsiteY18" fmla="*/ 164135 h 307959"/>
                  <a:gd name="connsiteX19" fmla="*/ 65232 w 368578"/>
                  <a:gd name="connsiteY19" fmla="*/ 130582 h 307959"/>
                  <a:gd name="connsiteX20" fmla="*/ 89285 w 368578"/>
                  <a:gd name="connsiteY20" fmla="*/ 105571 h 307959"/>
                  <a:gd name="connsiteX21" fmla="*/ 90578 w 368578"/>
                  <a:gd name="connsiteY21" fmla="*/ 57514 h 307959"/>
                  <a:gd name="connsiteX22" fmla="*/ 106805 w 368578"/>
                  <a:gd name="connsiteY22" fmla="*/ 56384 h 307959"/>
                  <a:gd name="connsiteX23" fmla="*/ 109836 w 368578"/>
                  <a:gd name="connsiteY23" fmla="*/ 39277 h 307959"/>
                  <a:gd name="connsiteX24" fmla="*/ 140717 w 368578"/>
                  <a:gd name="connsiteY24" fmla="*/ 52618 h 307959"/>
                  <a:gd name="connsiteX25" fmla="*/ 138475 w 368578"/>
                  <a:gd name="connsiteY25" fmla="*/ 13554 h 307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68578" h="307959">
                    <a:moveTo>
                      <a:pt x="138475" y="13554"/>
                    </a:moveTo>
                    <a:lnTo>
                      <a:pt x="205313" y="-157"/>
                    </a:lnTo>
                    <a:lnTo>
                      <a:pt x="235937" y="11650"/>
                    </a:lnTo>
                    <a:lnTo>
                      <a:pt x="280600" y="64696"/>
                    </a:lnTo>
                    <a:lnTo>
                      <a:pt x="310611" y="46459"/>
                    </a:lnTo>
                    <a:lnTo>
                      <a:pt x="336477" y="89219"/>
                    </a:lnTo>
                    <a:lnTo>
                      <a:pt x="326215" y="162122"/>
                    </a:lnTo>
                    <a:lnTo>
                      <a:pt x="367913" y="199576"/>
                    </a:lnTo>
                    <a:lnTo>
                      <a:pt x="355247" y="243954"/>
                    </a:lnTo>
                    <a:lnTo>
                      <a:pt x="271035" y="253368"/>
                    </a:lnTo>
                    <a:lnTo>
                      <a:pt x="250188" y="285095"/>
                    </a:lnTo>
                    <a:lnTo>
                      <a:pt x="222664" y="279551"/>
                    </a:lnTo>
                    <a:lnTo>
                      <a:pt x="191395" y="305803"/>
                    </a:lnTo>
                    <a:lnTo>
                      <a:pt x="108262" y="275358"/>
                    </a:lnTo>
                    <a:lnTo>
                      <a:pt x="37774" y="307803"/>
                    </a:lnTo>
                    <a:lnTo>
                      <a:pt x="18816" y="267448"/>
                    </a:lnTo>
                    <a:lnTo>
                      <a:pt x="-666" y="262564"/>
                    </a:lnTo>
                    <a:lnTo>
                      <a:pt x="8359" y="203580"/>
                    </a:lnTo>
                    <a:lnTo>
                      <a:pt x="82263" y="164135"/>
                    </a:lnTo>
                    <a:lnTo>
                      <a:pt x="65232" y="130582"/>
                    </a:lnTo>
                    <a:lnTo>
                      <a:pt x="89285" y="105571"/>
                    </a:lnTo>
                    <a:lnTo>
                      <a:pt x="90578" y="57514"/>
                    </a:lnTo>
                    <a:lnTo>
                      <a:pt x="106805" y="56384"/>
                    </a:lnTo>
                    <a:lnTo>
                      <a:pt x="109836" y="39277"/>
                    </a:lnTo>
                    <a:lnTo>
                      <a:pt x="140717" y="52618"/>
                    </a:lnTo>
                    <a:lnTo>
                      <a:pt x="138475" y="13554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" name="Липецкая область">
                <a:extLst>
                  <a:ext uri="{FF2B5EF4-FFF2-40B4-BE49-F238E27FC236}">
                    <a16:creationId xmlns:a16="http://schemas.microsoft.com/office/drawing/2014/main" id="{107CD38C-8B36-4A7A-A3A5-660D03CB97E4}"/>
                  </a:ext>
                </a:extLst>
              </p:cNvPr>
              <p:cNvSpPr/>
              <p:nvPr/>
            </p:nvSpPr>
            <p:spPr>
              <a:xfrm>
                <a:off x="1431378" y="3199299"/>
                <a:ext cx="313373" cy="299379"/>
              </a:xfrm>
              <a:custGeom>
                <a:avLst/>
                <a:gdLst>
                  <a:gd name="connsiteX0" fmla="*/ 72912 w 313373"/>
                  <a:gd name="connsiteY0" fmla="*/ 29866 h 299379"/>
                  <a:gd name="connsiteX1" fmla="*/ 140060 w 313373"/>
                  <a:gd name="connsiteY1" fmla="*/ -157 h 299379"/>
                  <a:gd name="connsiteX2" fmla="*/ 150723 w 313373"/>
                  <a:gd name="connsiteY2" fmla="*/ 39712 h 299379"/>
                  <a:gd name="connsiteX3" fmla="*/ 180994 w 313373"/>
                  <a:gd name="connsiteY3" fmla="*/ 52387 h 299379"/>
                  <a:gd name="connsiteX4" fmla="*/ 205452 w 313373"/>
                  <a:gd name="connsiteY4" fmla="*/ 18839 h 299379"/>
                  <a:gd name="connsiteX5" fmla="*/ 227313 w 313373"/>
                  <a:gd name="connsiteY5" fmla="*/ 29949 h 299379"/>
                  <a:gd name="connsiteX6" fmla="*/ 244165 w 313373"/>
                  <a:gd name="connsiteY6" fmla="*/ 10037 h 299379"/>
                  <a:gd name="connsiteX7" fmla="*/ 269743 w 313373"/>
                  <a:gd name="connsiteY7" fmla="*/ 28390 h 299379"/>
                  <a:gd name="connsiteX8" fmla="*/ 263695 w 313373"/>
                  <a:gd name="connsiteY8" fmla="*/ 66585 h 299379"/>
                  <a:gd name="connsiteX9" fmla="*/ 312707 w 313373"/>
                  <a:gd name="connsiteY9" fmla="*/ 77040 h 299379"/>
                  <a:gd name="connsiteX10" fmla="*/ 309051 w 313373"/>
                  <a:gd name="connsiteY10" fmla="*/ 131751 h 299379"/>
                  <a:gd name="connsiteX11" fmla="*/ 211924 w 313373"/>
                  <a:gd name="connsiteY11" fmla="*/ 187633 h 299379"/>
                  <a:gd name="connsiteX12" fmla="*/ 212193 w 313373"/>
                  <a:gd name="connsiteY12" fmla="*/ 290131 h 299379"/>
                  <a:gd name="connsiteX13" fmla="*/ 164836 w 313373"/>
                  <a:gd name="connsiteY13" fmla="*/ 299223 h 299379"/>
                  <a:gd name="connsiteX14" fmla="*/ 148668 w 313373"/>
                  <a:gd name="connsiteY14" fmla="*/ 265508 h 299379"/>
                  <a:gd name="connsiteX15" fmla="*/ 117077 w 313373"/>
                  <a:gd name="connsiteY15" fmla="*/ 246254 h 299379"/>
                  <a:gd name="connsiteX16" fmla="*/ 109032 w 313373"/>
                  <a:gd name="connsiteY16" fmla="*/ 194614 h 299379"/>
                  <a:gd name="connsiteX17" fmla="*/ 78242 w 313373"/>
                  <a:gd name="connsiteY17" fmla="*/ 187152 h 299379"/>
                  <a:gd name="connsiteX18" fmla="*/ 71962 w 313373"/>
                  <a:gd name="connsiteY18" fmla="*/ 151785 h 299379"/>
                  <a:gd name="connsiteX19" fmla="*/ -666 w 313373"/>
                  <a:gd name="connsiteY19" fmla="*/ 114394 h 299379"/>
                  <a:gd name="connsiteX20" fmla="*/ 22121 w 313373"/>
                  <a:gd name="connsiteY20" fmla="*/ 75735 h 299379"/>
                  <a:gd name="connsiteX21" fmla="*/ 60995 w 313373"/>
                  <a:gd name="connsiteY21" fmla="*/ 81797 h 299379"/>
                  <a:gd name="connsiteX22" fmla="*/ 72912 w 313373"/>
                  <a:gd name="connsiteY22" fmla="*/ 29866 h 299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13373" h="299379">
                    <a:moveTo>
                      <a:pt x="72912" y="29866"/>
                    </a:moveTo>
                    <a:lnTo>
                      <a:pt x="140060" y="-157"/>
                    </a:lnTo>
                    <a:lnTo>
                      <a:pt x="150723" y="39712"/>
                    </a:lnTo>
                    <a:lnTo>
                      <a:pt x="180994" y="52387"/>
                    </a:lnTo>
                    <a:lnTo>
                      <a:pt x="205452" y="18839"/>
                    </a:lnTo>
                    <a:lnTo>
                      <a:pt x="227313" y="29949"/>
                    </a:lnTo>
                    <a:lnTo>
                      <a:pt x="244165" y="10037"/>
                    </a:lnTo>
                    <a:lnTo>
                      <a:pt x="269743" y="28390"/>
                    </a:lnTo>
                    <a:lnTo>
                      <a:pt x="263695" y="66585"/>
                    </a:lnTo>
                    <a:lnTo>
                      <a:pt x="312707" y="77040"/>
                    </a:lnTo>
                    <a:lnTo>
                      <a:pt x="309051" y="131751"/>
                    </a:lnTo>
                    <a:lnTo>
                      <a:pt x="211924" y="187633"/>
                    </a:lnTo>
                    <a:lnTo>
                      <a:pt x="212193" y="290131"/>
                    </a:lnTo>
                    <a:lnTo>
                      <a:pt x="164836" y="299223"/>
                    </a:lnTo>
                    <a:lnTo>
                      <a:pt x="148668" y="265508"/>
                    </a:lnTo>
                    <a:lnTo>
                      <a:pt x="117077" y="246254"/>
                    </a:lnTo>
                    <a:lnTo>
                      <a:pt x="109032" y="194614"/>
                    </a:lnTo>
                    <a:lnTo>
                      <a:pt x="78242" y="187152"/>
                    </a:lnTo>
                    <a:lnTo>
                      <a:pt x="71962" y="151785"/>
                    </a:lnTo>
                    <a:lnTo>
                      <a:pt x="-666" y="114394"/>
                    </a:lnTo>
                    <a:lnTo>
                      <a:pt x="22121" y="75735"/>
                    </a:lnTo>
                    <a:lnTo>
                      <a:pt x="60995" y="81797"/>
                    </a:lnTo>
                    <a:lnTo>
                      <a:pt x="72912" y="29866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" name="Воронежская область">
                <a:extLst>
                  <a:ext uri="{FF2B5EF4-FFF2-40B4-BE49-F238E27FC236}">
                    <a16:creationId xmlns:a16="http://schemas.microsoft.com/office/drawing/2014/main" id="{5516F849-9F3E-4468-B336-D25C077CE005}"/>
                  </a:ext>
                </a:extLst>
              </p:cNvPr>
              <p:cNvSpPr/>
              <p:nvPr/>
            </p:nvSpPr>
            <p:spPr>
              <a:xfrm>
                <a:off x="1261481" y="3333494"/>
                <a:ext cx="429589" cy="426380"/>
              </a:xfrm>
              <a:custGeom>
                <a:avLst/>
                <a:gdLst>
                  <a:gd name="connsiteX0" fmla="*/ 151075 w 429589"/>
                  <a:gd name="connsiteY0" fmla="*/ 21811 h 426380"/>
                  <a:gd name="connsiteX1" fmla="*/ 187936 w 429589"/>
                  <a:gd name="connsiteY1" fmla="*/ 38686 h 426380"/>
                  <a:gd name="connsiteX2" fmla="*/ 202086 w 429589"/>
                  <a:gd name="connsiteY2" fmla="*/ -157 h 426380"/>
                  <a:gd name="connsiteX3" fmla="*/ 241860 w 429589"/>
                  <a:gd name="connsiteY3" fmla="*/ 17591 h 426380"/>
                  <a:gd name="connsiteX4" fmla="*/ 250673 w 429589"/>
                  <a:gd name="connsiteY4" fmla="*/ 55994 h 426380"/>
                  <a:gd name="connsiteX5" fmla="*/ 278929 w 429589"/>
                  <a:gd name="connsiteY5" fmla="*/ 60419 h 426380"/>
                  <a:gd name="connsiteX6" fmla="*/ 289399 w 429589"/>
                  <a:gd name="connsiteY6" fmla="*/ 116501 h 426380"/>
                  <a:gd name="connsiteX7" fmla="*/ 318565 w 429589"/>
                  <a:gd name="connsiteY7" fmla="*/ 131314 h 426380"/>
                  <a:gd name="connsiteX8" fmla="*/ 354619 w 429589"/>
                  <a:gd name="connsiteY8" fmla="*/ 190643 h 426380"/>
                  <a:gd name="connsiteX9" fmla="*/ 335601 w 429589"/>
                  <a:gd name="connsiteY9" fmla="*/ 212199 h 426380"/>
                  <a:gd name="connsiteX10" fmla="*/ 341599 w 429589"/>
                  <a:gd name="connsiteY10" fmla="*/ 224110 h 426380"/>
                  <a:gd name="connsiteX11" fmla="*/ 381785 w 429589"/>
                  <a:gd name="connsiteY11" fmla="*/ 248381 h 426380"/>
                  <a:gd name="connsiteX12" fmla="*/ 401846 w 429589"/>
                  <a:gd name="connsiteY12" fmla="*/ 311202 h 426380"/>
                  <a:gd name="connsiteX13" fmla="*/ 420480 w 429589"/>
                  <a:gd name="connsiteY13" fmla="*/ 310428 h 426380"/>
                  <a:gd name="connsiteX14" fmla="*/ 409897 w 429589"/>
                  <a:gd name="connsiteY14" fmla="*/ 325223 h 426380"/>
                  <a:gd name="connsiteX15" fmla="*/ 427080 w 429589"/>
                  <a:gd name="connsiteY15" fmla="*/ 337678 h 426380"/>
                  <a:gd name="connsiteX16" fmla="*/ 428924 w 429589"/>
                  <a:gd name="connsiteY16" fmla="*/ 371376 h 426380"/>
                  <a:gd name="connsiteX17" fmla="*/ 416457 w 429589"/>
                  <a:gd name="connsiteY17" fmla="*/ 409351 h 426380"/>
                  <a:gd name="connsiteX18" fmla="*/ 376230 w 429589"/>
                  <a:gd name="connsiteY18" fmla="*/ 394366 h 426380"/>
                  <a:gd name="connsiteX19" fmla="*/ 340493 w 429589"/>
                  <a:gd name="connsiteY19" fmla="*/ 344359 h 426380"/>
                  <a:gd name="connsiteX20" fmla="*/ 309714 w 429589"/>
                  <a:gd name="connsiteY20" fmla="*/ 351937 h 426380"/>
                  <a:gd name="connsiteX21" fmla="*/ 242281 w 429589"/>
                  <a:gd name="connsiteY21" fmla="*/ 332953 h 426380"/>
                  <a:gd name="connsiteX22" fmla="*/ 245909 w 429589"/>
                  <a:gd name="connsiteY22" fmla="*/ 375949 h 426380"/>
                  <a:gd name="connsiteX23" fmla="*/ 217761 w 429589"/>
                  <a:gd name="connsiteY23" fmla="*/ 402080 h 426380"/>
                  <a:gd name="connsiteX24" fmla="*/ 179132 w 429589"/>
                  <a:gd name="connsiteY24" fmla="*/ 405647 h 426380"/>
                  <a:gd name="connsiteX25" fmla="*/ 176000 w 429589"/>
                  <a:gd name="connsiteY25" fmla="*/ 421297 h 426380"/>
                  <a:gd name="connsiteX26" fmla="*/ 139803 w 429589"/>
                  <a:gd name="connsiteY26" fmla="*/ 413118 h 426380"/>
                  <a:gd name="connsiteX27" fmla="*/ 100765 w 429589"/>
                  <a:gd name="connsiteY27" fmla="*/ 426224 h 426380"/>
                  <a:gd name="connsiteX28" fmla="*/ 60668 w 429589"/>
                  <a:gd name="connsiteY28" fmla="*/ 409761 h 426380"/>
                  <a:gd name="connsiteX29" fmla="*/ 43356 w 429589"/>
                  <a:gd name="connsiteY29" fmla="*/ 374536 h 426380"/>
                  <a:gd name="connsiteX30" fmla="*/ 9854 w 429589"/>
                  <a:gd name="connsiteY30" fmla="*/ 356135 h 426380"/>
                  <a:gd name="connsiteX31" fmla="*/ 17691 w 429589"/>
                  <a:gd name="connsiteY31" fmla="*/ 317667 h 426380"/>
                  <a:gd name="connsiteX32" fmla="*/ -666 w 429589"/>
                  <a:gd name="connsiteY32" fmla="*/ 291415 h 426380"/>
                  <a:gd name="connsiteX33" fmla="*/ 32038 w 429589"/>
                  <a:gd name="connsiteY33" fmla="*/ 267622 h 426380"/>
                  <a:gd name="connsiteX34" fmla="*/ 60792 w 429589"/>
                  <a:gd name="connsiteY34" fmla="*/ 204245 h 426380"/>
                  <a:gd name="connsiteX35" fmla="*/ 91748 w 429589"/>
                  <a:gd name="connsiteY35" fmla="*/ 195991 h 426380"/>
                  <a:gd name="connsiteX36" fmla="*/ 86536 w 429589"/>
                  <a:gd name="connsiteY36" fmla="*/ 147225 h 426380"/>
                  <a:gd name="connsiteX37" fmla="*/ 99712 w 429589"/>
                  <a:gd name="connsiteY37" fmla="*/ 138729 h 426380"/>
                  <a:gd name="connsiteX38" fmla="*/ 108706 w 429589"/>
                  <a:gd name="connsiteY38" fmla="*/ 151948 h 426380"/>
                  <a:gd name="connsiteX39" fmla="*/ 125512 w 429589"/>
                  <a:gd name="connsiteY39" fmla="*/ 126803 h 426380"/>
                  <a:gd name="connsiteX40" fmla="*/ 105633 w 429589"/>
                  <a:gd name="connsiteY40" fmla="*/ 121932 h 426380"/>
                  <a:gd name="connsiteX41" fmla="*/ 99734 w 429589"/>
                  <a:gd name="connsiteY41" fmla="*/ 95592 h 426380"/>
                  <a:gd name="connsiteX42" fmla="*/ 124017 w 429589"/>
                  <a:gd name="connsiteY42" fmla="*/ 92170 h 426380"/>
                  <a:gd name="connsiteX43" fmla="*/ 119932 w 429589"/>
                  <a:gd name="connsiteY43" fmla="*/ 66373 h 426380"/>
                  <a:gd name="connsiteX44" fmla="*/ 136363 w 429589"/>
                  <a:gd name="connsiteY44" fmla="*/ 63842 h 426380"/>
                  <a:gd name="connsiteX45" fmla="*/ 151075 w 429589"/>
                  <a:gd name="connsiteY45" fmla="*/ 21811 h 426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429589" h="426380">
                    <a:moveTo>
                      <a:pt x="151075" y="21811"/>
                    </a:moveTo>
                    <a:lnTo>
                      <a:pt x="187936" y="38686"/>
                    </a:lnTo>
                    <a:lnTo>
                      <a:pt x="202086" y="-157"/>
                    </a:lnTo>
                    <a:lnTo>
                      <a:pt x="241860" y="17591"/>
                    </a:lnTo>
                    <a:lnTo>
                      <a:pt x="250673" y="55994"/>
                    </a:lnTo>
                    <a:lnTo>
                      <a:pt x="278929" y="60419"/>
                    </a:lnTo>
                    <a:lnTo>
                      <a:pt x="289399" y="116501"/>
                    </a:lnTo>
                    <a:lnTo>
                      <a:pt x="318565" y="131314"/>
                    </a:lnTo>
                    <a:lnTo>
                      <a:pt x="354619" y="190643"/>
                    </a:lnTo>
                    <a:lnTo>
                      <a:pt x="335601" y="212199"/>
                    </a:lnTo>
                    <a:lnTo>
                      <a:pt x="341599" y="224110"/>
                    </a:lnTo>
                    <a:lnTo>
                      <a:pt x="381785" y="248381"/>
                    </a:lnTo>
                    <a:lnTo>
                      <a:pt x="401846" y="311202"/>
                    </a:lnTo>
                    <a:lnTo>
                      <a:pt x="420480" y="310428"/>
                    </a:lnTo>
                    <a:lnTo>
                      <a:pt x="409897" y="325223"/>
                    </a:lnTo>
                    <a:lnTo>
                      <a:pt x="427080" y="337678"/>
                    </a:lnTo>
                    <a:lnTo>
                      <a:pt x="428924" y="371376"/>
                    </a:lnTo>
                    <a:lnTo>
                      <a:pt x="416457" y="409351"/>
                    </a:lnTo>
                    <a:lnTo>
                      <a:pt x="376230" y="394366"/>
                    </a:lnTo>
                    <a:lnTo>
                      <a:pt x="340493" y="344359"/>
                    </a:lnTo>
                    <a:lnTo>
                      <a:pt x="309714" y="351937"/>
                    </a:lnTo>
                    <a:lnTo>
                      <a:pt x="242281" y="332953"/>
                    </a:lnTo>
                    <a:lnTo>
                      <a:pt x="245909" y="375949"/>
                    </a:lnTo>
                    <a:lnTo>
                      <a:pt x="217761" y="402080"/>
                    </a:lnTo>
                    <a:lnTo>
                      <a:pt x="179132" y="405647"/>
                    </a:lnTo>
                    <a:lnTo>
                      <a:pt x="176000" y="421297"/>
                    </a:lnTo>
                    <a:lnTo>
                      <a:pt x="139803" y="413118"/>
                    </a:lnTo>
                    <a:lnTo>
                      <a:pt x="100765" y="426224"/>
                    </a:lnTo>
                    <a:lnTo>
                      <a:pt x="60668" y="409761"/>
                    </a:lnTo>
                    <a:lnTo>
                      <a:pt x="43356" y="374536"/>
                    </a:lnTo>
                    <a:lnTo>
                      <a:pt x="9854" y="356135"/>
                    </a:lnTo>
                    <a:lnTo>
                      <a:pt x="17691" y="317667"/>
                    </a:lnTo>
                    <a:lnTo>
                      <a:pt x="-666" y="291415"/>
                    </a:lnTo>
                    <a:lnTo>
                      <a:pt x="32038" y="267622"/>
                    </a:lnTo>
                    <a:lnTo>
                      <a:pt x="60792" y="204245"/>
                    </a:lnTo>
                    <a:lnTo>
                      <a:pt x="91748" y="195991"/>
                    </a:lnTo>
                    <a:lnTo>
                      <a:pt x="86536" y="147225"/>
                    </a:lnTo>
                    <a:lnTo>
                      <a:pt x="99712" y="138729"/>
                    </a:lnTo>
                    <a:lnTo>
                      <a:pt x="108706" y="151948"/>
                    </a:lnTo>
                    <a:lnTo>
                      <a:pt x="125512" y="126803"/>
                    </a:lnTo>
                    <a:lnTo>
                      <a:pt x="105633" y="121932"/>
                    </a:lnTo>
                    <a:lnTo>
                      <a:pt x="99734" y="95592"/>
                    </a:lnTo>
                    <a:lnTo>
                      <a:pt x="124017" y="92170"/>
                    </a:lnTo>
                    <a:lnTo>
                      <a:pt x="119932" y="66373"/>
                    </a:lnTo>
                    <a:lnTo>
                      <a:pt x="136363" y="63842"/>
                    </a:lnTo>
                    <a:lnTo>
                      <a:pt x="151075" y="2181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" name="Владимирская область">
                <a:extLst>
                  <a:ext uri="{FF2B5EF4-FFF2-40B4-BE49-F238E27FC236}">
                    <a16:creationId xmlns:a16="http://schemas.microsoft.com/office/drawing/2014/main" id="{E27AB8D0-F8ED-4581-8BEA-5284577D0495}"/>
                  </a:ext>
                </a:extLst>
              </p:cNvPr>
              <p:cNvSpPr/>
              <p:nvPr/>
            </p:nvSpPr>
            <p:spPr>
              <a:xfrm>
                <a:off x="1962588" y="2871662"/>
                <a:ext cx="280207" cy="386327"/>
              </a:xfrm>
              <a:custGeom>
                <a:avLst/>
                <a:gdLst>
                  <a:gd name="connsiteX0" fmla="*/ 46391 w 280207"/>
                  <a:gd name="connsiteY0" fmla="*/ 8364 h 386327"/>
                  <a:gd name="connsiteX1" fmla="*/ 75508 w 280207"/>
                  <a:gd name="connsiteY1" fmla="*/ -157 h 386327"/>
                  <a:gd name="connsiteX2" fmla="*/ 64599 w 280207"/>
                  <a:gd name="connsiteY2" fmla="*/ 28024 h 386327"/>
                  <a:gd name="connsiteX3" fmla="*/ 84075 w 280207"/>
                  <a:gd name="connsiteY3" fmla="*/ 32843 h 386327"/>
                  <a:gd name="connsiteX4" fmla="*/ 103033 w 280207"/>
                  <a:gd name="connsiteY4" fmla="*/ 73197 h 386327"/>
                  <a:gd name="connsiteX5" fmla="*/ 133282 w 280207"/>
                  <a:gd name="connsiteY5" fmla="*/ 55795 h 386327"/>
                  <a:gd name="connsiteX6" fmla="*/ 158042 w 280207"/>
                  <a:gd name="connsiteY6" fmla="*/ 71562 h 386327"/>
                  <a:gd name="connsiteX7" fmla="*/ 165629 w 280207"/>
                  <a:gd name="connsiteY7" fmla="*/ 89851 h 386327"/>
                  <a:gd name="connsiteX8" fmla="*/ 132495 w 280207"/>
                  <a:gd name="connsiteY8" fmla="*/ 124291 h 386327"/>
                  <a:gd name="connsiteX9" fmla="*/ 144857 w 280207"/>
                  <a:gd name="connsiteY9" fmla="*/ 144953 h 386327"/>
                  <a:gd name="connsiteX10" fmla="*/ 183193 w 280207"/>
                  <a:gd name="connsiteY10" fmla="*/ 150035 h 386327"/>
                  <a:gd name="connsiteX11" fmla="*/ 201372 w 280207"/>
                  <a:gd name="connsiteY11" fmla="*/ 200908 h 386327"/>
                  <a:gd name="connsiteX12" fmla="*/ 249808 w 280207"/>
                  <a:gd name="connsiteY12" fmla="*/ 241780 h 386327"/>
                  <a:gd name="connsiteX13" fmla="*/ 235082 w 280207"/>
                  <a:gd name="connsiteY13" fmla="*/ 264288 h 386327"/>
                  <a:gd name="connsiteX14" fmla="*/ 259507 w 280207"/>
                  <a:gd name="connsiteY14" fmla="*/ 270283 h 386327"/>
                  <a:gd name="connsiteX15" fmla="*/ 279541 w 280207"/>
                  <a:gd name="connsiteY15" fmla="*/ 301714 h 386327"/>
                  <a:gd name="connsiteX16" fmla="*/ 262898 w 280207"/>
                  <a:gd name="connsiteY16" fmla="*/ 332168 h 386327"/>
                  <a:gd name="connsiteX17" fmla="*/ 272662 w 280207"/>
                  <a:gd name="connsiteY17" fmla="*/ 348970 h 386327"/>
                  <a:gd name="connsiteX18" fmla="*/ 245616 w 280207"/>
                  <a:gd name="connsiteY18" fmla="*/ 338286 h 386327"/>
                  <a:gd name="connsiteX19" fmla="*/ 234663 w 280207"/>
                  <a:gd name="connsiteY19" fmla="*/ 353844 h 386327"/>
                  <a:gd name="connsiteX20" fmla="*/ 166643 w 280207"/>
                  <a:gd name="connsiteY20" fmla="*/ 347034 h 386327"/>
                  <a:gd name="connsiteX21" fmla="*/ 142053 w 280207"/>
                  <a:gd name="connsiteY21" fmla="*/ 374250 h 386327"/>
                  <a:gd name="connsiteX22" fmla="*/ 81113 w 280207"/>
                  <a:gd name="connsiteY22" fmla="*/ 386171 h 386327"/>
                  <a:gd name="connsiteX23" fmla="*/ 73457 w 280207"/>
                  <a:gd name="connsiteY23" fmla="*/ 375945 h 386327"/>
                  <a:gd name="connsiteX24" fmla="*/ 65943 w 280207"/>
                  <a:gd name="connsiteY24" fmla="*/ 339366 h 386327"/>
                  <a:gd name="connsiteX25" fmla="*/ 46040 w 280207"/>
                  <a:gd name="connsiteY25" fmla="*/ 331701 h 386327"/>
                  <a:gd name="connsiteX26" fmla="*/ 53116 w 280207"/>
                  <a:gd name="connsiteY26" fmla="*/ 316126 h 386327"/>
                  <a:gd name="connsiteX27" fmla="*/ 21185 w 280207"/>
                  <a:gd name="connsiteY27" fmla="*/ 296893 h 386327"/>
                  <a:gd name="connsiteX28" fmla="*/ 37494 w 280207"/>
                  <a:gd name="connsiteY28" fmla="*/ 278706 h 386327"/>
                  <a:gd name="connsiteX29" fmla="*/ 15437 w 280207"/>
                  <a:gd name="connsiteY29" fmla="*/ 256470 h 386327"/>
                  <a:gd name="connsiteX30" fmla="*/ 54375 w 280207"/>
                  <a:gd name="connsiteY30" fmla="*/ 184950 h 386327"/>
                  <a:gd name="connsiteX31" fmla="*/ 20838 w 280207"/>
                  <a:gd name="connsiteY31" fmla="*/ 167001 h 386327"/>
                  <a:gd name="connsiteX32" fmla="*/ 26251 w 280207"/>
                  <a:gd name="connsiteY32" fmla="*/ 144544 h 386327"/>
                  <a:gd name="connsiteX33" fmla="*/ 10266 w 280207"/>
                  <a:gd name="connsiteY33" fmla="*/ 127477 h 386327"/>
                  <a:gd name="connsiteX34" fmla="*/ 20480 w 280207"/>
                  <a:gd name="connsiteY34" fmla="*/ 117160 h 386327"/>
                  <a:gd name="connsiteX35" fmla="*/ -666 w 280207"/>
                  <a:gd name="connsiteY35" fmla="*/ 85036 h 386327"/>
                  <a:gd name="connsiteX36" fmla="*/ 46391 w 280207"/>
                  <a:gd name="connsiteY36" fmla="*/ 8363 h 386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80207" h="386327">
                    <a:moveTo>
                      <a:pt x="46391" y="8364"/>
                    </a:moveTo>
                    <a:lnTo>
                      <a:pt x="75508" y="-157"/>
                    </a:lnTo>
                    <a:lnTo>
                      <a:pt x="64599" y="28024"/>
                    </a:lnTo>
                    <a:lnTo>
                      <a:pt x="84075" y="32843"/>
                    </a:lnTo>
                    <a:lnTo>
                      <a:pt x="103033" y="73197"/>
                    </a:lnTo>
                    <a:lnTo>
                      <a:pt x="133282" y="55795"/>
                    </a:lnTo>
                    <a:lnTo>
                      <a:pt x="158042" y="71562"/>
                    </a:lnTo>
                    <a:lnTo>
                      <a:pt x="165629" y="89851"/>
                    </a:lnTo>
                    <a:lnTo>
                      <a:pt x="132495" y="124291"/>
                    </a:lnTo>
                    <a:lnTo>
                      <a:pt x="144857" y="144953"/>
                    </a:lnTo>
                    <a:lnTo>
                      <a:pt x="183193" y="150035"/>
                    </a:lnTo>
                    <a:lnTo>
                      <a:pt x="201372" y="200908"/>
                    </a:lnTo>
                    <a:lnTo>
                      <a:pt x="249808" y="241780"/>
                    </a:lnTo>
                    <a:lnTo>
                      <a:pt x="235082" y="264288"/>
                    </a:lnTo>
                    <a:lnTo>
                      <a:pt x="259507" y="270283"/>
                    </a:lnTo>
                    <a:lnTo>
                      <a:pt x="279541" y="301714"/>
                    </a:lnTo>
                    <a:lnTo>
                      <a:pt x="262898" y="332168"/>
                    </a:lnTo>
                    <a:lnTo>
                      <a:pt x="272662" y="348970"/>
                    </a:lnTo>
                    <a:lnTo>
                      <a:pt x="245616" y="338286"/>
                    </a:lnTo>
                    <a:lnTo>
                      <a:pt x="234663" y="353844"/>
                    </a:lnTo>
                    <a:lnTo>
                      <a:pt x="166643" y="347034"/>
                    </a:lnTo>
                    <a:lnTo>
                      <a:pt x="142053" y="374250"/>
                    </a:lnTo>
                    <a:lnTo>
                      <a:pt x="81113" y="386171"/>
                    </a:lnTo>
                    <a:lnTo>
                      <a:pt x="73457" y="375945"/>
                    </a:lnTo>
                    <a:lnTo>
                      <a:pt x="65943" y="339366"/>
                    </a:lnTo>
                    <a:lnTo>
                      <a:pt x="46040" y="331701"/>
                    </a:lnTo>
                    <a:lnTo>
                      <a:pt x="53116" y="316126"/>
                    </a:lnTo>
                    <a:lnTo>
                      <a:pt x="21185" y="296893"/>
                    </a:lnTo>
                    <a:lnTo>
                      <a:pt x="37494" y="278706"/>
                    </a:lnTo>
                    <a:lnTo>
                      <a:pt x="15437" y="256470"/>
                    </a:lnTo>
                    <a:lnTo>
                      <a:pt x="54375" y="184950"/>
                    </a:lnTo>
                    <a:lnTo>
                      <a:pt x="20838" y="167001"/>
                    </a:lnTo>
                    <a:lnTo>
                      <a:pt x="26251" y="144544"/>
                    </a:lnTo>
                    <a:lnTo>
                      <a:pt x="10266" y="127477"/>
                    </a:lnTo>
                    <a:lnTo>
                      <a:pt x="20480" y="117160"/>
                    </a:lnTo>
                    <a:lnTo>
                      <a:pt x="-666" y="85036"/>
                    </a:lnTo>
                    <a:lnTo>
                      <a:pt x="46391" y="8363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" name="Рязанская область">
                <a:extLst>
                  <a:ext uri="{FF2B5EF4-FFF2-40B4-BE49-F238E27FC236}">
                    <a16:creationId xmlns:a16="http://schemas.microsoft.com/office/drawing/2014/main" id="{4C05C46C-47D2-4A25-8016-06678C8E7C05}"/>
                  </a:ext>
                </a:extLst>
              </p:cNvPr>
              <p:cNvSpPr/>
              <p:nvPr/>
            </p:nvSpPr>
            <p:spPr>
              <a:xfrm>
                <a:off x="1687632" y="3108613"/>
                <a:ext cx="386567" cy="317882"/>
              </a:xfrm>
              <a:custGeom>
                <a:avLst/>
                <a:gdLst>
                  <a:gd name="connsiteX0" fmla="*/ 71598 w 386567"/>
                  <a:gd name="connsiteY0" fmla="*/ 24035 h 317882"/>
                  <a:gd name="connsiteX1" fmla="*/ 105641 w 386567"/>
                  <a:gd name="connsiteY1" fmla="*/ 27970 h 317882"/>
                  <a:gd name="connsiteX2" fmla="*/ 104844 w 386567"/>
                  <a:gd name="connsiteY2" fmla="*/ 9890 h 317882"/>
                  <a:gd name="connsiteX3" fmla="*/ 126320 w 386567"/>
                  <a:gd name="connsiteY3" fmla="*/ -157 h 317882"/>
                  <a:gd name="connsiteX4" fmla="*/ 151773 w 386567"/>
                  <a:gd name="connsiteY4" fmla="*/ 25156 h 317882"/>
                  <a:gd name="connsiteX5" fmla="*/ 207583 w 386567"/>
                  <a:gd name="connsiteY5" fmla="*/ 9426 h 317882"/>
                  <a:gd name="connsiteX6" fmla="*/ 226740 w 386567"/>
                  <a:gd name="connsiteY6" fmla="*/ 26641 h 317882"/>
                  <a:gd name="connsiteX7" fmla="*/ 246965 w 386567"/>
                  <a:gd name="connsiteY7" fmla="*/ 6901 h 317882"/>
                  <a:gd name="connsiteX8" fmla="*/ 277635 w 386567"/>
                  <a:gd name="connsiteY8" fmla="*/ 23703 h 317882"/>
                  <a:gd name="connsiteX9" fmla="*/ 292597 w 386567"/>
                  <a:gd name="connsiteY9" fmla="*/ 16651 h 317882"/>
                  <a:gd name="connsiteX10" fmla="*/ 292428 w 386567"/>
                  <a:gd name="connsiteY10" fmla="*/ 34671 h 317882"/>
                  <a:gd name="connsiteX11" fmla="*/ 312665 w 386567"/>
                  <a:gd name="connsiteY11" fmla="*/ 43802 h 317882"/>
                  <a:gd name="connsiteX12" fmla="*/ 296143 w 386567"/>
                  <a:gd name="connsiteY12" fmla="*/ 59943 h 317882"/>
                  <a:gd name="connsiteX13" fmla="*/ 328074 w 386567"/>
                  <a:gd name="connsiteY13" fmla="*/ 79175 h 317882"/>
                  <a:gd name="connsiteX14" fmla="*/ 320997 w 386567"/>
                  <a:gd name="connsiteY14" fmla="*/ 94750 h 317882"/>
                  <a:gd name="connsiteX15" fmla="*/ 340900 w 386567"/>
                  <a:gd name="connsiteY15" fmla="*/ 102416 h 317882"/>
                  <a:gd name="connsiteX16" fmla="*/ 337474 w 386567"/>
                  <a:gd name="connsiteY16" fmla="*/ 121223 h 317882"/>
                  <a:gd name="connsiteX17" fmla="*/ 367275 w 386567"/>
                  <a:gd name="connsiteY17" fmla="*/ 163066 h 317882"/>
                  <a:gd name="connsiteX18" fmla="*/ 357178 w 386567"/>
                  <a:gd name="connsiteY18" fmla="*/ 179622 h 317882"/>
                  <a:gd name="connsiteX19" fmla="*/ 385901 w 386567"/>
                  <a:gd name="connsiteY19" fmla="*/ 199700 h 317882"/>
                  <a:gd name="connsiteX20" fmla="*/ 348310 w 386567"/>
                  <a:gd name="connsiteY20" fmla="*/ 230949 h 317882"/>
                  <a:gd name="connsiteX21" fmla="*/ 350203 w 386567"/>
                  <a:gd name="connsiteY21" fmla="*/ 263112 h 317882"/>
                  <a:gd name="connsiteX22" fmla="*/ 330665 w 386567"/>
                  <a:gd name="connsiteY22" fmla="*/ 263943 h 317882"/>
                  <a:gd name="connsiteX23" fmla="*/ 323091 w 386567"/>
                  <a:gd name="connsiteY23" fmla="*/ 280806 h 317882"/>
                  <a:gd name="connsiteX24" fmla="*/ 281132 w 386567"/>
                  <a:gd name="connsiteY24" fmla="*/ 262320 h 317882"/>
                  <a:gd name="connsiteX25" fmla="*/ 274863 w 386567"/>
                  <a:gd name="connsiteY25" fmla="*/ 277710 h 317882"/>
                  <a:gd name="connsiteX26" fmla="*/ 297523 w 386567"/>
                  <a:gd name="connsiteY26" fmla="*/ 280532 h 317882"/>
                  <a:gd name="connsiteX27" fmla="*/ 298729 w 386567"/>
                  <a:gd name="connsiteY27" fmla="*/ 311036 h 317882"/>
                  <a:gd name="connsiteX28" fmla="*/ 267485 w 386567"/>
                  <a:gd name="connsiteY28" fmla="*/ 287019 h 317882"/>
                  <a:gd name="connsiteX29" fmla="*/ 268353 w 386567"/>
                  <a:gd name="connsiteY29" fmla="*/ 308910 h 317882"/>
                  <a:gd name="connsiteX30" fmla="*/ 246265 w 386567"/>
                  <a:gd name="connsiteY30" fmla="*/ 317726 h 317882"/>
                  <a:gd name="connsiteX31" fmla="*/ 179353 w 386567"/>
                  <a:gd name="connsiteY31" fmla="*/ 260733 h 317882"/>
                  <a:gd name="connsiteX32" fmla="*/ 146624 w 386567"/>
                  <a:gd name="connsiteY32" fmla="*/ 284557 h 317882"/>
                  <a:gd name="connsiteX33" fmla="*/ 121100 w 386567"/>
                  <a:gd name="connsiteY33" fmla="*/ 281509 h 317882"/>
                  <a:gd name="connsiteX34" fmla="*/ 110060 w 386567"/>
                  <a:gd name="connsiteY34" fmla="*/ 236405 h 317882"/>
                  <a:gd name="connsiteX35" fmla="*/ 51498 w 386567"/>
                  <a:gd name="connsiteY35" fmla="*/ 227752 h 317882"/>
                  <a:gd name="connsiteX36" fmla="*/ 56455 w 386567"/>
                  <a:gd name="connsiteY36" fmla="*/ 167727 h 317882"/>
                  <a:gd name="connsiteX37" fmla="*/ 23151 w 386567"/>
                  <a:gd name="connsiteY37" fmla="*/ 169396 h 317882"/>
                  <a:gd name="connsiteX38" fmla="*/ -666 w 386567"/>
                  <a:gd name="connsiteY38" fmla="*/ 147883 h 317882"/>
                  <a:gd name="connsiteX39" fmla="*/ 8025 w 386567"/>
                  <a:gd name="connsiteY39" fmla="*/ 102555 h 317882"/>
                  <a:gd name="connsiteX40" fmla="*/ 45791 w 386567"/>
                  <a:gd name="connsiteY40" fmla="*/ 72221 h 317882"/>
                  <a:gd name="connsiteX41" fmla="*/ 43257 w 386567"/>
                  <a:gd name="connsiteY41" fmla="*/ 54297 h 317882"/>
                  <a:gd name="connsiteX42" fmla="*/ 71599 w 386567"/>
                  <a:gd name="connsiteY42" fmla="*/ 24036 h 317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86567" h="317882">
                    <a:moveTo>
                      <a:pt x="71598" y="24035"/>
                    </a:moveTo>
                    <a:lnTo>
                      <a:pt x="105641" y="27970"/>
                    </a:lnTo>
                    <a:lnTo>
                      <a:pt x="104844" y="9890"/>
                    </a:lnTo>
                    <a:lnTo>
                      <a:pt x="126320" y="-157"/>
                    </a:lnTo>
                    <a:lnTo>
                      <a:pt x="151773" y="25156"/>
                    </a:lnTo>
                    <a:lnTo>
                      <a:pt x="207583" y="9426"/>
                    </a:lnTo>
                    <a:lnTo>
                      <a:pt x="226740" y="26641"/>
                    </a:lnTo>
                    <a:lnTo>
                      <a:pt x="246965" y="6901"/>
                    </a:lnTo>
                    <a:lnTo>
                      <a:pt x="277635" y="23703"/>
                    </a:lnTo>
                    <a:lnTo>
                      <a:pt x="292597" y="16651"/>
                    </a:lnTo>
                    <a:lnTo>
                      <a:pt x="292428" y="34671"/>
                    </a:lnTo>
                    <a:lnTo>
                      <a:pt x="312665" y="43802"/>
                    </a:lnTo>
                    <a:lnTo>
                      <a:pt x="296143" y="59943"/>
                    </a:lnTo>
                    <a:lnTo>
                      <a:pt x="328074" y="79175"/>
                    </a:lnTo>
                    <a:lnTo>
                      <a:pt x="320997" y="94750"/>
                    </a:lnTo>
                    <a:lnTo>
                      <a:pt x="340900" y="102416"/>
                    </a:lnTo>
                    <a:lnTo>
                      <a:pt x="337474" y="121223"/>
                    </a:lnTo>
                    <a:lnTo>
                      <a:pt x="367275" y="163066"/>
                    </a:lnTo>
                    <a:lnTo>
                      <a:pt x="357178" y="179622"/>
                    </a:lnTo>
                    <a:lnTo>
                      <a:pt x="385901" y="199700"/>
                    </a:lnTo>
                    <a:lnTo>
                      <a:pt x="348310" y="230949"/>
                    </a:lnTo>
                    <a:lnTo>
                      <a:pt x="350203" y="263112"/>
                    </a:lnTo>
                    <a:lnTo>
                      <a:pt x="330665" y="263943"/>
                    </a:lnTo>
                    <a:lnTo>
                      <a:pt x="323091" y="280806"/>
                    </a:lnTo>
                    <a:lnTo>
                      <a:pt x="281132" y="262320"/>
                    </a:lnTo>
                    <a:lnTo>
                      <a:pt x="274863" y="277710"/>
                    </a:lnTo>
                    <a:lnTo>
                      <a:pt x="297523" y="280532"/>
                    </a:lnTo>
                    <a:lnTo>
                      <a:pt x="298729" y="311036"/>
                    </a:lnTo>
                    <a:lnTo>
                      <a:pt x="267485" y="287019"/>
                    </a:lnTo>
                    <a:lnTo>
                      <a:pt x="268353" y="308910"/>
                    </a:lnTo>
                    <a:lnTo>
                      <a:pt x="246265" y="317726"/>
                    </a:lnTo>
                    <a:lnTo>
                      <a:pt x="179353" y="260733"/>
                    </a:lnTo>
                    <a:lnTo>
                      <a:pt x="146624" y="284557"/>
                    </a:lnTo>
                    <a:lnTo>
                      <a:pt x="121100" y="281509"/>
                    </a:lnTo>
                    <a:lnTo>
                      <a:pt x="110060" y="236405"/>
                    </a:lnTo>
                    <a:lnTo>
                      <a:pt x="51498" y="227752"/>
                    </a:lnTo>
                    <a:lnTo>
                      <a:pt x="56455" y="167727"/>
                    </a:lnTo>
                    <a:lnTo>
                      <a:pt x="23151" y="169396"/>
                    </a:lnTo>
                    <a:lnTo>
                      <a:pt x="-666" y="147883"/>
                    </a:lnTo>
                    <a:lnTo>
                      <a:pt x="8025" y="102555"/>
                    </a:lnTo>
                    <a:lnTo>
                      <a:pt x="45791" y="72221"/>
                    </a:lnTo>
                    <a:lnTo>
                      <a:pt x="43257" y="54297"/>
                    </a:lnTo>
                    <a:lnTo>
                      <a:pt x="71599" y="24036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" name="Ивановская область">
                <a:extLst>
                  <a:ext uri="{FF2B5EF4-FFF2-40B4-BE49-F238E27FC236}">
                    <a16:creationId xmlns:a16="http://schemas.microsoft.com/office/drawing/2014/main" id="{5DF3BA3B-CE79-4E94-8CBA-4C0E5B434A99}"/>
                  </a:ext>
                </a:extLst>
              </p:cNvPr>
              <p:cNvSpPr/>
              <p:nvPr/>
            </p:nvSpPr>
            <p:spPr>
              <a:xfrm>
                <a:off x="2097018" y="2917856"/>
                <a:ext cx="310525" cy="265594"/>
              </a:xfrm>
              <a:custGeom>
                <a:avLst/>
                <a:gdLst>
                  <a:gd name="connsiteX0" fmla="*/ 7829 w 310525"/>
                  <a:gd name="connsiteY0" fmla="*/ 4977 h 265594"/>
                  <a:gd name="connsiteX1" fmla="*/ 76141 w 310525"/>
                  <a:gd name="connsiteY1" fmla="*/ -157 h 265594"/>
                  <a:gd name="connsiteX2" fmla="*/ 203921 w 310525"/>
                  <a:gd name="connsiteY2" fmla="*/ 78828 h 265594"/>
                  <a:gd name="connsiteX3" fmla="*/ 239593 w 310525"/>
                  <a:gd name="connsiteY3" fmla="*/ 51502 h 265594"/>
                  <a:gd name="connsiteX4" fmla="*/ 251935 w 310525"/>
                  <a:gd name="connsiteY4" fmla="*/ 107675 h 265594"/>
                  <a:gd name="connsiteX5" fmla="*/ 299919 w 310525"/>
                  <a:gd name="connsiteY5" fmla="*/ 128172 h 265594"/>
                  <a:gd name="connsiteX6" fmla="*/ 269787 w 310525"/>
                  <a:gd name="connsiteY6" fmla="*/ 168073 h 265594"/>
                  <a:gd name="connsiteX7" fmla="*/ 290809 w 310525"/>
                  <a:gd name="connsiteY7" fmla="*/ 181520 h 265594"/>
                  <a:gd name="connsiteX8" fmla="*/ 309860 w 310525"/>
                  <a:gd name="connsiteY8" fmla="*/ 164608 h 265594"/>
                  <a:gd name="connsiteX9" fmla="*/ 300152 w 310525"/>
                  <a:gd name="connsiteY9" fmla="*/ 190030 h 265594"/>
                  <a:gd name="connsiteX10" fmla="*/ 257909 w 310525"/>
                  <a:gd name="connsiteY10" fmla="*/ 202623 h 265594"/>
                  <a:gd name="connsiteX11" fmla="*/ 231276 w 310525"/>
                  <a:gd name="connsiteY11" fmla="*/ 252875 h 265594"/>
                  <a:gd name="connsiteX12" fmla="*/ 204864 w 310525"/>
                  <a:gd name="connsiteY12" fmla="*/ 227565 h 265594"/>
                  <a:gd name="connsiteX13" fmla="*/ 167933 w 310525"/>
                  <a:gd name="connsiteY13" fmla="*/ 265438 h 265594"/>
                  <a:gd name="connsiteX14" fmla="*/ 141588 w 310525"/>
                  <a:gd name="connsiteY14" fmla="*/ 253276 h 265594"/>
                  <a:gd name="connsiteX15" fmla="*/ 125077 w 310525"/>
                  <a:gd name="connsiteY15" fmla="*/ 224089 h 265594"/>
                  <a:gd name="connsiteX16" fmla="*/ 100652 w 310525"/>
                  <a:gd name="connsiteY16" fmla="*/ 218094 h 265594"/>
                  <a:gd name="connsiteX17" fmla="*/ 115561 w 310525"/>
                  <a:gd name="connsiteY17" fmla="*/ 195919 h 265594"/>
                  <a:gd name="connsiteX18" fmla="*/ 67548 w 310525"/>
                  <a:gd name="connsiteY18" fmla="*/ 154930 h 265594"/>
                  <a:gd name="connsiteX19" fmla="*/ 48763 w 310525"/>
                  <a:gd name="connsiteY19" fmla="*/ 103841 h 265594"/>
                  <a:gd name="connsiteX20" fmla="*/ 10427 w 310525"/>
                  <a:gd name="connsiteY20" fmla="*/ 98758 h 265594"/>
                  <a:gd name="connsiteX21" fmla="*/ -666 w 310525"/>
                  <a:gd name="connsiteY21" fmla="*/ 80969 h 265594"/>
                  <a:gd name="connsiteX22" fmla="*/ 7059 w 310525"/>
                  <a:gd name="connsiteY22" fmla="*/ 56132 h 265594"/>
                  <a:gd name="connsiteX23" fmla="*/ 31199 w 310525"/>
                  <a:gd name="connsiteY23" fmla="*/ 43657 h 265594"/>
                  <a:gd name="connsiteX24" fmla="*/ 3561 w 310525"/>
                  <a:gd name="connsiteY24" fmla="*/ 18145 h 265594"/>
                  <a:gd name="connsiteX25" fmla="*/ 7829 w 310525"/>
                  <a:gd name="connsiteY25" fmla="*/ 4977 h 265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10525" h="265594">
                    <a:moveTo>
                      <a:pt x="7829" y="4977"/>
                    </a:moveTo>
                    <a:lnTo>
                      <a:pt x="76141" y="-157"/>
                    </a:lnTo>
                    <a:lnTo>
                      <a:pt x="203921" y="78828"/>
                    </a:lnTo>
                    <a:lnTo>
                      <a:pt x="239593" y="51502"/>
                    </a:lnTo>
                    <a:lnTo>
                      <a:pt x="251935" y="107675"/>
                    </a:lnTo>
                    <a:lnTo>
                      <a:pt x="299919" y="128172"/>
                    </a:lnTo>
                    <a:lnTo>
                      <a:pt x="269787" y="168073"/>
                    </a:lnTo>
                    <a:lnTo>
                      <a:pt x="290809" y="181520"/>
                    </a:lnTo>
                    <a:lnTo>
                      <a:pt x="309860" y="164608"/>
                    </a:lnTo>
                    <a:lnTo>
                      <a:pt x="300152" y="190030"/>
                    </a:lnTo>
                    <a:lnTo>
                      <a:pt x="257909" y="202623"/>
                    </a:lnTo>
                    <a:lnTo>
                      <a:pt x="231276" y="252875"/>
                    </a:lnTo>
                    <a:lnTo>
                      <a:pt x="204864" y="227565"/>
                    </a:lnTo>
                    <a:lnTo>
                      <a:pt x="167933" y="265438"/>
                    </a:lnTo>
                    <a:lnTo>
                      <a:pt x="141588" y="253276"/>
                    </a:lnTo>
                    <a:lnTo>
                      <a:pt x="125077" y="224089"/>
                    </a:lnTo>
                    <a:lnTo>
                      <a:pt x="100652" y="218094"/>
                    </a:lnTo>
                    <a:lnTo>
                      <a:pt x="115561" y="195919"/>
                    </a:lnTo>
                    <a:lnTo>
                      <a:pt x="67548" y="154930"/>
                    </a:lnTo>
                    <a:lnTo>
                      <a:pt x="48763" y="103841"/>
                    </a:lnTo>
                    <a:lnTo>
                      <a:pt x="10427" y="98758"/>
                    </a:lnTo>
                    <a:lnTo>
                      <a:pt x="-666" y="80969"/>
                    </a:lnTo>
                    <a:lnTo>
                      <a:pt x="7059" y="56132"/>
                    </a:lnTo>
                    <a:lnTo>
                      <a:pt x="31199" y="43657"/>
                    </a:lnTo>
                    <a:lnTo>
                      <a:pt x="3561" y="18145"/>
                    </a:lnTo>
                    <a:lnTo>
                      <a:pt x="7829" y="4977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" name="Тамбовская область">
                <a:extLst>
                  <a:ext uri="{FF2B5EF4-FFF2-40B4-BE49-F238E27FC236}">
                    <a16:creationId xmlns:a16="http://schemas.microsoft.com/office/drawing/2014/main" id="{2402BBC9-12F8-4494-87B2-ED828325F71A}"/>
                  </a:ext>
                </a:extLst>
              </p:cNvPr>
              <p:cNvSpPr/>
              <p:nvPr/>
            </p:nvSpPr>
            <p:spPr>
              <a:xfrm>
                <a:off x="1597748" y="3331909"/>
                <a:ext cx="315064" cy="345853"/>
              </a:xfrm>
              <a:custGeom>
                <a:avLst/>
                <a:gdLst>
                  <a:gd name="connsiteX0" fmla="*/ 52349 w 315064"/>
                  <a:gd name="connsiteY0" fmla="*/ 44934 h 345853"/>
                  <a:gd name="connsiteX1" fmla="*/ 74360 w 315064"/>
                  <a:gd name="connsiteY1" fmla="*/ 48535 h 345853"/>
                  <a:gd name="connsiteX2" fmla="*/ 130050 w 315064"/>
                  <a:gd name="connsiteY2" fmla="*/ -157 h 345853"/>
                  <a:gd name="connsiteX3" fmla="*/ 154469 w 315064"/>
                  <a:gd name="connsiteY3" fmla="*/ 12422 h 345853"/>
                  <a:gd name="connsiteX4" fmla="*/ 175950 w 315064"/>
                  <a:gd name="connsiteY4" fmla="*/ -55 h 345853"/>
                  <a:gd name="connsiteX5" fmla="*/ 202972 w 315064"/>
                  <a:gd name="connsiteY5" fmla="*/ 17253 h 345853"/>
                  <a:gd name="connsiteX6" fmla="*/ 210985 w 315064"/>
                  <a:gd name="connsiteY6" fmla="*/ 58216 h 345853"/>
                  <a:gd name="connsiteX7" fmla="*/ 236754 w 315064"/>
                  <a:gd name="connsiteY7" fmla="*/ 61120 h 345853"/>
                  <a:gd name="connsiteX8" fmla="*/ 269235 w 315064"/>
                  <a:gd name="connsiteY8" fmla="*/ 37437 h 345853"/>
                  <a:gd name="connsiteX9" fmla="*/ 312278 w 315064"/>
                  <a:gd name="connsiteY9" fmla="*/ 75725 h 345853"/>
                  <a:gd name="connsiteX10" fmla="*/ 314398 w 315064"/>
                  <a:gd name="connsiteY10" fmla="*/ 89944 h 345853"/>
                  <a:gd name="connsiteX11" fmla="*/ 282338 w 315064"/>
                  <a:gd name="connsiteY11" fmla="*/ 113911 h 345853"/>
                  <a:gd name="connsiteX12" fmla="*/ 285767 w 315064"/>
                  <a:gd name="connsiteY12" fmla="*/ 137286 h 345853"/>
                  <a:gd name="connsiteX13" fmla="*/ 272437 w 315064"/>
                  <a:gd name="connsiteY13" fmla="*/ 139539 h 345853"/>
                  <a:gd name="connsiteX14" fmla="*/ 281067 w 315064"/>
                  <a:gd name="connsiteY14" fmla="*/ 153241 h 345853"/>
                  <a:gd name="connsiteX15" fmla="*/ 254935 w 315064"/>
                  <a:gd name="connsiteY15" fmla="*/ 285115 h 345853"/>
                  <a:gd name="connsiteX16" fmla="*/ 173301 w 315064"/>
                  <a:gd name="connsiteY16" fmla="*/ 301026 h 345853"/>
                  <a:gd name="connsiteX17" fmla="*/ 156964 w 315064"/>
                  <a:gd name="connsiteY17" fmla="*/ 321612 h 345853"/>
                  <a:gd name="connsiteX18" fmla="*/ 89287 w 315064"/>
                  <a:gd name="connsiteY18" fmla="*/ 345696 h 345853"/>
                  <a:gd name="connsiteX19" fmla="*/ 76763 w 315064"/>
                  <a:gd name="connsiteY19" fmla="*/ 334050 h 345853"/>
                  <a:gd name="connsiteX20" fmla="*/ 84213 w 315064"/>
                  <a:gd name="connsiteY20" fmla="*/ 312013 h 345853"/>
                  <a:gd name="connsiteX21" fmla="*/ 65494 w 315064"/>
                  <a:gd name="connsiteY21" fmla="*/ 312657 h 345853"/>
                  <a:gd name="connsiteX22" fmla="*/ 45518 w 315064"/>
                  <a:gd name="connsiteY22" fmla="*/ 249966 h 345853"/>
                  <a:gd name="connsiteX23" fmla="*/ -666 w 315064"/>
                  <a:gd name="connsiteY23" fmla="*/ 213784 h 345853"/>
                  <a:gd name="connsiteX24" fmla="*/ 20923 w 315064"/>
                  <a:gd name="connsiteY24" fmla="*/ 202853 h 345853"/>
                  <a:gd name="connsiteX25" fmla="*/ 1335 w 315064"/>
                  <a:gd name="connsiteY25" fmla="*/ 167400 h 345853"/>
                  <a:gd name="connsiteX26" fmla="*/ 49637 w 315064"/>
                  <a:gd name="connsiteY26" fmla="*/ 150157 h 345853"/>
                  <a:gd name="connsiteX27" fmla="*/ 38489 w 315064"/>
                  <a:gd name="connsiteY27" fmla="*/ 104275 h 345853"/>
                  <a:gd name="connsiteX28" fmla="*/ 52349 w 315064"/>
                  <a:gd name="connsiteY28" fmla="*/ 44934 h 345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15064" h="345853">
                    <a:moveTo>
                      <a:pt x="52349" y="44934"/>
                    </a:moveTo>
                    <a:lnTo>
                      <a:pt x="74360" y="48535"/>
                    </a:lnTo>
                    <a:lnTo>
                      <a:pt x="130050" y="-157"/>
                    </a:lnTo>
                    <a:lnTo>
                      <a:pt x="154469" y="12422"/>
                    </a:lnTo>
                    <a:lnTo>
                      <a:pt x="175950" y="-55"/>
                    </a:lnTo>
                    <a:lnTo>
                      <a:pt x="202972" y="17253"/>
                    </a:lnTo>
                    <a:lnTo>
                      <a:pt x="210985" y="58216"/>
                    </a:lnTo>
                    <a:lnTo>
                      <a:pt x="236754" y="61120"/>
                    </a:lnTo>
                    <a:lnTo>
                      <a:pt x="269235" y="37437"/>
                    </a:lnTo>
                    <a:lnTo>
                      <a:pt x="312278" y="75725"/>
                    </a:lnTo>
                    <a:lnTo>
                      <a:pt x="314398" y="89944"/>
                    </a:lnTo>
                    <a:lnTo>
                      <a:pt x="282338" y="113911"/>
                    </a:lnTo>
                    <a:lnTo>
                      <a:pt x="285767" y="137286"/>
                    </a:lnTo>
                    <a:lnTo>
                      <a:pt x="272437" y="139539"/>
                    </a:lnTo>
                    <a:lnTo>
                      <a:pt x="281067" y="153241"/>
                    </a:lnTo>
                    <a:lnTo>
                      <a:pt x="254935" y="285115"/>
                    </a:lnTo>
                    <a:lnTo>
                      <a:pt x="173301" y="301026"/>
                    </a:lnTo>
                    <a:lnTo>
                      <a:pt x="156964" y="321612"/>
                    </a:lnTo>
                    <a:lnTo>
                      <a:pt x="89287" y="345696"/>
                    </a:lnTo>
                    <a:lnTo>
                      <a:pt x="76763" y="334050"/>
                    </a:lnTo>
                    <a:lnTo>
                      <a:pt x="84213" y="312013"/>
                    </a:lnTo>
                    <a:lnTo>
                      <a:pt x="65494" y="312657"/>
                    </a:lnTo>
                    <a:lnTo>
                      <a:pt x="45518" y="249966"/>
                    </a:lnTo>
                    <a:lnTo>
                      <a:pt x="-666" y="213784"/>
                    </a:lnTo>
                    <a:lnTo>
                      <a:pt x="20923" y="202853"/>
                    </a:lnTo>
                    <a:lnTo>
                      <a:pt x="1335" y="167400"/>
                    </a:lnTo>
                    <a:lnTo>
                      <a:pt x="49637" y="150157"/>
                    </a:lnTo>
                    <a:lnTo>
                      <a:pt x="38489" y="104275"/>
                    </a:lnTo>
                    <a:lnTo>
                      <a:pt x="52349" y="44934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" name="Костромская область">
                <a:extLst>
                  <a:ext uri="{FF2B5EF4-FFF2-40B4-BE49-F238E27FC236}">
                    <a16:creationId xmlns:a16="http://schemas.microsoft.com/office/drawing/2014/main" id="{4D851BBA-02CB-4FDB-86DC-448B0D82A572}"/>
                  </a:ext>
                </a:extLst>
              </p:cNvPr>
              <p:cNvSpPr/>
              <p:nvPr/>
            </p:nvSpPr>
            <p:spPr>
              <a:xfrm>
                <a:off x="2219437" y="2816992"/>
                <a:ext cx="636401" cy="397896"/>
              </a:xfrm>
              <a:custGeom>
                <a:avLst/>
                <a:gdLst>
                  <a:gd name="connsiteX0" fmla="*/ 9707 w 636401"/>
                  <a:gd name="connsiteY0" fmla="*/ 111751 h 397896"/>
                  <a:gd name="connsiteX1" fmla="*/ 31612 w 636401"/>
                  <a:gd name="connsiteY1" fmla="*/ 99064 h 397896"/>
                  <a:gd name="connsiteX2" fmla="*/ 53764 w 636401"/>
                  <a:gd name="connsiteY2" fmla="*/ 108239 h 397896"/>
                  <a:gd name="connsiteX3" fmla="*/ 79445 w 636401"/>
                  <a:gd name="connsiteY3" fmla="*/ 73432 h 397896"/>
                  <a:gd name="connsiteX4" fmla="*/ 162669 w 636401"/>
                  <a:gd name="connsiteY4" fmla="*/ 64571 h 397896"/>
                  <a:gd name="connsiteX5" fmla="*/ 176729 w 636401"/>
                  <a:gd name="connsiteY5" fmla="*/ 23597 h 397896"/>
                  <a:gd name="connsiteX6" fmla="*/ 208324 w 636401"/>
                  <a:gd name="connsiteY6" fmla="*/ 26904 h 397896"/>
                  <a:gd name="connsiteX7" fmla="*/ 234012 w 636401"/>
                  <a:gd name="connsiteY7" fmla="*/ -157 h 397896"/>
                  <a:gd name="connsiteX8" fmla="*/ 300776 w 636401"/>
                  <a:gd name="connsiteY8" fmla="*/ 33739 h 397896"/>
                  <a:gd name="connsiteX9" fmla="*/ 317560 w 636401"/>
                  <a:gd name="connsiteY9" fmla="*/ 22764 h 397896"/>
                  <a:gd name="connsiteX10" fmla="*/ 311507 w 636401"/>
                  <a:gd name="connsiteY10" fmla="*/ 6214 h 397896"/>
                  <a:gd name="connsiteX11" fmla="*/ 334749 w 636401"/>
                  <a:gd name="connsiteY11" fmla="*/ 73 h 397896"/>
                  <a:gd name="connsiteX12" fmla="*/ 328648 w 636401"/>
                  <a:gd name="connsiteY12" fmla="*/ 32085 h 397896"/>
                  <a:gd name="connsiteX13" fmla="*/ 355591 w 636401"/>
                  <a:gd name="connsiteY13" fmla="*/ 45803 h 397896"/>
                  <a:gd name="connsiteX14" fmla="*/ 349139 w 636401"/>
                  <a:gd name="connsiteY14" fmla="*/ 76975 h 397896"/>
                  <a:gd name="connsiteX15" fmla="*/ 379190 w 636401"/>
                  <a:gd name="connsiteY15" fmla="*/ 78968 h 397896"/>
                  <a:gd name="connsiteX16" fmla="*/ 382342 w 636401"/>
                  <a:gd name="connsiteY16" fmla="*/ 102206 h 397896"/>
                  <a:gd name="connsiteX17" fmla="*/ 400454 w 636401"/>
                  <a:gd name="connsiteY17" fmla="*/ 98258 h 397896"/>
                  <a:gd name="connsiteX18" fmla="*/ 387826 w 636401"/>
                  <a:gd name="connsiteY18" fmla="*/ 113775 h 397896"/>
                  <a:gd name="connsiteX19" fmla="*/ 411253 w 636401"/>
                  <a:gd name="connsiteY19" fmla="*/ 117918 h 397896"/>
                  <a:gd name="connsiteX20" fmla="*/ 428131 w 636401"/>
                  <a:gd name="connsiteY20" fmla="*/ 165596 h 397896"/>
                  <a:gd name="connsiteX21" fmla="*/ 465579 w 636401"/>
                  <a:gd name="connsiteY21" fmla="*/ 205740 h 397896"/>
                  <a:gd name="connsiteX22" fmla="*/ 492952 w 636401"/>
                  <a:gd name="connsiteY22" fmla="*/ 212249 h 397896"/>
                  <a:gd name="connsiteX23" fmla="*/ 524444 w 636401"/>
                  <a:gd name="connsiteY23" fmla="*/ 252843 h 397896"/>
                  <a:gd name="connsiteX24" fmla="*/ 543343 w 636401"/>
                  <a:gd name="connsiteY24" fmla="*/ 238108 h 397896"/>
                  <a:gd name="connsiteX25" fmla="*/ 565333 w 636401"/>
                  <a:gd name="connsiteY25" fmla="*/ 255186 h 397896"/>
                  <a:gd name="connsiteX26" fmla="*/ 597364 w 636401"/>
                  <a:gd name="connsiteY26" fmla="*/ 226425 h 397896"/>
                  <a:gd name="connsiteX27" fmla="*/ 635735 w 636401"/>
                  <a:gd name="connsiteY27" fmla="*/ 267139 h 397896"/>
                  <a:gd name="connsiteX28" fmla="*/ 607228 w 636401"/>
                  <a:gd name="connsiteY28" fmla="*/ 289457 h 397896"/>
                  <a:gd name="connsiteX29" fmla="*/ 616936 w 636401"/>
                  <a:gd name="connsiteY29" fmla="*/ 302157 h 397896"/>
                  <a:gd name="connsiteX30" fmla="*/ 598567 w 636401"/>
                  <a:gd name="connsiteY30" fmla="*/ 317282 h 397896"/>
                  <a:gd name="connsiteX31" fmla="*/ 609767 w 636401"/>
                  <a:gd name="connsiteY31" fmla="*/ 336732 h 397896"/>
                  <a:gd name="connsiteX32" fmla="*/ 593502 w 636401"/>
                  <a:gd name="connsiteY32" fmla="*/ 373170 h 397896"/>
                  <a:gd name="connsiteX33" fmla="*/ 573689 w 636401"/>
                  <a:gd name="connsiteY33" fmla="*/ 353614 h 397896"/>
                  <a:gd name="connsiteX34" fmla="*/ 561700 w 636401"/>
                  <a:gd name="connsiteY34" fmla="*/ 369151 h 397896"/>
                  <a:gd name="connsiteX35" fmla="*/ 547662 w 636401"/>
                  <a:gd name="connsiteY35" fmla="*/ 359663 h 397896"/>
                  <a:gd name="connsiteX36" fmla="*/ 525122 w 636401"/>
                  <a:gd name="connsiteY36" fmla="*/ 372856 h 397896"/>
                  <a:gd name="connsiteX37" fmla="*/ 500738 w 636401"/>
                  <a:gd name="connsiteY37" fmla="*/ 356192 h 397896"/>
                  <a:gd name="connsiteX38" fmla="*/ 475725 w 636401"/>
                  <a:gd name="connsiteY38" fmla="*/ 373125 h 397896"/>
                  <a:gd name="connsiteX39" fmla="*/ 462281 w 636401"/>
                  <a:gd name="connsiteY39" fmla="*/ 365427 h 397896"/>
                  <a:gd name="connsiteX40" fmla="*/ 425533 w 636401"/>
                  <a:gd name="connsiteY40" fmla="*/ 397739 h 397896"/>
                  <a:gd name="connsiteX41" fmla="*/ 391908 w 636401"/>
                  <a:gd name="connsiteY41" fmla="*/ 369145 h 397896"/>
                  <a:gd name="connsiteX42" fmla="*/ 366749 w 636401"/>
                  <a:gd name="connsiteY42" fmla="*/ 371772 h 397896"/>
                  <a:gd name="connsiteX43" fmla="*/ 372585 w 636401"/>
                  <a:gd name="connsiteY43" fmla="*/ 353514 h 397896"/>
                  <a:gd name="connsiteX44" fmla="*/ 340557 w 636401"/>
                  <a:gd name="connsiteY44" fmla="*/ 311068 h 397896"/>
                  <a:gd name="connsiteX45" fmla="*/ 294333 w 636401"/>
                  <a:gd name="connsiteY45" fmla="*/ 345112 h 397896"/>
                  <a:gd name="connsiteX46" fmla="*/ 212790 w 636401"/>
                  <a:gd name="connsiteY46" fmla="*/ 326842 h 397896"/>
                  <a:gd name="connsiteX47" fmla="*/ 209400 w 636401"/>
                  <a:gd name="connsiteY47" fmla="*/ 281951 h 397896"/>
                  <a:gd name="connsiteX48" fmla="*/ 176596 w 636401"/>
                  <a:gd name="connsiteY48" fmla="*/ 288766 h 397896"/>
                  <a:gd name="connsiteX49" fmla="*/ 187786 w 636401"/>
                  <a:gd name="connsiteY49" fmla="*/ 265622 h 397896"/>
                  <a:gd name="connsiteX50" fmla="*/ 167988 w 636401"/>
                  <a:gd name="connsiteY50" fmla="*/ 282446 h 397896"/>
                  <a:gd name="connsiteX51" fmla="*/ 147617 w 636401"/>
                  <a:gd name="connsiteY51" fmla="*/ 269940 h 397896"/>
                  <a:gd name="connsiteX52" fmla="*/ 179160 w 636401"/>
                  <a:gd name="connsiteY52" fmla="*/ 232896 h 397896"/>
                  <a:gd name="connsiteX53" fmla="*/ 129517 w 636401"/>
                  <a:gd name="connsiteY53" fmla="*/ 208539 h 397896"/>
                  <a:gd name="connsiteX54" fmla="*/ 117175 w 636401"/>
                  <a:gd name="connsiteY54" fmla="*/ 152366 h 397896"/>
                  <a:gd name="connsiteX55" fmla="*/ 81503 w 636401"/>
                  <a:gd name="connsiteY55" fmla="*/ 179692 h 397896"/>
                  <a:gd name="connsiteX56" fmla="*/ -666 w 636401"/>
                  <a:gd name="connsiteY56" fmla="*/ 129837 h 397896"/>
                  <a:gd name="connsiteX57" fmla="*/ 9707 w 636401"/>
                  <a:gd name="connsiteY57" fmla="*/ 111751 h 397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636401" h="397896">
                    <a:moveTo>
                      <a:pt x="9707" y="111751"/>
                    </a:moveTo>
                    <a:lnTo>
                      <a:pt x="31612" y="99064"/>
                    </a:lnTo>
                    <a:lnTo>
                      <a:pt x="53764" y="108239"/>
                    </a:lnTo>
                    <a:lnTo>
                      <a:pt x="79445" y="73432"/>
                    </a:lnTo>
                    <a:lnTo>
                      <a:pt x="162669" y="64571"/>
                    </a:lnTo>
                    <a:lnTo>
                      <a:pt x="176729" y="23597"/>
                    </a:lnTo>
                    <a:lnTo>
                      <a:pt x="208324" y="26904"/>
                    </a:lnTo>
                    <a:lnTo>
                      <a:pt x="234012" y="-157"/>
                    </a:lnTo>
                    <a:lnTo>
                      <a:pt x="300776" y="33739"/>
                    </a:lnTo>
                    <a:lnTo>
                      <a:pt x="317560" y="22764"/>
                    </a:lnTo>
                    <a:lnTo>
                      <a:pt x="311507" y="6214"/>
                    </a:lnTo>
                    <a:lnTo>
                      <a:pt x="334749" y="73"/>
                    </a:lnTo>
                    <a:lnTo>
                      <a:pt x="328648" y="32085"/>
                    </a:lnTo>
                    <a:lnTo>
                      <a:pt x="355591" y="45803"/>
                    </a:lnTo>
                    <a:lnTo>
                      <a:pt x="349139" y="76975"/>
                    </a:lnTo>
                    <a:lnTo>
                      <a:pt x="379190" y="78968"/>
                    </a:lnTo>
                    <a:lnTo>
                      <a:pt x="382342" y="102206"/>
                    </a:lnTo>
                    <a:lnTo>
                      <a:pt x="400454" y="98258"/>
                    </a:lnTo>
                    <a:lnTo>
                      <a:pt x="387826" y="113775"/>
                    </a:lnTo>
                    <a:lnTo>
                      <a:pt x="411253" y="117918"/>
                    </a:lnTo>
                    <a:lnTo>
                      <a:pt x="428131" y="165596"/>
                    </a:lnTo>
                    <a:lnTo>
                      <a:pt x="465579" y="205740"/>
                    </a:lnTo>
                    <a:lnTo>
                      <a:pt x="492952" y="212249"/>
                    </a:lnTo>
                    <a:lnTo>
                      <a:pt x="524444" y="252843"/>
                    </a:lnTo>
                    <a:lnTo>
                      <a:pt x="543343" y="238108"/>
                    </a:lnTo>
                    <a:lnTo>
                      <a:pt x="565333" y="255186"/>
                    </a:lnTo>
                    <a:lnTo>
                      <a:pt x="597364" y="226425"/>
                    </a:lnTo>
                    <a:lnTo>
                      <a:pt x="635735" y="267139"/>
                    </a:lnTo>
                    <a:lnTo>
                      <a:pt x="607228" y="289457"/>
                    </a:lnTo>
                    <a:lnTo>
                      <a:pt x="616936" y="302157"/>
                    </a:lnTo>
                    <a:lnTo>
                      <a:pt x="598567" y="317282"/>
                    </a:lnTo>
                    <a:lnTo>
                      <a:pt x="609767" y="336732"/>
                    </a:lnTo>
                    <a:lnTo>
                      <a:pt x="593502" y="373170"/>
                    </a:lnTo>
                    <a:lnTo>
                      <a:pt x="573689" y="353614"/>
                    </a:lnTo>
                    <a:lnTo>
                      <a:pt x="561700" y="369151"/>
                    </a:lnTo>
                    <a:lnTo>
                      <a:pt x="547662" y="359663"/>
                    </a:lnTo>
                    <a:lnTo>
                      <a:pt x="525122" y="372856"/>
                    </a:lnTo>
                    <a:lnTo>
                      <a:pt x="500738" y="356192"/>
                    </a:lnTo>
                    <a:lnTo>
                      <a:pt x="475725" y="373125"/>
                    </a:lnTo>
                    <a:lnTo>
                      <a:pt x="462281" y="365427"/>
                    </a:lnTo>
                    <a:lnTo>
                      <a:pt x="425533" y="397739"/>
                    </a:lnTo>
                    <a:lnTo>
                      <a:pt x="391908" y="369145"/>
                    </a:lnTo>
                    <a:lnTo>
                      <a:pt x="366749" y="371772"/>
                    </a:lnTo>
                    <a:lnTo>
                      <a:pt x="372585" y="353514"/>
                    </a:lnTo>
                    <a:lnTo>
                      <a:pt x="340557" y="311068"/>
                    </a:lnTo>
                    <a:lnTo>
                      <a:pt x="294333" y="345112"/>
                    </a:lnTo>
                    <a:lnTo>
                      <a:pt x="212790" y="326842"/>
                    </a:lnTo>
                    <a:lnTo>
                      <a:pt x="209400" y="281951"/>
                    </a:lnTo>
                    <a:lnTo>
                      <a:pt x="176596" y="288766"/>
                    </a:lnTo>
                    <a:lnTo>
                      <a:pt x="187786" y="265622"/>
                    </a:lnTo>
                    <a:lnTo>
                      <a:pt x="167988" y="282446"/>
                    </a:lnTo>
                    <a:lnTo>
                      <a:pt x="147617" y="269940"/>
                    </a:lnTo>
                    <a:lnTo>
                      <a:pt x="179160" y="232896"/>
                    </a:lnTo>
                    <a:lnTo>
                      <a:pt x="129517" y="208539"/>
                    </a:lnTo>
                    <a:lnTo>
                      <a:pt x="117175" y="152366"/>
                    </a:lnTo>
                    <a:lnTo>
                      <a:pt x="81503" y="179692"/>
                    </a:lnTo>
                    <a:lnTo>
                      <a:pt x="-666" y="129837"/>
                    </a:lnTo>
                    <a:lnTo>
                      <a:pt x="9707" y="11175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761" name="Северо-Кавказский федеральный округ">
              <a:extLst>
                <a:ext uri="{FF2B5EF4-FFF2-40B4-BE49-F238E27FC236}">
                  <a16:creationId xmlns:a16="http://schemas.microsoft.com/office/drawing/2014/main" id="{DB4D5019-556E-44E4-85C4-15030331F5E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29175" y="4167846"/>
              <a:ext cx="678316" cy="1064638"/>
              <a:chOff x="629175" y="4167846"/>
              <a:chExt cx="678316" cy="1064638"/>
            </a:xfrm>
            <a:solidFill>
              <a:srgbClr val="81D5DB"/>
            </a:solidFill>
          </p:grpSpPr>
          <p:sp>
            <p:nvSpPr>
              <p:cNvPr id="61" name="Карачаево-Черкесская Республика">
                <a:extLst>
                  <a:ext uri="{FF2B5EF4-FFF2-40B4-BE49-F238E27FC236}">
                    <a16:creationId xmlns:a16="http://schemas.microsoft.com/office/drawing/2014/main" id="{7F8DBB6C-0492-4C4F-AB91-EE5B18B02539}"/>
                  </a:ext>
                </a:extLst>
              </p:cNvPr>
              <p:cNvSpPr/>
              <p:nvPr/>
            </p:nvSpPr>
            <p:spPr>
              <a:xfrm>
                <a:off x="629175" y="4333202"/>
                <a:ext cx="234628" cy="219240"/>
              </a:xfrm>
              <a:custGeom>
                <a:avLst/>
                <a:gdLst>
                  <a:gd name="connsiteX0" fmla="*/ 17625 w 234628"/>
                  <a:gd name="connsiteY0" fmla="*/ 25684 h 219240"/>
                  <a:gd name="connsiteX1" fmla="*/ 72464 w 234628"/>
                  <a:gd name="connsiteY1" fmla="*/ 16602 h 219240"/>
                  <a:gd name="connsiteX2" fmla="*/ 83765 w 234628"/>
                  <a:gd name="connsiteY2" fmla="*/ -157 h 219240"/>
                  <a:gd name="connsiteX3" fmla="*/ 106324 w 234628"/>
                  <a:gd name="connsiteY3" fmla="*/ 36312 h 219240"/>
                  <a:gd name="connsiteX4" fmla="*/ 96847 w 234628"/>
                  <a:gd name="connsiteY4" fmla="*/ 52619 h 219240"/>
                  <a:gd name="connsiteX5" fmla="*/ 121565 w 234628"/>
                  <a:gd name="connsiteY5" fmla="*/ 65526 h 219240"/>
                  <a:gd name="connsiteX6" fmla="*/ 160931 w 234628"/>
                  <a:gd name="connsiteY6" fmla="*/ 59355 h 219240"/>
                  <a:gd name="connsiteX7" fmla="*/ 162238 w 234628"/>
                  <a:gd name="connsiteY7" fmla="*/ 35768 h 219240"/>
                  <a:gd name="connsiteX8" fmla="*/ 185846 w 234628"/>
                  <a:gd name="connsiteY8" fmla="*/ 36346 h 219240"/>
                  <a:gd name="connsiteX9" fmla="*/ 203391 w 234628"/>
                  <a:gd name="connsiteY9" fmla="*/ 50235 h 219240"/>
                  <a:gd name="connsiteX10" fmla="*/ 194243 w 234628"/>
                  <a:gd name="connsiteY10" fmla="*/ 73323 h 219240"/>
                  <a:gd name="connsiteX11" fmla="*/ 233963 w 234628"/>
                  <a:gd name="connsiteY11" fmla="*/ 125580 h 219240"/>
                  <a:gd name="connsiteX12" fmla="*/ 179675 w 234628"/>
                  <a:gd name="connsiteY12" fmla="*/ 127672 h 219240"/>
                  <a:gd name="connsiteX13" fmla="*/ 177323 w 234628"/>
                  <a:gd name="connsiteY13" fmla="*/ 142371 h 219240"/>
                  <a:gd name="connsiteX14" fmla="*/ 199588 w 234628"/>
                  <a:gd name="connsiteY14" fmla="*/ 153962 h 219240"/>
                  <a:gd name="connsiteX15" fmla="*/ 182193 w 234628"/>
                  <a:gd name="connsiteY15" fmla="*/ 184809 h 219240"/>
                  <a:gd name="connsiteX16" fmla="*/ 169251 w 234628"/>
                  <a:gd name="connsiteY16" fmla="*/ 196489 h 219240"/>
                  <a:gd name="connsiteX17" fmla="*/ 143392 w 234628"/>
                  <a:gd name="connsiteY17" fmla="*/ 186311 h 219240"/>
                  <a:gd name="connsiteX18" fmla="*/ 88772 w 234628"/>
                  <a:gd name="connsiteY18" fmla="*/ 219084 h 219240"/>
                  <a:gd name="connsiteX19" fmla="*/ 32597 w 234628"/>
                  <a:gd name="connsiteY19" fmla="*/ 157598 h 219240"/>
                  <a:gd name="connsiteX20" fmla="*/ 31742 w 234628"/>
                  <a:gd name="connsiteY20" fmla="*/ 123163 h 219240"/>
                  <a:gd name="connsiteX21" fmla="*/ 3928 w 234628"/>
                  <a:gd name="connsiteY21" fmla="*/ 79980 h 219240"/>
                  <a:gd name="connsiteX22" fmla="*/ -666 w 234628"/>
                  <a:gd name="connsiteY22" fmla="*/ 47818 h 219240"/>
                  <a:gd name="connsiteX23" fmla="*/ 17624 w 234628"/>
                  <a:gd name="connsiteY23" fmla="*/ 25684 h 219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4628" h="219240">
                    <a:moveTo>
                      <a:pt x="17625" y="25684"/>
                    </a:moveTo>
                    <a:lnTo>
                      <a:pt x="72464" y="16602"/>
                    </a:lnTo>
                    <a:lnTo>
                      <a:pt x="83765" y="-157"/>
                    </a:lnTo>
                    <a:lnTo>
                      <a:pt x="106324" y="36312"/>
                    </a:lnTo>
                    <a:lnTo>
                      <a:pt x="96847" y="52619"/>
                    </a:lnTo>
                    <a:lnTo>
                      <a:pt x="121565" y="65526"/>
                    </a:lnTo>
                    <a:lnTo>
                      <a:pt x="160931" y="59355"/>
                    </a:lnTo>
                    <a:lnTo>
                      <a:pt x="162238" y="35768"/>
                    </a:lnTo>
                    <a:lnTo>
                      <a:pt x="185846" y="36346"/>
                    </a:lnTo>
                    <a:lnTo>
                      <a:pt x="203391" y="50235"/>
                    </a:lnTo>
                    <a:lnTo>
                      <a:pt x="194243" y="73323"/>
                    </a:lnTo>
                    <a:lnTo>
                      <a:pt x="233963" y="125580"/>
                    </a:lnTo>
                    <a:lnTo>
                      <a:pt x="179675" y="127672"/>
                    </a:lnTo>
                    <a:lnTo>
                      <a:pt x="177323" y="142371"/>
                    </a:lnTo>
                    <a:lnTo>
                      <a:pt x="199588" y="153962"/>
                    </a:lnTo>
                    <a:lnTo>
                      <a:pt x="182193" y="184809"/>
                    </a:lnTo>
                    <a:lnTo>
                      <a:pt x="169251" y="196489"/>
                    </a:lnTo>
                    <a:lnTo>
                      <a:pt x="143392" y="186311"/>
                    </a:lnTo>
                    <a:lnTo>
                      <a:pt x="88772" y="219084"/>
                    </a:lnTo>
                    <a:lnTo>
                      <a:pt x="32597" y="157598"/>
                    </a:lnTo>
                    <a:lnTo>
                      <a:pt x="31742" y="123163"/>
                    </a:lnTo>
                    <a:lnTo>
                      <a:pt x="3928" y="79980"/>
                    </a:lnTo>
                    <a:lnTo>
                      <a:pt x="-666" y="47818"/>
                    </a:lnTo>
                    <a:lnTo>
                      <a:pt x="17624" y="25684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" name="Ставропольский край">
                <a:extLst>
                  <a:ext uri="{FF2B5EF4-FFF2-40B4-BE49-F238E27FC236}">
                    <a16:creationId xmlns:a16="http://schemas.microsoft.com/office/drawing/2014/main" id="{81A1BFE8-DD76-406D-B90D-30178847EF41}"/>
                  </a:ext>
                </a:extLst>
              </p:cNvPr>
              <p:cNvSpPr/>
              <p:nvPr/>
            </p:nvSpPr>
            <p:spPr>
              <a:xfrm>
                <a:off x="807164" y="4167846"/>
                <a:ext cx="376202" cy="568325"/>
              </a:xfrm>
              <a:custGeom>
                <a:avLst/>
                <a:gdLst>
                  <a:gd name="connsiteX0" fmla="*/ 62495 w 376202"/>
                  <a:gd name="connsiteY0" fmla="*/ 19182 h 568325"/>
                  <a:gd name="connsiteX1" fmla="*/ 83300 w 376202"/>
                  <a:gd name="connsiteY1" fmla="*/ 990 h 568325"/>
                  <a:gd name="connsiteX2" fmla="*/ 104333 w 376202"/>
                  <a:gd name="connsiteY2" fmla="*/ 29200 h 568325"/>
                  <a:gd name="connsiteX3" fmla="*/ 121810 w 376202"/>
                  <a:gd name="connsiteY3" fmla="*/ 28978 h 568325"/>
                  <a:gd name="connsiteX4" fmla="*/ 136051 w 376202"/>
                  <a:gd name="connsiteY4" fmla="*/ -157 h 568325"/>
                  <a:gd name="connsiteX5" fmla="*/ 202813 w 376202"/>
                  <a:gd name="connsiteY5" fmla="*/ 77669 h 568325"/>
                  <a:gd name="connsiteX6" fmla="*/ 228598 w 376202"/>
                  <a:gd name="connsiteY6" fmla="*/ 64518 h 568325"/>
                  <a:gd name="connsiteX7" fmla="*/ 241923 w 376202"/>
                  <a:gd name="connsiteY7" fmla="*/ 73506 h 568325"/>
                  <a:gd name="connsiteX8" fmla="*/ 223199 w 376202"/>
                  <a:gd name="connsiteY8" fmla="*/ 91615 h 568325"/>
                  <a:gd name="connsiteX9" fmla="*/ 297832 w 376202"/>
                  <a:gd name="connsiteY9" fmla="*/ 110365 h 568325"/>
                  <a:gd name="connsiteX10" fmla="*/ 311551 w 376202"/>
                  <a:gd name="connsiteY10" fmla="*/ 180787 h 568325"/>
                  <a:gd name="connsiteX11" fmla="*/ 340544 w 376202"/>
                  <a:gd name="connsiteY11" fmla="*/ 220379 h 568325"/>
                  <a:gd name="connsiteX12" fmla="*/ 327275 w 376202"/>
                  <a:gd name="connsiteY12" fmla="*/ 294696 h 568325"/>
                  <a:gd name="connsiteX13" fmla="*/ 354297 w 376202"/>
                  <a:gd name="connsiteY13" fmla="*/ 347580 h 568325"/>
                  <a:gd name="connsiteX14" fmla="*/ 375537 w 376202"/>
                  <a:gd name="connsiteY14" fmla="*/ 465640 h 568325"/>
                  <a:gd name="connsiteX15" fmla="*/ 325515 w 376202"/>
                  <a:gd name="connsiteY15" fmla="*/ 485640 h 568325"/>
                  <a:gd name="connsiteX16" fmla="*/ 289552 w 376202"/>
                  <a:gd name="connsiteY16" fmla="*/ 476951 h 568325"/>
                  <a:gd name="connsiteX17" fmla="*/ 278733 w 376202"/>
                  <a:gd name="connsiteY17" fmla="*/ 485813 h 568325"/>
                  <a:gd name="connsiteX18" fmla="*/ 290665 w 376202"/>
                  <a:gd name="connsiteY18" fmla="*/ 506125 h 568325"/>
                  <a:gd name="connsiteX19" fmla="*/ 270856 w 376202"/>
                  <a:gd name="connsiteY19" fmla="*/ 516932 h 568325"/>
                  <a:gd name="connsiteX20" fmla="*/ 238562 w 376202"/>
                  <a:gd name="connsiteY20" fmla="*/ 506491 h 568325"/>
                  <a:gd name="connsiteX21" fmla="*/ 268959 w 376202"/>
                  <a:gd name="connsiteY21" fmla="*/ 540104 h 568325"/>
                  <a:gd name="connsiteX22" fmla="*/ 230792 w 376202"/>
                  <a:gd name="connsiteY22" fmla="*/ 568168 h 568325"/>
                  <a:gd name="connsiteX23" fmla="*/ 208952 w 376202"/>
                  <a:gd name="connsiteY23" fmla="*/ 528314 h 568325"/>
                  <a:gd name="connsiteX24" fmla="*/ 183273 w 376202"/>
                  <a:gd name="connsiteY24" fmla="*/ 555405 h 568325"/>
                  <a:gd name="connsiteX25" fmla="*/ 162070 w 376202"/>
                  <a:gd name="connsiteY25" fmla="*/ 547566 h 568325"/>
                  <a:gd name="connsiteX26" fmla="*/ 172060 w 376202"/>
                  <a:gd name="connsiteY26" fmla="*/ 522520 h 568325"/>
                  <a:gd name="connsiteX27" fmla="*/ 131437 w 376202"/>
                  <a:gd name="connsiteY27" fmla="*/ 482852 h 568325"/>
                  <a:gd name="connsiteX28" fmla="*/ 164139 w 376202"/>
                  <a:gd name="connsiteY28" fmla="*/ 470139 h 568325"/>
                  <a:gd name="connsiteX29" fmla="*/ 139170 w 376202"/>
                  <a:gd name="connsiteY29" fmla="*/ 466955 h 568325"/>
                  <a:gd name="connsiteX30" fmla="*/ 125187 w 376202"/>
                  <a:gd name="connsiteY30" fmla="*/ 429997 h 568325"/>
                  <a:gd name="connsiteX31" fmla="*/ 88863 w 376202"/>
                  <a:gd name="connsiteY31" fmla="*/ 437307 h 568325"/>
                  <a:gd name="connsiteX32" fmla="*/ 53086 w 376202"/>
                  <a:gd name="connsiteY32" fmla="*/ 404222 h 568325"/>
                  <a:gd name="connsiteX33" fmla="*/ 60115 w 376202"/>
                  <a:gd name="connsiteY33" fmla="*/ 375362 h 568325"/>
                  <a:gd name="connsiteX34" fmla="*/ 17075 w 376202"/>
                  <a:gd name="connsiteY34" fmla="*/ 365659 h 568325"/>
                  <a:gd name="connsiteX35" fmla="*/ 3490 w 376202"/>
                  <a:gd name="connsiteY35" fmla="*/ 347908 h 568325"/>
                  <a:gd name="connsiteX36" fmla="*/ 21599 w 376202"/>
                  <a:gd name="connsiteY36" fmla="*/ 319317 h 568325"/>
                  <a:gd name="connsiteX37" fmla="*/ -666 w 376202"/>
                  <a:gd name="connsiteY37" fmla="*/ 307726 h 568325"/>
                  <a:gd name="connsiteX38" fmla="*/ 774 w 376202"/>
                  <a:gd name="connsiteY38" fmla="*/ 293536 h 568325"/>
                  <a:gd name="connsiteX39" fmla="*/ 57473 w 376202"/>
                  <a:gd name="connsiteY39" fmla="*/ 285395 h 568325"/>
                  <a:gd name="connsiteX40" fmla="*/ 16254 w 376202"/>
                  <a:gd name="connsiteY40" fmla="*/ 238678 h 568325"/>
                  <a:gd name="connsiteX41" fmla="*/ 25402 w 376202"/>
                  <a:gd name="connsiteY41" fmla="*/ 215591 h 568325"/>
                  <a:gd name="connsiteX42" fmla="*/ 1665 w 376202"/>
                  <a:gd name="connsiteY42" fmla="*/ 184976 h 568325"/>
                  <a:gd name="connsiteX43" fmla="*/ 11676 w 376202"/>
                  <a:gd name="connsiteY43" fmla="*/ 151314 h 568325"/>
                  <a:gd name="connsiteX44" fmla="*/ 31130 w 376202"/>
                  <a:gd name="connsiteY44" fmla="*/ 158927 h 568325"/>
                  <a:gd name="connsiteX45" fmla="*/ 60776 w 376202"/>
                  <a:gd name="connsiteY45" fmla="*/ 141028 h 568325"/>
                  <a:gd name="connsiteX46" fmla="*/ 46234 w 376202"/>
                  <a:gd name="connsiteY46" fmla="*/ 124516 h 568325"/>
                  <a:gd name="connsiteX47" fmla="*/ 64943 w 376202"/>
                  <a:gd name="connsiteY47" fmla="*/ 81120 h 568325"/>
                  <a:gd name="connsiteX48" fmla="*/ 42516 w 376202"/>
                  <a:gd name="connsiteY48" fmla="*/ 65095 h 568325"/>
                  <a:gd name="connsiteX49" fmla="*/ 62495 w 376202"/>
                  <a:gd name="connsiteY49" fmla="*/ 19182 h 568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76202" h="568325">
                    <a:moveTo>
                      <a:pt x="62495" y="19182"/>
                    </a:moveTo>
                    <a:lnTo>
                      <a:pt x="83300" y="990"/>
                    </a:lnTo>
                    <a:lnTo>
                      <a:pt x="104333" y="29200"/>
                    </a:lnTo>
                    <a:lnTo>
                      <a:pt x="121810" y="28978"/>
                    </a:lnTo>
                    <a:lnTo>
                      <a:pt x="136051" y="-157"/>
                    </a:lnTo>
                    <a:lnTo>
                      <a:pt x="202813" y="77669"/>
                    </a:lnTo>
                    <a:lnTo>
                      <a:pt x="228598" y="64518"/>
                    </a:lnTo>
                    <a:lnTo>
                      <a:pt x="241923" y="73506"/>
                    </a:lnTo>
                    <a:lnTo>
                      <a:pt x="223199" y="91615"/>
                    </a:lnTo>
                    <a:lnTo>
                      <a:pt x="297832" y="110365"/>
                    </a:lnTo>
                    <a:lnTo>
                      <a:pt x="311551" y="180787"/>
                    </a:lnTo>
                    <a:lnTo>
                      <a:pt x="340544" y="220379"/>
                    </a:lnTo>
                    <a:lnTo>
                      <a:pt x="327275" y="294696"/>
                    </a:lnTo>
                    <a:lnTo>
                      <a:pt x="354297" y="347580"/>
                    </a:lnTo>
                    <a:lnTo>
                      <a:pt x="375537" y="465640"/>
                    </a:lnTo>
                    <a:lnTo>
                      <a:pt x="325515" y="485640"/>
                    </a:lnTo>
                    <a:lnTo>
                      <a:pt x="289552" y="476951"/>
                    </a:lnTo>
                    <a:lnTo>
                      <a:pt x="278733" y="485813"/>
                    </a:lnTo>
                    <a:lnTo>
                      <a:pt x="290665" y="506125"/>
                    </a:lnTo>
                    <a:lnTo>
                      <a:pt x="270856" y="516932"/>
                    </a:lnTo>
                    <a:lnTo>
                      <a:pt x="238562" y="506491"/>
                    </a:lnTo>
                    <a:lnTo>
                      <a:pt x="268959" y="540104"/>
                    </a:lnTo>
                    <a:lnTo>
                      <a:pt x="230792" y="568168"/>
                    </a:lnTo>
                    <a:lnTo>
                      <a:pt x="208952" y="528314"/>
                    </a:lnTo>
                    <a:lnTo>
                      <a:pt x="183273" y="555405"/>
                    </a:lnTo>
                    <a:lnTo>
                      <a:pt x="162070" y="547566"/>
                    </a:lnTo>
                    <a:lnTo>
                      <a:pt x="172060" y="522520"/>
                    </a:lnTo>
                    <a:lnTo>
                      <a:pt x="131437" y="482852"/>
                    </a:lnTo>
                    <a:lnTo>
                      <a:pt x="164139" y="470139"/>
                    </a:lnTo>
                    <a:lnTo>
                      <a:pt x="139170" y="466955"/>
                    </a:lnTo>
                    <a:lnTo>
                      <a:pt x="125187" y="429997"/>
                    </a:lnTo>
                    <a:lnTo>
                      <a:pt x="88863" y="437307"/>
                    </a:lnTo>
                    <a:lnTo>
                      <a:pt x="53086" y="404222"/>
                    </a:lnTo>
                    <a:lnTo>
                      <a:pt x="60115" y="375362"/>
                    </a:lnTo>
                    <a:lnTo>
                      <a:pt x="17075" y="365659"/>
                    </a:lnTo>
                    <a:lnTo>
                      <a:pt x="3490" y="347908"/>
                    </a:lnTo>
                    <a:lnTo>
                      <a:pt x="21599" y="319317"/>
                    </a:lnTo>
                    <a:lnTo>
                      <a:pt x="-666" y="307726"/>
                    </a:lnTo>
                    <a:lnTo>
                      <a:pt x="774" y="293536"/>
                    </a:lnTo>
                    <a:lnTo>
                      <a:pt x="57473" y="285395"/>
                    </a:lnTo>
                    <a:lnTo>
                      <a:pt x="16254" y="238678"/>
                    </a:lnTo>
                    <a:lnTo>
                      <a:pt x="25402" y="215591"/>
                    </a:lnTo>
                    <a:lnTo>
                      <a:pt x="1665" y="184976"/>
                    </a:lnTo>
                    <a:lnTo>
                      <a:pt x="11676" y="151314"/>
                    </a:lnTo>
                    <a:lnTo>
                      <a:pt x="31130" y="158927"/>
                    </a:lnTo>
                    <a:lnTo>
                      <a:pt x="60776" y="141028"/>
                    </a:lnTo>
                    <a:lnTo>
                      <a:pt x="46234" y="124516"/>
                    </a:lnTo>
                    <a:lnTo>
                      <a:pt x="64943" y="81120"/>
                    </a:lnTo>
                    <a:lnTo>
                      <a:pt x="42516" y="65095"/>
                    </a:lnTo>
                    <a:lnTo>
                      <a:pt x="62495" y="19182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" name="Кабардино-Балкарская Республика">
                <a:extLst>
                  <a:ext uri="{FF2B5EF4-FFF2-40B4-BE49-F238E27FC236}">
                    <a16:creationId xmlns:a16="http://schemas.microsoft.com/office/drawing/2014/main" id="{E804F2B3-C9AA-42DF-985C-81CF0C4AA46E}"/>
                  </a:ext>
                </a:extLst>
              </p:cNvPr>
              <p:cNvSpPr/>
              <p:nvPr/>
            </p:nvSpPr>
            <p:spPr>
              <a:xfrm>
                <a:off x="731124" y="4518167"/>
                <a:ext cx="241254" cy="186830"/>
              </a:xfrm>
              <a:custGeom>
                <a:avLst/>
                <a:gdLst>
                  <a:gd name="connsiteX0" fmla="*/ -666 w 241254"/>
                  <a:gd name="connsiteY0" fmla="*/ 31280 h 186830"/>
                  <a:gd name="connsiteX1" fmla="*/ 40704 w 241254"/>
                  <a:gd name="connsiteY1" fmla="*/ 1628 h 186830"/>
                  <a:gd name="connsiteX2" fmla="*/ 67157 w 241254"/>
                  <a:gd name="connsiteY2" fmla="*/ 11406 h 186830"/>
                  <a:gd name="connsiteX3" fmla="*/ 80244 w 241254"/>
                  <a:gd name="connsiteY3" fmla="*/ -157 h 186830"/>
                  <a:gd name="connsiteX4" fmla="*/ 136156 w 241254"/>
                  <a:gd name="connsiteY4" fmla="*/ 25040 h 186830"/>
                  <a:gd name="connsiteX5" fmla="*/ 129127 w 241254"/>
                  <a:gd name="connsiteY5" fmla="*/ 53901 h 186830"/>
                  <a:gd name="connsiteX6" fmla="*/ 164904 w 241254"/>
                  <a:gd name="connsiteY6" fmla="*/ 86986 h 186830"/>
                  <a:gd name="connsiteX7" fmla="*/ 201228 w 241254"/>
                  <a:gd name="connsiteY7" fmla="*/ 79676 h 186830"/>
                  <a:gd name="connsiteX8" fmla="*/ 215211 w 241254"/>
                  <a:gd name="connsiteY8" fmla="*/ 116634 h 186830"/>
                  <a:gd name="connsiteX9" fmla="*/ 240589 w 241254"/>
                  <a:gd name="connsiteY9" fmla="*/ 120410 h 186830"/>
                  <a:gd name="connsiteX10" fmla="*/ 198426 w 241254"/>
                  <a:gd name="connsiteY10" fmla="*/ 137556 h 186830"/>
                  <a:gd name="connsiteX11" fmla="*/ 204576 w 241254"/>
                  <a:gd name="connsiteY11" fmla="*/ 157434 h 186830"/>
                  <a:gd name="connsiteX12" fmla="*/ 177076 w 241254"/>
                  <a:gd name="connsiteY12" fmla="*/ 186673 h 186830"/>
                  <a:gd name="connsiteX13" fmla="*/ 146706 w 241254"/>
                  <a:gd name="connsiteY13" fmla="*/ 173335 h 186830"/>
                  <a:gd name="connsiteX14" fmla="*/ 150348 w 241254"/>
                  <a:gd name="connsiteY14" fmla="*/ 158664 h 186830"/>
                  <a:gd name="connsiteX15" fmla="*/ 117690 w 241254"/>
                  <a:gd name="connsiteY15" fmla="*/ 173977 h 186830"/>
                  <a:gd name="connsiteX16" fmla="*/ 116212 w 241254"/>
                  <a:gd name="connsiteY16" fmla="*/ 147629 h 186830"/>
                  <a:gd name="connsiteX17" fmla="*/ 52908 w 241254"/>
                  <a:gd name="connsiteY17" fmla="*/ 167331 h 186830"/>
                  <a:gd name="connsiteX18" fmla="*/ 27904 w 241254"/>
                  <a:gd name="connsiteY18" fmla="*/ 153143 h 186830"/>
                  <a:gd name="connsiteX19" fmla="*/ 25054 w 241254"/>
                  <a:gd name="connsiteY19" fmla="*/ 91628 h 186830"/>
                  <a:gd name="connsiteX20" fmla="*/ 2473 w 241254"/>
                  <a:gd name="connsiteY20" fmla="*/ 70936 h 186830"/>
                  <a:gd name="connsiteX21" fmla="*/ -666 w 241254"/>
                  <a:gd name="connsiteY21" fmla="*/ 31280 h 186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41254" h="186830">
                    <a:moveTo>
                      <a:pt x="-666" y="31280"/>
                    </a:moveTo>
                    <a:lnTo>
                      <a:pt x="40704" y="1628"/>
                    </a:lnTo>
                    <a:lnTo>
                      <a:pt x="67157" y="11406"/>
                    </a:lnTo>
                    <a:lnTo>
                      <a:pt x="80244" y="-157"/>
                    </a:lnTo>
                    <a:lnTo>
                      <a:pt x="136156" y="25040"/>
                    </a:lnTo>
                    <a:lnTo>
                      <a:pt x="129127" y="53901"/>
                    </a:lnTo>
                    <a:lnTo>
                      <a:pt x="164904" y="86986"/>
                    </a:lnTo>
                    <a:lnTo>
                      <a:pt x="201228" y="79676"/>
                    </a:lnTo>
                    <a:lnTo>
                      <a:pt x="215211" y="116634"/>
                    </a:lnTo>
                    <a:lnTo>
                      <a:pt x="240589" y="120410"/>
                    </a:lnTo>
                    <a:lnTo>
                      <a:pt x="198426" y="137556"/>
                    </a:lnTo>
                    <a:lnTo>
                      <a:pt x="204576" y="157434"/>
                    </a:lnTo>
                    <a:lnTo>
                      <a:pt x="177076" y="186673"/>
                    </a:lnTo>
                    <a:lnTo>
                      <a:pt x="146706" y="173335"/>
                    </a:lnTo>
                    <a:lnTo>
                      <a:pt x="150348" y="158664"/>
                    </a:lnTo>
                    <a:lnTo>
                      <a:pt x="117690" y="173977"/>
                    </a:lnTo>
                    <a:lnTo>
                      <a:pt x="116212" y="147629"/>
                    </a:lnTo>
                    <a:lnTo>
                      <a:pt x="52908" y="167331"/>
                    </a:lnTo>
                    <a:lnTo>
                      <a:pt x="27904" y="153143"/>
                    </a:lnTo>
                    <a:lnTo>
                      <a:pt x="25054" y="91628"/>
                    </a:lnTo>
                    <a:lnTo>
                      <a:pt x="2473" y="70936"/>
                    </a:lnTo>
                    <a:lnTo>
                      <a:pt x="-666" y="31280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" name="Республика Северная Осетия — Алания">
                <a:extLst>
                  <a:ext uri="{FF2B5EF4-FFF2-40B4-BE49-F238E27FC236}">
                    <a16:creationId xmlns:a16="http://schemas.microsoft.com/office/drawing/2014/main" id="{8B4D2FF7-F541-452E-9700-87EA55D0190A}"/>
                  </a:ext>
                </a:extLst>
              </p:cNvPr>
              <p:cNvSpPr/>
              <p:nvPr/>
            </p:nvSpPr>
            <p:spPr>
              <a:xfrm>
                <a:off x="761245" y="4648858"/>
                <a:ext cx="218645" cy="154790"/>
              </a:xfrm>
              <a:custGeom>
                <a:avLst/>
                <a:gdLst>
                  <a:gd name="connsiteX0" fmla="*/ 3650 w 218645"/>
                  <a:gd name="connsiteY0" fmla="*/ 27065 h 154790"/>
                  <a:gd name="connsiteX1" fmla="*/ 22787 w 218645"/>
                  <a:gd name="connsiteY1" fmla="*/ 36641 h 154790"/>
                  <a:gd name="connsiteX2" fmla="*/ 86091 w 218645"/>
                  <a:gd name="connsiteY2" fmla="*/ 16939 h 154790"/>
                  <a:gd name="connsiteX3" fmla="*/ 87569 w 218645"/>
                  <a:gd name="connsiteY3" fmla="*/ 43287 h 154790"/>
                  <a:gd name="connsiteX4" fmla="*/ 120227 w 218645"/>
                  <a:gd name="connsiteY4" fmla="*/ 27974 h 154790"/>
                  <a:gd name="connsiteX5" fmla="*/ 116584 w 218645"/>
                  <a:gd name="connsiteY5" fmla="*/ 42645 h 154790"/>
                  <a:gd name="connsiteX6" fmla="*/ 146954 w 218645"/>
                  <a:gd name="connsiteY6" fmla="*/ 55983 h 154790"/>
                  <a:gd name="connsiteX7" fmla="*/ 174454 w 218645"/>
                  <a:gd name="connsiteY7" fmla="*/ 26744 h 154790"/>
                  <a:gd name="connsiteX8" fmla="*/ 164645 w 218645"/>
                  <a:gd name="connsiteY8" fmla="*/ 15307 h 154790"/>
                  <a:gd name="connsiteX9" fmla="*/ 175806 w 218645"/>
                  <a:gd name="connsiteY9" fmla="*/ -157 h 154790"/>
                  <a:gd name="connsiteX10" fmla="*/ 217979 w 218645"/>
                  <a:gd name="connsiteY10" fmla="*/ 41509 h 154790"/>
                  <a:gd name="connsiteX11" fmla="*/ 194796 w 218645"/>
                  <a:gd name="connsiteY11" fmla="*/ 73920 h 154790"/>
                  <a:gd name="connsiteX12" fmla="*/ 169596 w 218645"/>
                  <a:gd name="connsiteY12" fmla="*/ 43407 h 154790"/>
                  <a:gd name="connsiteX13" fmla="*/ 154109 w 218645"/>
                  <a:gd name="connsiteY13" fmla="*/ 54482 h 154790"/>
                  <a:gd name="connsiteX14" fmla="*/ 135723 w 218645"/>
                  <a:gd name="connsiteY14" fmla="*/ 87430 h 154790"/>
                  <a:gd name="connsiteX15" fmla="*/ 150076 w 218645"/>
                  <a:gd name="connsiteY15" fmla="*/ 93977 h 154790"/>
                  <a:gd name="connsiteX16" fmla="*/ 146567 w 218645"/>
                  <a:gd name="connsiteY16" fmla="*/ 140282 h 154790"/>
                  <a:gd name="connsiteX17" fmla="*/ 114735 w 218645"/>
                  <a:gd name="connsiteY17" fmla="*/ 154634 h 154790"/>
                  <a:gd name="connsiteX18" fmla="*/ 105337 w 218645"/>
                  <a:gd name="connsiteY18" fmla="*/ 128027 h 154790"/>
                  <a:gd name="connsiteX19" fmla="*/ 90332 w 218645"/>
                  <a:gd name="connsiteY19" fmla="*/ 148882 h 154790"/>
                  <a:gd name="connsiteX20" fmla="*/ 58009 w 218645"/>
                  <a:gd name="connsiteY20" fmla="*/ 122492 h 154790"/>
                  <a:gd name="connsiteX21" fmla="*/ 10060 w 218645"/>
                  <a:gd name="connsiteY21" fmla="*/ 112352 h 154790"/>
                  <a:gd name="connsiteX22" fmla="*/ -666 w 218645"/>
                  <a:gd name="connsiteY22" fmla="*/ 82470 h 154790"/>
                  <a:gd name="connsiteX23" fmla="*/ 19022 w 218645"/>
                  <a:gd name="connsiteY23" fmla="*/ 77653 h 154790"/>
                  <a:gd name="connsiteX24" fmla="*/ 3650 w 218645"/>
                  <a:gd name="connsiteY24" fmla="*/ 27065 h 15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8645" h="154790">
                    <a:moveTo>
                      <a:pt x="3650" y="27065"/>
                    </a:moveTo>
                    <a:lnTo>
                      <a:pt x="22787" y="36641"/>
                    </a:lnTo>
                    <a:lnTo>
                      <a:pt x="86091" y="16939"/>
                    </a:lnTo>
                    <a:lnTo>
                      <a:pt x="87569" y="43287"/>
                    </a:lnTo>
                    <a:lnTo>
                      <a:pt x="120227" y="27974"/>
                    </a:lnTo>
                    <a:lnTo>
                      <a:pt x="116584" y="42645"/>
                    </a:lnTo>
                    <a:lnTo>
                      <a:pt x="146954" y="55983"/>
                    </a:lnTo>
                    <a:lnTo>
                      <a:pt x="174454" y="26744"/>
                    </a:lnTo>
                    <a:lnTo>
                      <a:pt x="164645" y="15307"/>
                    </a:lnTo>
                    <a:lnTo>
                      <a:pt x="175806" y="-157"/>
                    </a:lnTo>
                    <a:lnTo>
                      <a:pt x="217979" y="41509"/>
                    </a:lnTo>
                    <a:lnTo>
                      <a:pt x="194796" y="73920"/>
                    </a:lnTo>
                    <a:lnTo>
                      <a:pt x="169596" y="43407"/>
                    </a:lnTo>
                    <a:lnTo>
                      <a:pt x="154109" y="54482"/>
                    </a:lnTo>
                    <a:lnTo>
                      <a:pt x="135723" y="87430"/>
                    </a:lnTo>
                    <a:lnTo>
                      <a:pt x="150076" y="93977"/>
                    </a:lnTo>
                    <a:lnTo>
                      <a:pt x="146567" y="140282"/>
                    </a:lnTo>
                    <a:lnTo>
                      <a:pt x="114735" y="154634"/>
                    </a:lnTo>
                    <a:lnTo>
                      <a:pt x="105337" y="128027"/>
                    </a:lnTo>
                    <a:lnTo>
                      <a:pt x="90332" y="148882"/>
                    </a:lnTo>
                    <a:lnTo>
                      <a:pt x="58009" y="122492"/>
                    </a:lnTo>
                    <a:lnTo>
                      <a:pt x="10060" y="112352"/>
                    </a:lnTo>
                    <a:lnTo>
                      <a:pt x="-666" y="82470"/>
                    </a:lnTo>
                    <a:lnTo>
                      <a:pt x="19022" y="77653"/>
                    </a:lnTo>
                    <a:lnTo>
                      <a:pt x="3650" y="27065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" name="Республика Ингушетия">
                <a:extLst>
                  <a:ext uri="{FF2B5EF4-FFF2-40B4-BE49-F238E27FC236}">
                    <a16:creationId xmlns:a16="http://schemas.microsoft.com/office/drawing/2014/main" id="{F5D89817-E15A-41DB-A950-5AC39C0FAA13}"/>
                  </a:ext>
                </a:extLst>
              </p:cNvPr>
              <p:cNvSpPr/>
              <p:nvPr/>
            </p:nvSpPr>
            <p:spPr>
              <a:xfrm>
                <a:off x="850223" y="4700064"/>
                <a:ext cx="114735" cy="136301"/>
              </a:xfrm>
              <a:custGeom>
                <a:avLst/>
                <a:gdLst>
                  <a:gd name="connsiteX0" fmla="*/ 65132 w 114735"/>
                  <a:gd name="connsiteY0" fmla="*/ 3275 h 136301"/>
                  <a:gd name="connsiteX1" fmla="*/ 94095 w 114735"/>
                  <a:gd name="connsiteY1" fmla="*/ -157 h 136301"/>
                  <a:gd name="connsiteX2" fmla="*/ 114070 w 114735"/>
                  <a:gd name="connsiteY2" fmla="*/ 64889 h 136301"/>
                  <a:gd name="connsiteX3" fmla="*/ 65736 w 114735"/>
                  <a:gd name="connsiteY3" fmla="*/ 128330 h 136301"/>
                  <a:gd name="connsiteX4" fmla="*/ 27710 w 114735"/>
                  <a:gd name="connsiteY4" fmla="*/ 136145 h 136301"/>
                  <a:gd name="connsiteX5" fmla="*/ 18757 w 114735"/>
                  <a:gd name="connsiteY5" fmla="*/ 115952 h 136301"/>
                  <a:gd name="connsiteX6" fmla="*/ -666 w 114735"/>
                  <a:gd name="connsiteY6" fmla="*/ 125414 h 136301"/>
                  <a:gd name="connsiteX7" fmla="*/ 16359 w 114735"/>
                  <a:gd name="connsiteY7" fmla="*/ 76820 h 136301"/>
                  <a:gd name="connsiteX8" fmla="*/ 25757 w 114735"/>
                  <a:gd name="connsiteY8" fmla="*/ 103427 h 136301"/>
                  <a:gd name="connsiteX9" fmla="*/ 57589 w 114735"/>
                  <a:gd name="connsiteY9" fmla="*/ 89075 h 136301"/>
                  <a:gd name="connsiteX10" fmla="*/ 61099 w 114735"/>
                  <a:gd name="connsiteY10" fmla="*/ 42771 h 136301"/>
                  <a:gd name="connsiteX11" fmla="*/ 46745 w 114735"/>
                  <a:gd name="connsiteY11" fmla="*/ 36223 h 136301"/>
                  <a:gd name="connsiteX12" fmla="*/ 65132 w 114735"/>
                  <a:gd name="connsiteY12" fmla="*/ 3275 h 136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735" h="136301">
                    <a:moveTo>
                      <a:pt x="65132" y="3275"/>
                    </a:moveTo>
                    <a:lnTo>
                      <a:pt x="94095" y="-157"/>
                    </a:lnTo>
                    <a:lnTo>
                      <a:pt x="114070" y="64889"/>
                    </a:lnTo>
                    <a:lnTo>
                      <a:pt x="65736" y="128330"/>
                    </a:lnTo>
                    <a:lnTo>
                      <a:pt x="27710" y="136145"/>
                    </a:lnTo>
                    <a:lnTo>
                      <a:pt x="18757" y="115952"/>
                    </a:lnTo>
                    <a:lnTo>
                      <a:pt x="-666" y="125414"/>
                    </a:lnTo>
                    <a:lnTo>
                      <a:pt x="16359" y="76820"/>
                    </a:lnTo>
                    <a:lnTo>
                      <a:pt x="25757" y="103427"/>
                    </a:lnTo>
                    <a:lnTo>
                      <a:pt x="57589" y="89075"/>
                    </a:lnTo>
                    <a:lnTo>
                      <a:pt x="61099" y="42771"/>
                    </a:lnTo>
                    <a:lnTo>
                      <a:pt x="46745" y="36223"/>
                    </a:lnTo>
                    <a:lnTo>
                      <a:pt x="65132" y="3275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" name="Чеченская Республика">
                <a:extLst>
                  <a:ext uri="{FF2B5EF4-FFF2-40B4-BE49-F238E27FC236}">
                    <a16:creationId xmlns:a16="http://schemas.microsoft.com/office/drawing/2014/main" id="{E12AFC49-E7FD-4E50-B0EB-31520E001311}"/>
                  </a:ext>
                </a:extLst>
              </p:cNvPr>
              <p:cNvSpPr/>
              <p:nvPr/>
            </p:nvSpPr>
            <p:spPr>
              <a:xfrm>
                <a:off x="882208" y="4696317"/>
                <a:ext cx="251685" cy="234068"/>
              </a:xfrm>
              <a:custGeom>
                <a:avLst/>
                <a:gdLst>
                  <a:gd name="connsiteX0" fmla="*/ 85530 w 251685"/>
                  <a:gd name="connsiteY0" fmla="*/ 12366 h 234068"/>
                  <a:gd name="connsiteX1" fmla="*/ 108230 w 251685"/>
                  <a:gd name="connsiteY1" fmla="*/ 26934 h 234068"/>
                  <a:gd name="connsiteX2" fmla="*/ 133909 w 251685"/>
                  <a:gd name="connsiteY2" fmla="*/ -157 h 234068"/>
                  <a:gd name="connsiteX3" fmla="*/ 155748 w 251685"/>
                  <a:gd name="connsiteY3" fmla="*/ 39698 h 234068"/>
                  <a:gd name="connsiteX4" fmla="*/ 170709 w 251685"/>
                  <a:gd name="connsiteY4" fmla="*/ 25099 h 234068"/>
                  <a:gd name="connsiteX5" fmla="*/ 200361 w 251685"/>
                  <a:gd name="connsiteY5" fmla="*/ 62577 h 234068"/>
                  <a:gd name="connsiteX6" fmla="*/ 213225 w 251685"/>
                  <a:gd name="connsiteY6" fmla="*/ 83969 h 234068"/>
                  <a:gd name="connsiteX7" fmla="*/ 201503 w 251685"/>
                  <a:gd name="connsiteY7" fmla="*/ 97217 h 234068"/>
                  <a:gd name="connsiteX8" fmla="*/ 251020 w 251685"/>
                  <a:gd name="connsiteY8" fmla="*/ 104740 h 234068"/>
                  <a:gd name="connsiteX9" fmla="*/ 238058 w 251685"/>
                  <a:gd name="connsiteY9" fmla="*/ 119885 h 234068"/>
                  <a:gd name="connsiteX10" fmla="*/ 249262 w 251685"/>
                  <a:gd name="connsiteY10" fmla="*/ 142109 h 234068"/>
                  <a:gd name="connsiteX11" fmla="*/ 182163 w 251685"/>
                  <a:gd name="connsiteY11" fmla="*/ 157880 h 234068"/>
                  <a:gd name="connsiteX12" fmla="*/ 141475 w 251685"/>
                  <a:gd name="connsiteY12" fmla="*/ 233912 h 234068"/>
                  <a:gd name="connsiteX13" fmla="*/ 109405 w 251685"/>
                  <a:gd name="connsiteY13" fmla="*/ 209881 h 234068"/>
                  <a:gd name="connsiteX14" fmla="*/ 91832 w 251685"/>
                  <a:gd name="connsiteY14" fmla="*/ 226147 h 234068"/>
                  <a:gd name="connsiteX15" fmla="*/ 36785 w 251685"/>
                  <a:gd name="connsiteY15" fmla="*/ 223603 h 234068"/>
                  <a:gd name="connsiteX16" fmla="*/ -424 w 251685"/>
                  <a:gd name="connsiteY16" fmla="*/ 181852 h 234068"/>
                  <a:gd name="connsiteX17" fmla="*/ -666 w 251685"/>
                  <a:gd name="connsiteY17" fmla="*/ 139939 h 234068"/>
                  <a:gd name="connsiteX18" fmla="*/ 33752 w 251685"/>
                  <a:gd name="connsiteY18" fmla="*/ 132077 h 234068"/>
                  <a:gd name="connsiteX19" fmla="*/ 82085 w 251685"/>
                  <a:gd name="connsiteY19" fmla="*/ 68637 h 234068"/>
                  <a:gd name="connsiteX20" fmla="*/ 72563 w 251685"/>
                  <a:gd name="connsiteY20" fmla="*/ 32016 h 234068"/>
                  <a:gd name="connsiteX21" fmla="*/ 85531 w 251685"/>
                  <a:gd name="connsiteY21" fmla="*/ 12366 h 234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1685" h="234068">
                    <a:moveTo>
                      <a:pt x="85530" y="12366"/>
                    </a:moveTo>
                    <a:lnTo>
                      <a:pt x="108230" y="26934"/>
                    </a:lnTo>
                    <a:lnTo>
                      <a:pt x="133909" y="-157"/>
                    </a:lnTo>
                    <a:lnTo>
                      <a:pt x="155748" y="39698"/>
                    </a:lnTo>
                    <a:lnTo>
                      <a:pt x="170709" y="25099"/>
                    </a:lnTo>
                    <a:lnTo>
                      <a:pt x="200361" y="62577"/>
                    </a:lnTo>
                    <a:lnTo>
                      <a:pt x="213225" y="83969"/>
                    </a:lnTo>
                    <a:lnTo>
                      <a:pt x="201503" y="97217"/>
                    </a:lnTo>
                    <a:lnTo>
                      <a:pt x="251020" y="104740"/>
                    </a:lnTo>
                    <a:lnTo>
                      <a:pt x="238058" y="119885"/>
                    </a:lnTo>
                    <a:lnTo>
                      <a:pt x="249262" y="142109"/>
                    </a:lnTo>
                    <a:lnTo>
                      <a:pt x="182163" y="157880"/>
                    </a:lnTo>
                    <a:lnTo>
                      <a:pt x="141475" y="233912"/>
                    </a:lnTo>
                    <a:lnTo>
                      <a:pt x="109405" y="209881"/>
                    </a:lnTo>
                    <a:lnTo>
                      <a:pt x="91832" y="226147"/>
                    </a:lnTo>
                    <a:lnTo>
                      <a:pt x="36785" y="223603"/>
                    </a:lnTo>
                    <a:lnTo>
                      <a:pt x="-424" y="181852"/>
                    </a:lnTo>
                    <a:lnTo>
                      <a:pt x="-666" y="139939"/>
                    </a:lnTo>
                    <a:lnTo>
                      <a:pt x="33752" y="132077"/>
                    </a:lnTo>
                    <a:lnTo>
                      <a:pt x="82085" y="68637"/>
                    </a:lnTo>
                    <a:lnTo>
                      <a:pt x="72563" y="32016"/>
                    </a:lnTo>
                    <a:lnTo>
                      <a:pt x="85531" y="12366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" name="Республика Дагестан">
                <a:extLst>
                  <a:ext uri="{FF2B5EF4-FFF2-40B4-BE49-F238E27FC236}">
                    <a16:creationId xmlns:a16="http://schemas.microsoft.com/office/drawing/2014/main" id="{3EC190A3-47B8-4376-82E6-5525BD87E427}"/>
                  </a:ext>
                </a:extLst>
              </p:cNvPr>
              <p:cNvSpPr/>
              <p:nvPr/>
            </p:nvSpPr>
            <p:spPr>
              <a:xfrm>
                <a:off x="870837" y="4634856"/>
                <a:ext cx="436654" cy="597628"/>
              </a:xfrm>
              <a:custGeom>
                <a:avLst/>
                <a:gdLst>
                  <a:gd name="connsiteX0" fmla="*/ 174890 w 436654"/>
                  <a:gd name="connsiteY0" fmla="*/ 39481 h 597628"/>
                  <a:gd name="connsiteX1" fmla="*/ 207183 w 436654"/>
                  <a:gd name="connsiteY1" fmla="*/ 49922 h 597628"/>
                  <a:gd name="connsiteX2" fmla="*/ 226993 w 436654"/>
                  <a:gd name="connsiteY2" fmla="*/ 39115 h 597628"/>
                  <a:gd name="connsiteX3" fmla="*/ 215061 w 436654"/>
                  <a:gd name="connsiteY3" fmla="*/ 18803 h 597628"/>
                  <a:gd name="connsiteX4" fmla="*/ 225880 w 436654"/>
                  <a:gd name="connsiteY4" fmla="*/ 9941 h 597628"/>
                  <a:gd name="connsiteX5" fmla="*/ 261843 w 436654"/>
                  <a:gd name="connsiteY5" fmla="*/ 18630 h 597628"/>
                  <a:gd name="connsiteX6" fmla="*/ 308987 w 436654"/>
                  <a:gd name="connsiteY6" fmla="*/ -157 h 597628"/>
                  <a:gd name="connsiteX7" fmla="*/ 368288 w 436654"/>
                  <a:gd name="connsiteY7" fmla="*/ 66640 h 597628"/>
                  <a:gd name="connsiteX8" fmla="*/ 375065 w 436654"/>
                  <a:gd name="connsiteY8" fmla="*/ 110687 h 597628"/>
                  <a:gd name="connsiteX9" fmla="*/ 409192 w 436654"/>
                  <a:gd name="connsiteY9" fmla="*/ 151618 h 597628"/>
                  <a:gd name="connsiteX10" fmla="*/ 386546 w 436654"/>
                  <a:gd name="connsiteY10" fmla="*/ 154658 h 597628"/>
                  <a:gd name="connsiteX11" fmla="*/ 425869 w 436654"/>
                  <a:gd name="connsiteY11" fmla="*/ 172322 h 597628"/>
                  <a:gd name="connsiteX12" fmla="*/ 435989 w 436654"/>
                  <a:gd name="connsiteY12" fmla="*/ 203118 h 597628"/>
                  <a:gd name="connsiteX13" fmla="*/ 417430 w 436654"/>
                  <a:gd name="connsiteY13" fmla="*/ 232070 h 597628"/>
                  <a:gd name="connsiteX14" fmla="*/ 385628 w 436654"/>
                  <a:gd name="connsiteY14" fmla="*/ 237984 h 597628"/>
                  <a:gd name="connsiteX15" fmla="*/ 409243 w 436654"/>
                  <a:gd name="connsiteY15" fmla="*/ 271435 h 597628"/>
                  <a:gd name="connsiteX16" fmla="*/ 400673 w 436654"/>
                  <a:gd name="connsiteY16" fmla="*/ 301922 h 597628"/>
                  <a:gd name="connsiteX17" fmla="*/ 340004 w 436654"/>
                  <a:gd name="connsiteY17" fmla="*/ 317767 h 597628"/>
                  <a:gd name="connsiteX18" fmla="*/ 281640 w 436654"/>
                  <a:gd name="connsiteY18" fmla="*/ 369537 h 597628"/>
                  <a:gd name="connsiteX19" fmla="*/ 246635 w 436654"/>
                  <a:gd name="connsiteY19" fmla="*/ 587901 h 597628"/>
                  <a:gd name="connsiteX20" fmla="*/ 172777 w 436654"/>
                  <a:gd name="connsiteY20" fmla="*/ 594328 h 597628"/>
                  <a:gd name="connsiteX21" fmla="*/ 134718 w 436654"/>
                  <a:gd name="connsiteY21" fmla="*/ 580692 h 597628"/>
                  <a:gd name="connsiteX22" fmla="*/ 87328 w 436654"/>
                  <a:gd name="connsiteY22" fmla="*/ 597472 h 597628"/>
                  <a:gd name="connsiteX23" fmla="*/ 48675 w 436654"/>
                  <a:gd name="connsiteY23" fmla="*/ 548045 h 597628"/>
                  <a:gd name="connsiteX24" fmla="*/ 58881 w 436654"/>
                  <a:gd name="connsiteY24" fmla="*/ 433343 h 597628"/>
                  <a:gd name="connsiteX25" fmla="*/ 37586 w 436654"/>
                  <a:gd name="connsiteY25" fmla="*/ 425734 h 597628"/>
                  <a:gd name="connsiteX26" fmla="*/ -666 w 436654"/>
                  <a:gd name="connsiteY26" fmla="*/ 299559 h 597628"/>
                  <a:gd name="connsiteX27" fmla="*/ 43351 w 436654"/>
                  <a:gd name="connsiteY27" fmla="*/ 282685 h 597628"/>
                  <a:gd name="connsiteX28" fmla="*/ 103396 w 436654"/>
                  <a:gd name="connsiteY28" fmla="*/ 287577 h 597628"/>
                  <a:gd name="connsiteX29" fmla="*/ 120776 w 436654"/>
                  <a:gd name="connsiteY29" fmla="*/ 271342 h 597628"/>
                  <a:gd name="connsiteX30" fmla="*/ 153162 w 436654"/>
                  <a:gd name="connsiteY30" fmla="*/ 295344 h 597628"/>
                  <a:gd name="connsiteX31" fmla="*/ 193533 w 436654"/>
                  <a:gd name="connsiteY31" fmla="*/ 219341 h 597628"/>
                  <a:gd name="connsiteX32" fmla="*/ 260633 w 436654"/>
                  <a:gd name="connsiteY32" fmla="*/ 203569 h 597628"/>
                  <a:gd name="connsiteX33" fmla="*/ 253536 w 436654"/>
                  <a:gd name="connsiteY33" fmla="*/ 156214 h 597628"/>
                  <a:gd name="connsiteX34" fmla="*/ 249562 w 436654"/>
                  <a:gd name="connsiteY34" fmla="*/ 166656 h 597628"/>
                  <a:gd name="connsiteX35" fmla="*/ 210363 w 436654"/>
                  <a:gd name="connsiteY35" fmla="*/ 155661 h 597628"/>
                  <a:gd name="connsiteX36" fmla="*/ 224596 w 436654"/>
                  <a:gd name="connsiteY36" fmla="*/ 145429 h 597628"/>
                  <a:gd name="connsiteX37" fmla="*/ 185851 w 436654"/>
                  <a:gd name="connsiteY37" fmla="*/ 90201 h 597628"/>
                  <a:gd name="connsiteX38" fmla="*/ 205286 w 436654"/>
                  <a:gd name="connsiteY38" fmla="*/ 73094 h 597628"/>
                  <a:gd name="connsiteX39" fmla="*/ 174890 w 436654"/>
                  <a:gd name="connsiteY39" fmla="*/ 39481 h 597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436654" h="597628">
                    <a:moveTo>
                      <a:pt x="174890" y="39481"/>
                    </a:moveTo>
                    <a:lnTo>
                      <a:pt x="207183" y="49922"/>
                    </a:lnTo>
                    <a:lnTo>
                      <a:pt x="226993" y="39115"/>
                    </a:lnTo>
                    <a:lnTo>
                      <a:pt x="215061" y="18803"/>
                    </a:lnTo>
                    <a:lnTo>
                      <a:pt x="225880" y="9941"/>
                    </a:lnTo>
                    <a:lnTo>
                      <a:pt x="261843" y="18630"/>
                    </a:lnTo>
                    <a:lnTo>
                      <a:pt x="308987" y="-157"/>
                    </a:lnTo>
                    <a:lnTo>
                      <a:pt x="368288" y="66640"/>
                    </a:lnTo>
                    <a:lnTo>
                      <a:pt x="375065" y="110687"/>
                    </a:lnTo>
                    <a:lnTo>
                      <a:pt x="409192" y="151618"/>
                    </a:lnTo>
                    <a:lnTo>
                      <a:pt x="386546" y="154658"/>
                    </a:lnTo>
                    <a:lnTo>
                      <a:pt x="425869" y="172322"/>
                    </a:lnTo>
                    <a:lnTo>
                      <a:pt x="435989" y="203118"/>
                    </a:lnTo>
                    <a:lnTo>
                      <a:pt x="417430" y="232070"/>
                    </a:lnTo>
                    <a:lnTo>
                      <a:pt x="385628" y="237984"/>
                    </a:lnTo>
                    <a:lnTo>
                      <a:pt x="409243" y="271435"/>
                    </a:lnTo>
                    <a:lnTo>
                      <a:pt x="400673" y="301922"/>
                    </a:lnTo>
                    <a:lnTo>
                      <a:pt x="340004" y="317767"/>
                    </a:lnTo>
                    <a:lnTo>
                      <a:pt x="281640" y="369537"/>
                    </a:lnTo>
                    <a:lnTo>
                      <a:pt x="246635" y="587901"/>
                    </a:lnTo>
                    <a:lnTo>
                      <a:pt x="172777" y="594328"/>
                    </a:lnTo>
                    <a:lnTo>
                      <a:pt x="134718" y="580692"/>
                    </a:lnTo>
                    <a:lnTo>
                      <a:pt x="87328" y="597472"/>
                    </a:lnTo>
                    <a:lnTo>
                      <a:pt x="48675" y="548045"/>
                    </a:lnTo>
                    <a:lnTo>
                      <a:pt x="58881" y="433343"/>
                    </a:lnTo>
                    <a:lnTo>
                      <a:pt x="37586" y="425734"/>
                    </a:lnTo>
                    <a:lnTo>
                      <a:pt x="-666" y="299559"/>
                    </a:lnTo>
                    <a:lnTo>
                      <a:pt x="43351" y="282685"/>
                    </a:lnTo>
                    <a:lnTo>
                      <a:pt x="103396" y="287577"/>
                    </a:lnTo>
                    <a:lnTo>
                      <a:pt x="120776" y="271342"/>
                    </a:lnTo>
                    <a:lnTo>
                      <a:pt x="153162" y="295344"/>
                    </a:lnTo>
                    <a:lnTo>
                      <a:pt x="193533" y="219341"/>
                    </a:lnTo>
                    <a:lnTo>
                      <a:pt x="260633" y="203569"/>
                    </a:lnTo>
                    <a:lnTo>
                      <a:pt x="253536" y="156214"/>
                    </a:lnTo>
                    <a:lnTo>
                      <a:pt x="249562" y="166656"/>
                    </a:lnTo>
                    <a:lnTo>
                      <a:pt x="210363" y="155661"/>
                    </a:lnTo>
                    <a:lnTo>
                      <a:pt x="224596" y="145429"/>
                    </a:lnTo>
                    <a:lnTo>
                      <a:pt x="185851" y="90201"/>
                    </a:lnTo>
                    <a:lnTo>
                      <a:pt x="205286" y="73094"/>
                    </a:lnTo>
                    <a:lnTo>
                      <a:pt x="174890" y="3948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773" name="Северо-Западный федеральный округ">
              <a:extLst>
                <a:ext uri="{FF2B5EF4-FFF2-40B4-BE49-F238E27FC236}">
                  <a16:creationId xmlns:a16="http://schemas.microsoft.com/office/drawing/2014/main" id="{CE4403B0-2123-4E56-80D9-AFD3F1743B1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5356" y="616351"/>
              <a:ext cx="4769508" cy="2796279"/>
              <a:chOff x="875356" y="616351"/>
              <a:chExt cx="4769508" cy="2796279"/>
            </a:xfrm>
            <a:solidFill>
              <a:srgbClr val="FCA751"/>
            </a:solidFill>
          </p:grpSpPr>
          <p:sp>
            <p:nvSpPr>
              <p:cNvPr id="9" name="Калининградская область">
                <a:extLst>
                  <a:ext uri="{FF2B5EF4-FFF2-40B4-BE49-F238E27FC236}">
                    <a16:creationId xmlns:a16="http://schemas.microsoft.com/office/drawing/2014/main" id="{2221F357-F3BE-45DC-B00B-D4395AC7D9B5}"/>
                  </a:ext>
                </a:extLst>
              </p:cNvPr>
              <p:cNvSpPr/>
              <p:nvPr/>
            </p:nvSpPr>
            <p:spPr>
              <a:xfrm>
                <a:off x="875356" y="1627597"/>
                <a:ext cx="200081" cy="297143"/>
              </a:xfrm>
              <a:custGeom>
                <a:avLst/>
                <a:gdLst>
                  <a:gd name="connsiteX0" fmla="*/ 13078 w 200081"/>
                  <a:gd name="connsiteY0" fmla="*/ 5349 h 297143"/>
                  <a:gd name="connsiteX1" fmla="*/ 94582 w 200081"/>
                  <a:gd name="connsiteY1" fmla="*/ -157 h 297143"/>
                  <a:gd name="connsiteX2" fmla="*/ 130449 w 200081"/>
                  <a:gd name="connsiteY2" fmla="*/ 48744 h 297143"/>
                  <a:gd name="connsiteX3" fmla="*/ 168619 w 200081"/>
                  <a:gd name="connsiteY3" fmla="*/ 55612 h 297143"/>
                  <a:gd name="connsiteX4" fmla="*/ 167398 w 200081"/>
                  <a:gd name="connsiteY4" fmla="*/ 99614 h 297143"/>
                  <a:gd name="connsiteX5" fmla="*/ 183653 w 200081"/>
                  <a:gd name="connsiteY5" fmla="*/ 119806 h 297143"/>
                  <a:gd name="connsiteX6" fmla="*/ 172752 w 200081"/>
                  <a:gd name="connsiteY6" fmla="*/ 193338 h 297143"/>
                  <a:gd name="connsiteX7" fmla="*/ 199415 w 200081"/>
                  <a:gd name="connsiteY7" fmla="*/ 231115 h 297143"/>
                  <a:gd name="connsiteX8" fmla="*/ 175795 w 200081"/>
                  <a:gd name="connsiteY8" fmla="*/ 272344 h 297143"/>
                  <a:gd name="connsiteX9" fmla="*/ 135394 w 200081"/>
                  <a:gd name="connsiteY9" fmla="*/ 272823 h 297143"/>
                  <a:gd name="connsiteX10" fmla="*/ 109223 w 200081"/>
                  <a:gd name="connsiteY10" fmla="*/ 296987 h 297143"/>
                  <a:gd name="connsiteX11" fmla="*/ 101761 w 200081"/>
                  <a:gd name="connsiteY11" fmla="*/ 285503 h 297143"/>
                  <a:gd name="connsiteX12" fmla="*/ 24095 w 200081"/>
                  <a:gd name="connsiteY12" fmla="*/ 121001 h 297143"/>
                  <a:gd name="connsiteX13" fmla="*/ -666 w 200081"/>
                  <a:gd name="connsiteY13" fmla="*/ 34585 h 297143"/>
                  <a:gd name="connsiteX14" fmla="*/ 13078 w 200081"/>
                  <a:gd name="connsiteY14" fmla="*/ 5349 h 29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0081" h="297143">
                    <a:moveTo>
                      <a:pt x="13078" y="5349"/>
                    </a:moveTo>
                    <a:lnTo>
                      <a:pt x="94582" y="-157"/>
                    </a:lnTo>
                    <a:lnTo>
                      <a:pt x="130449" y="48744"/>
                    </a:lnTo>
                    <a:lnTo>
                      <a:pt x="168619" y="55612"/>
                    </a:lnTo>
                    <a:lnTo>
                      <a:pt x="167398" y="99614"/>
                    </a:lnTo>
                    <a:lnTo>
                      <a:pt x="183653" y="119806"/>
                    </a:lnTo>
                    <a:lnTo>
                      <a:pt x="172752" y="193338"/>
                    </a:lnTo>
                    <a:lnTo>
                      <a:pt x="199415" y="231115"/>
                    </a:lnTo>
                    <a:lnTo>
                      <a:pt x="175795" y="272344"/>
                    </a:lnTo>
                    <a:lnTo>
                      <a:pt x="135394" y="272823"/>
                    </a:lnTo>
                    <a:lnTo>
                      <a:pt x="109223" y="296987"/>
                    </a:lnTo>
                    <a:lnTo>
                      <a:pt x="101761" y="285503"/>
                    </a:lnTo>
                    <a:lnTo>
                      <a:pt x="24095" y="121001"/>
                    </a:lnTo>
                    <a:lnTo>
                      <a:pt x="-666" y="34585"/>
                    </a:lnTo>
                    <a:lnTo>
                      <a:pt x="13078" y="5349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Ленинградская область">
                <a:extLst>
                  <a:ext uri="{FF2B5EF4-FFF2-40B4-BE49-F238E27FC236}">
                    <a16:creationId xmlns:a16="http://schemas.microsoft.com/office/drawing/2014/main" id="{EB643329-CDB9-484C-8BA3-70957385233B}"/>
                  </a:ext>
                </a:extLst>
              </p:cNvPr>
              <p:cNvSpPr/>
              <p:nvPr/>
            </p:nvSpPr>
            <p:spPr>
              <a:xfrm>
                <a:off x="1818434" y="1783145"/>
                <a:ext cx="634164" cy="641186"/>
              </a:xfrm>
              <a:custGeom>
                <a:avLst/>
                <a:gdLst>
                  <a:gd name="connsiteX0" fmla="*/ 76615 w 634164"/>
                  <a:gd name="connsiteY0" fmla="*/ -156 h 641186"/>
                  <a:gd name="connsiteX1" fmla="*/ 173967 w 634164"/>
                  <a:gd name="connsiteY1" fmla="*/ 48205 h 641186"/>
                  <a:gd name="connsiteX2" fmla="*/ 222279 w 634164"/>
                  <a:gd name="connsiteY2" fmla="*/ 42882 h 641186"/>
                  <a:gd name="connsiteX3" fmla="*/ 375336 w 634164"/>
                  <a:gd name="connsiteY3" fmla="*/ 76215 h 641186"/>
                  <a:gd name="connsiteX4" fmla="*/ 366513 w 634164"/>
                  <a:gd name="connsiteY4" fmla="*/ 106405 h 641186"/>
                  <a:gd name="connsiteX5" fmla="*/ 401560 w 634164"/>
                  <a:gd name="connsiteY5" fmla="*/ 181431 h 641186"/>
                  <a:gd name="connsiteX6" fmla="*/ 442369 w 634164"/>
                  <a:gd name="connsiteY6" fmla="*/ 359689 h 641186"/>
                  <a:gd name="connsiteX7" fmla="*/ 507033 w 634164"/>
                  <a:gd name="connsiteY7" fmla="*/ 363664 h 641186"/>
                  <a:gd name="connsiteX8" fmla="*/ 516001 w 634164"/>
                  <a:gd name="connsiteY8" fmla="*/ 391158 h 641186"/>
                  <a:gd name="connsiteX9" fmla="*/ 538678 w 634164"/>
                  <a:gd name="connsiteY9" fmla="*/ 384769 h 641186"/>
                  <a:gd name="connsiteX10" fmla="*/ 520864 w 634164"/>
                  <a:gd name="connsiteY10" fmla="*/ 365587 h 641186"/>
                  <a:gd name="connsiteX11" fmla="*/ 539922 w 634164"/>
                  <a:gd name="connsiteY11" fmla="*/ 351871 h 641186"/>
                  <a:gd name="connsiteX12" fmla="*/ 572304 w 634164"/>
                  <a:gd name="connsiteY12" fmla="*/ 389885 h 641186"/>
                  <a:gd name="connsiteX13" fmla="*/ 568904 w 634164"/>
                  <a:gd name="connsiteY13" fmla="*/ 411664 h 641186"/>
                  <a:gd name="connsiteX14" fmla="*/ 603123 w 634164"/>
                  <a:gd name="connsiteY14" fmla="*/ 413676 h 641186"/>
                  <a:gd name="connsiteX15" fmla="*/ 628957 w 634164"/>
                  <a:gd name="connsiteY15" fmla="*/ 455941 h 641186"/>
                  <a:gd name="connsiteX16" fmla="*/ 611482 w 634164"/>
                  <a:gd name="connsiteY16" fmla="*/ 469967 h 641186"/>
                  <a:gd name="connsiteX17" fmla="*/ 633499 w 634164"/>
                  <a:gd name="connsiteY17" fmla="*/ 481225 h 641186"/>
                  <a:gd name="connsiteX18" fmla="*/ 608190 w 634164"/>
                  <a:gd name="connsiteY18" fmla="*/ 500457 h 641186"/>
                  <a:gd name="connsiteX19" fmla="*/ 555287 w 634164"/>
                  <a:gd name="connsiteY19" fmla="*/ 490900 h 641186"/>
                  <a:gd name="connsiteX20" fmla="*/ 539969 w 634164"/>
                  <a:gd name="connsiteY20" fmla="*/ 514241 h 641186"/>
                  <a:gd name="connsiteX21" fmla="*/ 460572 w 634164"/>
                  <a:gd name="connsiteY21" fmla="*/ 559262 h 641186"/>
                  <a:gd name="connsiteX22" fmla="*/ 469331 w 634164"/>
                  <a:gd name="connsiteY22" fmla="*/ 582027 h 641186"/>
                  <a:gd name="connsiteX23" fmla="*/ 435423 w 634164"/>
                  <a:gd name="connsiteY23" fmla="*/ 603904 h 641186"/>
                  <a:gd name="connsiteX24" fmla="*/ 444435 w 634164"/>
                  <a:gd name="connsiteY24" fmla="*/ 617568 h 641186"/>
                  <a:gd name="connsiteX25" fmla="*/ 413626 w 634164"/>
                  <a:gd name="connsiteY25" fmla="*/ 630862 h 641186"/>
                  <a:gd name="connsiteX26" fmla="*/ 406345 w 634164"/>
                  <a:gd name="connsiteY26" fmla="*/ 616918 h 641186"/>
                  <a:gd name="connsiteX27" fmla="*/ 384969 w 634164"/>
                  <a:gd name="connsiteY27" fmla="*/ 641030 h 641186"/>
                  <a:gd name="connsiteX28" fmla="*/ 352273 w 634164"/>
                  <a:gd name="connsiteY28" fmla="*/ 617731 h 641186"/>
                  <a:gd name="connsiteX29" fmla="*/ 323782 w 634164"/>
                  <a:gd name="connsiteY29" fmla="*/ 619743 h 641186"/>
                  <a:gd name="connsiteX30" fmla="*/ 321018 w 634164"/>
                  <a:gd name="connsiteY30" fmla="*/ 584880 h 641186"/>
                  <a:gd name="connsiteX31" fmla="*/ 300812 w 634164"/>
                  <a:gd name="connsiteY31" fmla="*/ 574843 h 641186"/>
                  <a:gd name="connsiteX32" fmla="*/ 294782 w 634164"/>
                  <a:gd name="connsiteY32" fmla="*/ 549755 h 641186"/>
                  <a:gd name="connsiteX33" fmla="*/ 309884 w 634164"/>
                  <a:gd name="connsiteY33" fmla="*/ 522235 h 641186"/>
                  <a:gd name="connsiteX34" fmla="*/ 287425 w 634164"/>
                  <a:gd name="connsiteY34" fmla="*/ 508604 h 641186"/>
                  <a:gd name="connsiteX35" fmla="*/ 286067 w 634164"/>
                  <a:gd name="connsiteY35" fmla="*/ 477151 h 641186"/>
                  <a:gd name="connsiteX36" fmla="*/ 238513 w 634164"/>
                  <a:gd name="connsiteY36" fmla="*/ 484626 h 641186"/>
                  <a:gd name="connsiteX37" fmla="*/ 220835 w 634164"/>
                  <a:gd name="connsiteY37" fmla="*/ 470238 h 641186"/>
                  <a:gd name="connsiteX38" fmla="*/ 240536 w 634164"/>
                  <a:gd name="connsiteY38" fmla="*/ 409619 h 641186"/>
                  <a:gd name="connsiteX39" fmla="*/ 217686 w 634164"/>
                  <a:gd name="connsiteY39" fmla="*/ 409289 h 641186"/>
                  <a:gd name="connsiteX40" fmla="*/ 213984 w 634164"/>
                  <a:gd name="connsiteY40" fmla="*/ 388181 h 641186"/>
                  <a:gd name="connsiteX41" fmla="*/ 176094 w 634164"/>
                  <a:gd name="connsiteY41" fmla="*/ 406469 h 641186"/>
                  <a:gd name="connsiteX42" fmla="*/ 155904 w 634164"/>
                  <a:gd name="connsiteY42" fmla="*/ 402970 h 641186"/>
                  <a:gd name="connsiteX43" fmla="*/ 146099 w 634164"/>
                  <a:gd name="connsiteY43" fmla="*/ 377843 h 641186"/>
                  <a:gd name="connsiteX44" fmla="*/ 91173 w 634164"/>
                  <a:gd name="connsiteY44" fmla="*/ 387124 h 641186"/>
                  <a:gd name="connsiteX45" fmla="*/ 70864 w 634164"/>
                  <a:gd name="connsiteY45" fmla="*/ 346735 h 641186"/>
                  <a:gd name="connsiteX46" fmla="*/ 27434 w 634164"/>
                  <a:gd name="connsiteY46" fmla="*/ 367161 h 641186"/>
                  <a:gd name="connsiteX47" fmla="*/ 11698 w 634164"/>
                  <a:gd name="connsiteY47" fmla="*/ 350286 h 641186"/>
                  <a:gd name="connsiteX48" fmla="*/ 10914 w 634164"/>
                  <a:gd name="connsiteY48" fmla="*/ 307453 h 641186"/>
                  <a:gd name="connsiteX49" fmla="*/ 34315 w 634164"/>
                  <a:gd name="connsiteY49" fmla="*/ 264781 h 641186"/>
                  <a:gd name="connsiteX50" fmla="*/ 2151 w 634164"/>
                  <a:gd name="connsiteY50" fmla="*/ 215214 h 641186"/>
                  <a:gd name="connsiteX51" fmla="*/ 17265 w 634164"/>
                  <a:gd name="connsiteY51" fmla="*/ 187207 h 641186"/>
                  <a:gd name="connsiteX52" fmla="*/ -666 w 634164"/>
                  <a:gd name="connsiteY52" fmla="*/ 164103 h 641186"/>
                  <a:gd name="connsiteX53" fmla="*/ 74431 w 634164"/>
                  <a:gd name="connsiteY53" fmla="*/ 161072 h 641186"/>
                  <a:gd name="connsiteX54" fmla="*/ 85005 w 634164"/>
                  <a:gd name="connsiteY54" fmla="*/ 123844 h 641186"/>
                  <a:gd name="connsiteX55" fmla="*/ 53858 w 634164"/>
                  <a:gd name="connsiteY55" fmla="*/ 56002 h 641186"/>
                  <a:gd name="connsiteX56" fmla="*/ 76615 w 634164"/>
                  <a:gd name="connsiteY56" fmla="*/ -157 h 641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34164" h="641186">
                    <a:moveTo>
                      <a:pt x="76615" y="-156"/>
                    </a:moveTo>
                    <a:lnTo>
                      <a:pt x="173967" y="48205"/>
                    </a:lnTo>
                    <a:lnTo>
                      <a:pt x="222279" y="42882"/>
                    </a:lnTo>
                    <a:lnTo>
                      <a:pt x="375336" y="76215"/>
                    </a:lnTo>
                    <a:lnTo>
                      <a:pt x="366513" y="106405"/>
                    </a:lnTo>
                    <a:lnTo>
                      <a:pt x="401560" y="181431"/>
                    </a:lnTo>
                    <a:lnTo>
                      <a:pt x="442369" y="359689"/>
                    </a:lnTo>
                    <a:lnTo>
                      <a:pt x="507033" y="363664"/>
                    </a:lnTo>
                    <a:lnTo>
                      <a:pt x="516001" y="391158"/>
                    </a:lnTo>
                    <a:lnTo>
                      <a:pt x="538678" y="384769"/>
                    </a:lnTo>
                    <a:lnTo>
                      <a:pt x="520864" y="365587"/>
                    </a:lnTo>
                    <a:lnTo>
                      <a:pt x="539922" y="351871"/>
                    </a:lnTo>
                    <a:lnTo>
                      <a:pt x="572304" y="389885"/>
                    </a:lnTo>
                    <a:lnTo>
                      <a:pt x="568904" y="411664"/>
                    </a:lnTo>
                    <a:lnTo>
                      <a:pt x="603123" y="413676"/>
                    </a:lnTo>
                    <a:lnTo>
                      <a:pt x="628957" y="455941"/>
                    </a:lnTo>
                    <a:lnTo>
                      <a:pt x="611482" y="469967"/>
                    </a:lnTo>
                    <a:lnTo>
                      <a:pt x="633499" y="481225"/>
                    </a:lnTo>
                    <a:lnTo>
                      <a:pt x="608190" y="500457"/>
                    </a:lnTo>
                    <a:lnTo>
                      <a:pt x="555287" y="490900"/>
                    </a:lnTo>
                    <a:lnTo>
                      <a:pt x="539969" y="514241"/>
                    </a:lnTo>
                    <a:lnTo>
                      <a:pt x="460572" y="559262"/>
                    </a:lnTo>
                    <a:lnTo>
                      <a:pt x="469331" y="582027"/>
                    </a:lnTo>
                    <a:lnTo>
                      <a:pt x="435423" y="603904"/>
                    </a:lnTo>
                    <a:lnTo>
                      <a:pt x="444435" y="617568"/>
                    </a:lnTo>
                    <a:lnTo>
                      <a:pt x="413626" y="630862"/>
                    </a:lnTo>
                    <a:lnTo>
                      <a:pt x="406345" y="616918"/>
                    </a:lnTo>
                    <a:lnTo>
                      <a:pt x="384969" y="641030"/>
                    </a:lnTo>
                    <a:lnTo>
                      <a:pt x="352273" y="617731"/>
                    </a:lnTo>
                    <a:lnTo>
                      <a:pt x="323782" y="619743"/>
                    </a:lnTo>
                    <a:lnTo>
                      <a:pt x="321018" y="584880"/>
                    </a:lnTo>
                    <a:lnTo>
                      <a:pt x="300812" y="574843"/>
                    </a:lnTo>
                    <a:lnTo>
                      <a:pt x="294782" y="549755"/>
                    </a:lnTo>
                    <a:lnTo>
                      <a:pt x="309884" y="522235"/>
                    </a:lnTo>
                    <a:lnTo>
                      <a:pt x="287425" y="508604"/>
                    </a:lnTo>
                    <a:lnTo>
                      <a:pt x="286067" y="477151"/>
                    </a:lnTo>
                    <a:lnTo>
                      <a:pt x="238513" y="484626"/>
                    </a:lnTo>
                    <a:lnTo>
                      <a:pt x="220835" y="470238"/>
                    </a:lnTo>
                    <a:lnTo>
                      <a:pt x="240536" y="409619"/>
                    </a:lnTo>
                    <a:lnTo>
                      <a:pt x="217686" y="409289"/>
                    </a:lnTo>
                    <a:lnTo>
                      <a:pt x="213984" y="388181"/>
                    </a:lnTo>
                    <a:lnTo>
                      <a:pt x="176094" y="406469"/>
                    </a:lnTo>
                    <a:lnTo>
                      <a:pt x="155904" y="402970"/>
                    </a:lnTo>
                    <a:lnTo>
                      <a:pt x="146099" y="377843"/>
                    </a:lnTo>
                    <a:lnTo>
                      <a:pt x="91173" y="387124"/>
                    </a:lnTo>
                    <a:lnTo>
                      <a:pt x="70864" y="346735"/>
                    </a:lnTo>
                    <a:lnTo>
                      <a:pt x="27434" y="367161"/>
                    </a:lnTo>
                    <a:lnTo>
                      <a:pt x="11698" y="350286"/>
                    </a:lnTo>
                    <a:lnTo>
                      <a:pt x="10914" y="307453"/>
                    </a:lnTo>
                    <a:lnTo>
                      <a:pt x="34315" y="264781"/>
                    </a:lnTo>
                    <a:lnTo>
                      <a:pt x="2151" y="215214"/>
                    </a:lnTo>
                    <a:lnTo>
                      <a:pt x="17265" y="187207"/>
                    </a:lnTo>
                    <a:lnTo>
                      <a:pt x="-666" y="164103"/>
                    </a:lnTo>
                    <a:lnTo>
                      <a:pt x="74431" y="161072"/>
                    </a:lnTo>
                    <a:lnTo>
                      <a:pt x="85005" y="123844"/>
                    </a:lnTo>
                    <a:lnTo>
                      <a:pt x="53858" y="56002"/>
                    </a:lnTo>
                    <a:lnTo>
                      <a:pt x="76615" y="-157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" name="Псковская область">
                <a:extLst>
                  <a:ext uri="{FF2B5EF4-FFF2-40B4-BE49-F238E27FC236}">
                    <a16:creationId xmlns:a16="http://schemas.microsoft.com/office/drawing/2014/main" id="{1339343F-5BD2-48A1-A2CD-B2670E2D96C1}"/>
                  </a:ext>
                </a:extLst>
              </p:cNvPr>
              <p:cNvSpPr/>
              <p:nvPr/>
            </p:nvSpPr>
            <p:spPr>
              <a:xfrm>
                <a:off x="1454062" y="1936290"/>
                <a:ext cx="399352" cy="550029"/>
              </a:xfrm>
              <a:custGeom>
                <a:avLst/>
                <a:gdLst>
                  <a:gd name="connsiteX0" fmla="*/ 158832 w 399352"/>
                  <a:gd name="connsiteY0" fmla="*/ 92679 h 550029"/>
                  <a:gd name="connsiteX1" fmla="*/ 200930 w 399352"/>
                  <a:gd name="connsiteY1" fmla="*/ 89383 h 550029"/>
                  <a:gd name="connsiteX2" fmla="*/ 221451 w 399352"/>
                  <a:gd name="connsiteY2" fmla="*/ 103777 h 550029"/>
                  <a:gd name="connsiteX3" fmla="*/ 252605 w 399352"/>
                  <a:gd name="connsiteY3" fmla="*/ 53856 h 550029"/>
                  <a:gd name="connsiteX4" fmla="*/ 322529 w 399352"/>
                  <a:gd name="connsiteY4" fmla="*/ -157 h 550029"/>
                  <a:gd name="connsiteX5" fmla="*/ 376920 w 399352"/>
                  <a:gd name="connsiteY5" fmla="*/ 19879 h 550029"/>
                  <a:gd name="connsiteX6" fmla="*/ 366523 w 399352"/>
                  <a:gd name="connsiteY6" fmla="*/ 62069 h 550029"/>
                  <a:gd name="connsiteX7" fmla="*/ 398686 w 399352"/>
                  <a:gd name="connsiteY7" fmla="*/ 111636 h 550029"/>
                  <a:gd name="connsiteX8" fmla="*/ 375286 w 399352"/>
                  <a:gd name="connsiteY8" fmla="*/ 154308 h 550029"/>
                  <a:gd name="connsiteX9" fmla="*/ 385501 w 399352"/>
                  <a:gd name="connsiteY9" fmla="*/ 205121 h 550029"/>
                  <a:gd name="connsiteX10" fmla="*/ 368152 w 399352"/>
                  <a:gd name="connsiteY10" fmla="*/ 215661 h 550029"/>
                  <a:gd name="connsiteX11" fmla="*/ 347605 w 399352"/>
                  <a:gd name="connsiteY11" fmla="*/ 199482 h 550029"/>
                  <a:gd name="connsiteX12" fmla="*/ 326120 w 399352"/>
                  <a:gd name="connsiteY12" fmla="*/ 217051 h 550029"/>
                  <a:gd name="connsiteX13" fmla="*/ 336578 w 399352"/>
                  <a:gd name="connsiteY13" fmla="*/ 243392 h 550029"/>
                  <a:gd name="connsiteX14" fmla="*/ 318884 w 399352"/>
                  <a:gd name="connsiteY14" fmla="*/ 245696 h 550029"/>
                  <a:gd name="connsiteX15" fmla="*/ 337703 w 399352"/>
                  <a:gd name="connsiteY15" fmla="*/ 296724 h 550029"/>
                  <a:gd name="connsiteX16" fmla="*/ 310630 w 399352"/>
                  <a:gd name="connsiteY16" fmla="*/ 305394 h 550029"/>
                  <a:gd name="connsiteX17" fmla="*/ 315292 w 399352"/>
                  <a:gd name="connsiteY17" fmla="*/ 325028 h 550029"/>
                  <a:gd name="connsiteX18" fmla="*/ 269629 w 399352"/>
                  <a:gd name="connsiteY18" fmla="*/ 328374 h 550029"/>
                  <a:gd name="connsiteX19" fmla="*/ 268673 w 399352"/>
                  <a:gd name="connsiteY19" fmla="*/ 362175 h 550029"/>
                  <a:gd name="connsiteX20" fmla="*/ 229644 w 399352"/>
                  <a:gd name="connsiteY20" fmla="*/ 381860 h 550029"/>
                  <a:gd name="connsiteX21" fmla="*/ 240949 w 399352"/>
                  <a:gd name="connsiteY21" fmla="*/ 404680 h 550029"/>
                  <a:gd name="connsiteX22" fmla="*/ 204993 w 399352"/>
                  <a:gd name="connsiteY22" fmla="*/ 406805 h 550029"/>
                  <a:gd name="connsiteX23" fmla="*/ 203554 w 399352"/>
                  <a:gd name="connsiteY23" fmla="*/ 439750 h 550029"/>
                  <a:gd name="connsiteX24" fmla="*/ 178859 w 399352"/>
                  <a:gd name="connsiteY24" fmla="*/ 446050 h 550029"/>
                  <a:gd name="connsiteX25" fmla="*/ 180789 w 399352"/>
                  <a:gd name="connsiteY25" fmla="*/ 499452 h 550029"/>
                  <a:gd name="connsiteX26" fmla="*/ 126067 w 399352"/>
                  <a:gd name="connsiteY26" fmla="*/ 518866 h 550029"/>
                  <a:gd name="connsiteX27" fmla="*/ 101941 w 399352"/>
                  <a:gd name="connsiteY27" fmla="*/ 549873 h 550029"/>
                  <a:gd name="connsiteX28" fmla="*/ 87268 w 399352"/>
                  <a:gd name="connsiteY28" fmla="*/ 512155 h 550029"/>
                  <a:gd name="connsiteX29" fmla="*/ 52253 w 399352"/>
                  <a:gd name="connsiteY29" fmla="*/ 508184 h 550029"/>
                  <a:gd name="connsiteX30" fmla="*/ 66888 w 399352"/>
                  <a:gd name="connsiteY30" fmla="*/ 470290 h 550029"/>
                  <a:gd name="connsiteX31" fmla="*/ 60813 w 399352"/>
                  <a:gd name="connsiteY31" fmla="*/ 438715 h 550029"/>
                  <a:gd name="connsiteX32" fmla="*/ 7108 w 399352"/>
                  <a:gd name="connsiteY32" fmla="*/ 405573 h 550029"/>
                  <a:gd name="connsiteX33" fmla="*/ 7164 w 399352"/>
                  <a:gd name="connsiteY33" fmla="*/ 389257 h 550029"/>
                  <a:gd name="connsiteX34" fmla="*/ 37862 w 399352"/>
                  <a:gd name="connsiteY34" fmla="*/ 376410 h 550029"/>
                  <a:gd name="connsiteX35" fmla="*/ 31021 w 399352"/>
                  <a:gd name="connsiteY35" fmla="*/ 346414 h 550029"/>
                  <a:gd name="connsiteX36" fmla="*/ 9244 w 399352"/>
                  <a:gd name="connsiteY36" fmla="*/ 334721 h 550029"/>
                  <a:gd name="connsiteX37" fmla="*/ 21173 w 399352"/>
                  <a:gd name="connsiteY37" fmla="*/ 310179 h 550029"/>
                  <a:gd name="connsiteX38" fmla="*/ -666 w 399352"/>
                  <a:gd name="connsiteY38" fmla="*/ 279648 h 550029"/>
                  <a:gd name="connsiteX39" fmla="*/ 86883 w 399352"/>
                  <a:gd name="connsiteY39" fmla="*/ 199316 h 550029"/>
                  <a:gd name="connsiteX40" fmla="*/ 73560 w 399352"/>
                  <a:gd name="connsiteY40" fmla="*/ 176721 h 550029"/>
                  <a:gd name="connsiteX41" fmla="*/ 144475 w 399352"/>
                  <a:gd name="connsiteY41" fmla="*/ 154736 h 550029"/>
                  <a:gd name="connsiteX42" fmla="*/ 158826 w 399352"/>
                  <a:gd name="connsiteY42" fmla="*/ 92679 h 550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99352" h="550029">
                    <a:moveTo>
                      <a:pt x="158832" y="92679"/>
                    </a:moveTo>
                    <a:lnTo>
                      <a:pt x="200930" y="89383"/>
                    </a:lnTo>
                    <a:lnTo>
                      <a:pt x="221451" y="103777"/>
                    </a:lnTo>
                    <a:lnTo>
                      <a:pt x="252605" y="53856"/>
                    </a:lnTo>
                    <a:lnTo>
                      <a:pt x="322529" y="-157"/>
                    </a:lnTo>
                    <a:lnTo>
                      <a:pt x="376920" y="19879"/>
                    </a:lnTo>
                    <a:lnTo>
                      <a:pt x="366523" y="62069"/>
                    </a:lnTo>
                    <a:lnTo>
                      <a:pt x="398686" y="111636"/>
                    </a:lnTo>
                    <a:lnTo>
                      <a:pt x="375286" y="154308"/>
                    </a:lnTo>
                    <a:lnTo>
                      <a:pt x="385501" y="205121"/>
                    </a:lnTo>
                    <a:lnTo>
                      <a:pt x="368152" y="215661"/>
                    </a:lnTo>
                    <a:lnTo>
                      <a:pt x="347605" y="199482"/>
                    </a:lnTo>
                    <a:lnTo>
                      <a:pt x="326120" y="217051"/>
                    </a:lnTo>
                    <a:lnTo>
                      <a:pt x="336578" y="243392"/>
                    </a:lnTo>
                    <a:lnTo>
                      <a:pt x="318884" y="245696"/>
                    </a:lnTo>
                    <a:lnTo>
                      <a:pt x="337703" y="296724"/>
                    </a:lnTo>
                    <a:lnTo>
                      <a:pt x="310630" y="305394"/>
                    </a:lnTo>
                    <a:lnTo>
                      <a:pt x="315292" y="325028"/>
                    </a:lnTo>
                    <a:lnTo>
                      <a:pt x="269629" y="328374"/>
                    </a:lnTo>
                    <a:lnTo>
                      <a:pt x="268673" y="362175"/>
                    </a:lnTo>
                    <a:lnTo>
                      <a:pt x="229644" y="381860"/>
                    </a:lnTo>
                    <a:lnTo>
                      <a:pt x="240949" y="404680"/>
                    </a:lnTo>
                    <a:lnTo>
                      <a:pt x="204993" y="406805"/>
                    </a:lnTo>
                    <a:lnTo>
                      <a:pt x="203554" y="439750"/>
                    </a:lnTo>
                    <a:lnTo>
                      <a:pt x="178859" y="446050"/>
                    </a:lnTo>
                    <a:lnTo>
                      <a:pt x="180789" y="499452"/>
                    </a:lnTo>
                    <a:lnTo>
                      <a:pt x="126067" y="518866"/>
                    </a:lnTo>
                    <a:lnTo>
                      <a:pt x="101941" y="549873"/>
                    </a:lnTo>
                    <a:lnTo>
                      <a:pt x="87268" y="512155"/>
                    </a:lnTo>
                    <a:lnTo>
                      <a:pt x="52253" y="508184"/>
                    </a:lnTo>
                    <a:lnTo>
                      <a:pt x="66888" y="470290"/>
                    </a:lnTo>
                    <a:lnTo>
                      <a:pt x="60813" y="438715"/>
                    </a:lnTo>
                    <a:lnTo>
                      <a:pt x="7108" y="405573"/>
                    </a:lnTo>
                    <a:lnTo>
                      <a:pt x="7164" y="389257"/>
                    </a:lnTo>
                    <a:lnTo>
                      <a:pt x="37862" y="376410"/>
                    </a:lnTo>
                    <a:lnTo>
                      <a:pt x="31021" y="346414"/>
                    </a:lnTo>
                    <a:lnTo>
                      <a:pt x="9244" y="334721"/>
                    </a:lnTo>
                    <a:lnTo>
                      <a:pt x="21173" y="310179"/>
                    </a:lnTo>
                    <a:lnTo>
                      <a:pt x="-666" y="279648"/>
                    </a:lnTo>
                    <a:lnTo>
                      <a:pt x="86883" y="199316"/>
                    </a:lnTo>
                    <a:lnTo>
                      <a:pt x="73560" y="176721"/>
                    </a:lnTo>
                    <a:lnTo>
                      <a:pt x="144475" y="154736"/>
                    </a:lnTo>
                    <a:lnTo>
                      <a:pt x="158826" y="92679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" name="Мурманская область">
                <a:extLst>
                  <a:ext uri="{FF2B5EF4-FFF2-40B4-BE49-F238E27FC236}">
                    <a16:creationId xmlns:a16="http://schemas.microsoft.com/office/drawing/2014/main" id="{D53D3AA7-0EE6-4FE9-AB9F-541EE166B1D2}"/>
                  </a:ext>
                </a:extLst>
              </p:cNvPr>
              <p:cNvSpPr/>
              <p:nvPr/>
            </p:nvSpPr>
            <p:spPr>
              <a:xfrm>
                <a:off x="2898705" y="1186161"/>
                <a:ext cx="689175" cy="855311"/>
              </a:xfrm>
              <a:custGeom>
                <a:avLst/>
                <a:gdLst>
                  <a:gd name="connsiteX0" fmla="*/ 268718 w 689175"/>
                  <a:gd name="connsiteY0" fmla="*/ -156 h 855311"/>
                  <a:gd name="connsiteX1" fmla="*/ 301527 w 689175"/>
                  <a:gd name="connsiteY1" fmla="*/ 23257 h 855311"/>
                  <a:gd name="connsiteX2" fmla="*/ 345338 w 689175"/>
                  <a:gd name="connsiteY2" fmla="*/ 11380 h 855311"/>
                  <a:gd name="connsiteX3" fmla="*/ 385499 w 689175"/>
                  <a:gd name="connsiteY3" fmla="*/ 36528 h 855311"/>
                  <a:gd name="connsiteX4" fmla="*/ 417592 w 689175"/>
                  <a:gd name="connsiteY4" fmla="*/ 19243 h 855311"/>
                  <a:gd name="connsiteX5" fmla="*/ 428836 w 689175"/>
                  <a:gd name="connsiteY5" fmla="*/ 67604 h 855311"/>
                  <a:gd name="connsiteX6" fmla="*/ 457953 w 689175"/>
                  <a:gd name="connsiteY6" fmla="*/ 42133 h 855311"/>
                  <a:gd name="connsiteX7" fmla="*/ 499245 w 689175"/>
                  <a:gd name="connsiteY7" fmla="*/ 41356 h 855311"/>
                  <a:gd name="connsiteX8" fmla="*/ 546160 w 689175"/>
                  <a:gd name="connsiteY8" fmla="*/ 78285 h 855311"/>
                  <a:gd name="connsiteX9" fmla="*/ 554404 w 689175"/>
                  <a:gd name="connsiteY9" fmla="*/ 157337 h 855311"/>
                  <a:gd name="connsiteX10" fmla="*/ 529127 w 689175"/>
                  <a:gd name="connsiteY10" fmla="*/ 198191 h 855311"/>
                  <a:gd name="connsiteX11" fmla="*/ 578385 w 689175"/>
                  <a:gd name="connsiteY11" fmla="*/ 322104 h 855311"/>
                  <a:gd name="connsiteX12" fmla="*/ 586865 w 689175"/>
                  <a:gd name="connsiteY12" fmla="*/ 467888 h 855311"/>
                  <a:gd name="connsiteX13" fmla="*/ 575187 w 689175"/>
                  <a:gd name="connsiteY13" fmla="*/ 516722 h 855311"/>
                  <a:gd name="connsiteX14" fmla="*/ 688510 w 689175"/>
                  <a:gd name="connsiteY14" fmla="*/ 614676 h 855311"/>
                  <a:gd name="connsiteX15" fmla="*/ 543158 w 689175"/>
                  <a:gd name="connsiteY15" fmla="*/ 855155 h 855311"/>
                  <a:gd name="connsiteX16" fmla="*/ 297535 w 689175"/>
                  <a:gd name="connsiteY16" fmla="*/ 834652 h 855311"/>
                  <a:gd name="connsiteX17" fmla="*/ 213755 w 689175"/>
                  <a:gd name="connsiteY17" fmla="*/ 786257 h 855311"/>
                  <a:gd name="connsiteX18" fmla="*/ 133405 w 689175"/>
                  <a:gd name="connsiteY18" fmla="*/ 661017 h 855311"/>
                  <a:gd name="connsiteX19" fmla="*/ 125565 w 689175"/>
                  <a:gd name="connsiteY19" fmla="*/ 457205 h 855311"/>
                  <a:gd name="connsiteX20" fmla="*/ 102748 w 689175"/>
                  <a:gd name="connsiteY20" fmla="*/ 410470 h 855311"/>
                  <a:gd name="connsiteX21" fmla="*/ 63566 w 689175"/>
                  <a:gd name="connsiteY21" fmla="*/ 418745 h 855311"/>
                  <a:gd name="connsiteX22" fmla="*/ 49638 w 689175"/>
                  <a:gd name="connsiteY22" fmla="*/ 396911 h 855311"/>
                  <a:gd name="connsiteX23" fmla="*/ 75835 w 689175"/>
                  <a:gd name="connsiteY23" fmla="*/ 351430 h 855311"/>
                  <a:gd name="connsiteX24" fmla="*/ -666 w 689175"/>
                  <a:gd name="connsiteY24" fmla="*/ 231547 h 855311"/>
                  <a:gd name="connsiteX25" fmla="*/ 29427 w 689175"/>
                  <a:gd name="connsiteY25" fmla="*/ 191812 h 855311"/>
                  <a:gd name="connsiteX26" fmla="*/ 155361 w 689175"/>
                  <a:gd name="connsiteY26" fmla="*/ 183329 h 855311"/>
                  <a:gd name="connsiteX27" fmla="*/ 185707 w 689175"/>
                  <a:gd name="connsiteY27" fmla="*/ 114608 h 855311"/>
                  <a:gd name="connsiteX28" fmla="*/ 180292 w 689175"/>
                  <a:gd name="connsiteY28" fmla="*/ 70109 h 855311"/>
                  <a:gd name="connsiteX29" fmla="*/ 219343 w 689175"/>
                  <a:gd name="connsiteY29" fmla="*/ 31270 h 855311"/>
                  <a:gd name="connsiteX30" fmla="*/ 274365 w 689175"/>
                  <a:gd name="connsiteY30" fmla="*/ 22675 h 855311"/>
                  <a:gd name="connsiteX31" fmla="*/ 268718 w 689175"/>
                  <a:gd name="connsiteY31" fmla="*/ -157 h 855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89175" h="855311">
                    <a:moveTo>
                      <a:pt x="268718" y="-156"/>
                    </a:moveTo>
                    <a:lnTo>
                      <a:pt x="301527" y="23257"/>
                    </a:lnTo>
                    <a:lnTo>
                      <a:pt x="345338" y="11380"/>
                    </a:lnTo>
                    <a:lnTo>
                      <a:pt x="385499" y="36528"/>
                    </a:lnTo>
                    <a:lnTo>
                      <a:pt x="417592" y="19243"/>
                    </a:lnTo>
                    <a:lnTo>
                      <a:pt x="428836" y="67604"/>
                    </a:lnTo>
                    <a:lnTo>
                      <a:pt x="457953" y="42133"/>
                    </a:lnTo>
                    <a:lnTo>
                      <a:pt x="499245" y="41356"/>
                    </a:lnTo>
                    <a:lnTo>
                      <a:pt x="546160" y="78285"/>
                    </a:lnTo>
                    <a:lnTo>
                      <a:pt x="554404" y="157337"/>
                    </a:lnTo>
                    <a:lnTo>
                      <a:pt x="529127" y="198191"/>
                    </a:lnTo>
                    <a:lnTo>
                      <a:pt x="578385" y="322104"/>
                    </a:lnTo>
                    <a:lnTo>
                      <a:pt x="586865" y="467888"/>
                    </a:lnTo>
                    <a:lnTo>
                      <a:pt x="575187" y="516722"/>
                    </a:lnTo>
                    <a:lnTo>
                      <a:pt x="688510" y="614676"/>
                    </a:lnTo>
                    <a:lnTo>
                      <a:pt x="543158" y="855155"/>
                    </a:lnTo>
                    <a:lnTo>
                      <a:pt x="297535" y="834652"/>
                    </a:lnTo>
                    <a:lnTo>
                      <a:pt x="213755" y="786257"/>
                    </a:lnTo>
                    <a:lnTo>
                      <a:pt x="133405" y="661017"/>
                    </a:lnTo>
                    <a:lnTo>
                      <a:pt x="125565" y="457205"/>
                    </a:lnTo>
                    <a:lnTo>
                      <a:pt x="102748" y="410470"/>
                    </a:lnTo>
                    <a:lnTo>
                      <a:pt x="63566" y="418745"/>
                    </a:lnTo>
                    <a:lnTo>
                      <a:pt x="49638" y="396911"/>
                    </a:lnTo>
                    <a:lnTo>
                      <a:pt x="75835" y="351430"/>
                    </a:lnTo>
                    <a:lnTo>
                      <a:pt x="-666" y="231547"/>
                    </a:lnTo>
                    <a:lnTo>
                      <a:pt x="29427" y="191812"/>
                    </a:lnTo>
                    <a:lnTo>
                      <a:pt x="155361" y="183329"/>
                    </a:lnTo>
                    <a:lnTo>
                      <a:pt x="185707" y="114608"/>
                    </a:lnTo>
                    <a:lnTo>
                      <a:pt x="180292" y="70109"/>
                    </a:lnTo>
                    <a:lnTo>
                      <a:pt x="219343" y="31270"/>
                    </a:lnTo>
                    <a:lnTo>
                      <a:pt x="274365" y="22675"/>
                    </a:lnTo>
                    <a:lnTo>
                      <a:pt x="268718" y="-157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" name="Республика Карелия">
                <a:extLst>
                  <a:ext uri="{FF2B5EF4-FFF2-40B4-BE49-F238E27FC236}">
                    <a16:creationId xmlns:a16="http://schemas.microsoft.com/office/drawing/2014/main" id="{3EB1CFE3-C24B-44A3-81C7-F6A4C90F15F1}"/>
                  </a:ext>
                </a:extLst>
              </p:cNvPr>
              <p:cNvSpPr/>
              <p:nvPr/>
            </p:nvSpPr>
            <p:spPr>
              <a:xfrm>
                <a:off x="2185615" y="1417865"/>
                <a:ext cx="847379" cy="940131"/>
              </a:xfrm>
              <a:custGeom>
                <a:avLst/>
                <a:gdLst>
                  <a:gd name="connsiteX0" fmla="*/ 8154 w 847379"/>
                  <a:gd name="connsiteY0" fmla="*/ 441495 h 940131"/>
                  <a:gd name="connsiteX1" fmla="*/ 228607 w 847379"/>
                  <a:gd name="connsiteY1" fmla="*/ 461899 h 940131"/>
                  <a:gd name="connsiteX2" fmla="*/ 305517 w 847379"/>
                  <a:gd name="connsiteY2" fmla="*/ 447000 h 940131"/>
                  <a:gd name="connsiteX3" fmla="*/ 331693 w 847379"/>
                  <a:gd name="connsiteY3" fmla="*/ 399844 h 940131"/>
                  <a:gd name="connsiteX4" fmla="*/ 353337 w 847379"/>
                  <a:gd name="connsiteY4" fmla="*/ 279151 h 940131"/>
                  <a:gd name="connsiteX5" fmla="*/ 372703 w 847379"/>
                  <a:gd name="connsiteY5" fmla="*/ 290644 h 940131"/>
                  <a:gd name="connsiteX6" fmla="*/ 424314 w 847379"/>
                  <a:gd name="connsiteY6" fmla="*/ 281112 h 940131"/>
                  <a:gd name="connsiteX7" fmla="*/ 440584 w 847379"/>
                  <a:gd name="connsiteY7" fmla="*/ 229072 h 940131"/>
                  <a:gd name="connsiteX8" fmla="*/ 490904 w 847379"/>
                  <a:gd name="connsiteY8" fmla="*/ 200003 h 940131"/>
                  <a:gd name="connsiteX9" fmla="*/ 480337 w 847379"/>
                  <a:gd name="connsiteY9" fmla="*/ 179024 h 940131"/>
                  <a:gd name="connsiteX10" fmla="*/ 493776 w 847379"/>
                  <a:gd name="connsiteY10" fmla="*/ 160167 h 940131"/>
                  <a:gd name="connsiteX11" fmla="*/ 512003 w 847379"/>
                  <a:gd name="connsiteY11" fmla="*/ 149776 h 940131"/>
                  <a:gd name="connsiteX12" fmla="*/ 527425 w 847379"/>
                  <a:gd name="connsiteY12" fmla="*/ 161418 h 940131"/>
                  <a:gd name="connsiteX13" fmla="*/ 537249 w 847379"/>
                  <a:gd name="connsiteY13" fmla="*/ 131943 h 940131"/>
                  <a:gd name="connsiteX14" fmla="*/ 585993 w 847379"/>
                  <a:gd name="connsiteY14" fmla="*/ 121357 h 940131"/>
                  <a:gd name="connsiteX15" fmla="*/ 591062 w 847379"/>
                  <a:gd name="connsiteY15" fmla="*/ 107108 h 940131"/>
                  <a:gd name="connsiteX16" fmla="*/ 609915 w 847379"/>
                  <a:gd name="connsiteY16" fmla="*/ 127304 h 940131"/>
                  <a:gd name="connsiteX17" fmla="*/ 712424 w 847379"/>
                  <a:gd name="connsiteY17" fmla="*/ -157 h 940131"/>
                  <a:gd name="connsiteX18" fmla="*/ 788925 w 847379"/>
                  <a:gd name="connsiteY18" fmla="*/ 119727 h 940131"/>
                  <a:gd name="connsiteX19" fmla="*/ 762728 w 847379"/>
                  <a:gd name="connsiteY19" fmla="*/ 165208 h 940131"/>
                  <a:gd name="connsiteX20" fmla="*/ 776655 w 847379"/>
                  <a:gd name="connsiteY20" fmla="*/ 187042 h 940131"/>
                  <a:gd name="connsiteX21" fmla="*/ 815837 w 847379"/>
                  <a:gd name="connsiteY21" fmla="*/ 178767 h 940131"/>
                  <a:gd name="connsiteX22" fmla="*/ 838654 w 847379"/>
                  <a:gd name="connsiteY22" fmla="*/ 225502 h 940131"/>
                  <a:gd name="connsiteX23" fmla="*/ 846714 w 847379"/>
                  <a:gd name="connsiteY23" fmla="*/ 350236 h 940131"/>
                  <a:gd name="connsiteX24" fmla="*/ 726630 w 847379"/>
                  <a:gd name="connsiteY24" fmla="*/ 475272 h 940131"/>
                  <a:gd name="connsiteX25" fmla="*/ 703670 w 847379"/>
                  <a:gd name="connsiteY25" fmla="*/ 517821 h 940131"/>
                  <a:gd name="connsiteX26" fmla="*/ 689163 w 847379"/>
                  <a:gd name="connsiteY26" fmla="*/ 622424 h 940131"/>
                  <a:gd name="connsiteX27" fmla="*/ 598226 w 847379"/>
                  <a:gd name="connsiteY27" fmla="*/ 659393 h 940131"/>
                  <a:gd name="connsiteX28" fmla="*/ 567942 w 847379"/>
                  <a:gd name="connsiteY28" fmla="*/ 633113 h 940131"/>
                  <a:gd name="connsiteX29" fmla="*/ 546249 w 847379"/>
                  <a:gd name="connsiteY29" fmla="*/ 694265 h 940131"/>
                  <a:gd name="connsiteX30" fmla="*/ 514081 w 847379"/>
                  <a:gd name="connsiteY30" fmla="*/ 707348 h 940131"/>
                  <a:gd name="connsiteX31" fmla="*/ 499127 w 847379"/>
                  <a:gd name="connsiteY31" fmla="*/ 743522 h 940131"/>
                  <a:gd name="connsiteX32" fmla="*/ 523889 w 847379"/>
                  <a:gd name="connsiteY32" fmla="*/ 817492 h 940131"/>
                  <a:gd name="connsiteX33" fmla="*/ 468609 w 847379"/>
                  <a:gd name="connsiteY33" fmla="*/ 852871 h 940131"/>
                  <a:gd name="connsiteX34" fmla="*/ 481297 w 847379"/>
                  <a:gd name="connsiteY34" fmla="*/ 866298 h 940131"/>
                  <a:gd name="connsiteX35" fmla="*/ 463460 w 847379"/>
                  <a:gd name="connsiteY35" fmla="*/ 903687 h 940131"/>
                  <a:gd name="connsiteX36" fmla="*/ 404020 w 847379"/>
                  <a:gd name="connsiteY36" fmla="*/ 939975 h 940131"/>
                  <a:gd name="connsiteX37" fmla="*/ 377649 w 847379"/>
                  <a:gd name="connsiteY37" fmla="*/ 912199 h 940131"/>
                  <a:gd name="connsiteX38" fmla="*/ 377578 w 847379"/>
                  <a:gd name="connsiteY38" fmla="*/ 886095 h 940131"/>
                  <a:gd name="connsiteX39" fmla="*/ 244303 w 847379"/>
                  <a:gd name="connsiteY39" fmla="*/ 835247 h 940131"/>
                  <a:gd name="connsiteX40" fmla="*/ 260365 w 847379"/>
                  <a:gd name="connsiteY40" fmla="*/ 818519 h 940131"/>
                  <a:gd name="connsiteX41" fmla="*/ 235944 w 847379"/>
                  <a:gd name="connsiteY41" fmla="*/ 778956 h 940131"/>
                  <a:gd name="connsiteX42" fmla="*/ 201725 w 847379"/>
                  <a:gd name="connsiteY42" fmla="*/ 776945 h 940131"/>
                  <a:gd name="connsiteX43" fmla="*/ 205125 w 847379"/>
                  <a:gd name="connsiteY43" fmla="*/ 755165 h 940131"/>
                  <a:gd name="connsiteX44" fmla="*/ 172743 w 847379"/>
                  <a:gd name="connsiteY44" fmla="*/ 717152 h 940131"/>
                  <a:gd name="connsiteX45" fmla="*/ 153685 w 847379"/>
                  <a:gd name="connsiteY45" fmla="*/ 730868 h 940131"/>
                  <a:gd name="connsiteX46" fmla="*/ 171499 w 847379"/>
                  <a:gd name="connsiteY46" fmla="*/ 750049 h 940131"/>
                  <a:gd name="connsiteX47" fmla="*/ 148822 w 847379"/>
                  <a:gd name="connsiteY47" fmla="*/ 756439 h 940131"/>
                  <a:gd name="connsiteX48" fmla="*/ 139854 w 847379"/>
                  <a:gd name="connsiteY48" fmla="*/ 728944 h 940131"/>
                  <a:gd name="connsiteX49" fmla="*/ 75189 w 847379"/>
                  <a:gd name="connsiteY49" fmla="*/ 724970 h 940131"/>
                  <a:gd name="connsiteX50" fmla="*/ 34381 w 847379"/>
                  <a:gd name="connsiteY50" fmla="*/ 546712 h 940131"/>
                  <a:gd name="connsiteX51" fmla="*/ -666 w 847379"/>
                  <a:gd name="connsiteY51" fmla="*/ 471685 h 940131"/>
                  <a:gd name="connsiteX52" fmla="*/ 8157 w 847379"/>
                  <a:gd name="connsiteY52" fmla="*/ 441495 h 940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847379" h="940131">
                    <a:moveTo>
                      <a:pt x="8154" y="441495"/>
                    </a:moveTo>
                    <a:lnTo>
                      <a:pt x="228607" y="461899"/>
                    </a:lnTo>
                    <a:lnTo>
                      <a:pt x="305517" y="447000"/>
                    </a:lnTo>
                    <a:lnTo>
                      <a:pt x="331693" y="399844"/>
                    </a:lnTo>
                    <a:lnTo>
                      <a:pt x="353337" y="279151"/>
                    </a:lnTo>
                    <a:lnTo>
                      <a:pt x="372703" y="290644"/>
                    </a:lnTo>
                    <a:lnTo>
                      <a:pt x="424314" y="281112"/>
                    </a:lnTo>
                    <a:lnTo>
                      <a:pt x="440584" y="229072"/>
                    </a:lnTo>
                    <a:lnTo>
                      <a:pt x="490904" y="200003"/>
                    </a:lnTo>
                    <a:lnTo>
                      <a:pt x="480337" y="179024"/>
                    </a:lnTo>
                    <a:lnTo>
                      <a:pt x="493776" y="160167"/>
                    </a:lnTo>
                    <a:lnTo>
                      <a:pt x="512003" y="149776"/>
                    </a:lnTo>
                    <a:lnTo>
                      <a:pt x="527425" y="161418"/>
                    </a:lnTo>
                    <a:lnTo>
                      <a:pt x="537249" y="131943"/>
                    </a:lnTo>
                    <a:lnTo>
                      <a:pt x="585993" y="121357"/>
                    </a:lnTo>
                    <a:lnTo>
                      <a:pt x="591062" y="107108"/>
                    </a:lnTo>
                    <a:lnTo>
                      <a:pt x="609915" y="127304"/>
                    </a:lnTo>
                    <a:lnTo>
                      <a:pt x="712424" y="-157"/>
                    </a:lnTo>
                    <a:lnTo>
                      <a:pt x="788925" y="119727"/>
                    </a:lnTo>
                    <a:lnTo>
                      <a:pt x="762728" y="165208"/>
                    </a:lnTo>
                    <a:lnTo>
                      <a:pt x="776655" y="187042"/>
                    </a:lnTo>
                    <a:lnTo>
                      <a:pt x="815837" y="178767"/>
                    </a:lnTo>
                    <a:lnTo>
                      <a:pt x="838654" y="225502"/>
                    </a:lnTo>
                    <a:lnTo>
                      <a:pt x="846714" y="350236"/>
                    </a:lnTo>
                    <a:lnTo>
                      <a:pt x="726630" y="475272"/>
                    </a:lnTo>
                    <a:lnTo>
                      <a:pt x="703670" y="517821"/>
                    </a:lnTo>
                    <a:lnTo>
                      <a:pt x="689163" y="622424"/>
                    </a:lnTo>
                    <a:lnTo>
                      <a:pt x="598226" y="659393"/>
                    </a:lnTo>
                    <a:lnTo>
                      <a:pt x="567942" y="633113"/>
                    </a:lnTo>
                    <a:lnTo>
                      <a:pt x="546249" y="694265"/>
                    </a:lnTo>
                    <a:lnTo>
                      <a:pt x="514081" y="707348"/>
                    </a:lnTo>
                    <a:lnTo>
                      <a:pt x="499127" y="743522"/>
                    </a:lnTo>
                    <a:lnTo>
                      <a:pt x="523889" y="817492"/>
                    </a:lnTo>
                    <a:lnTo>
                      <a:pt x="468609" y="852871"/>
                    </a:lnTo>
                    <a:lnTo>
                      <a:pt x="481297" y="866298"/>
                    </a:lnTo>
                    <a:lnTo>
                      <a:pt x="463460" y="903687"/>
                    </a:lnTo>
                    <a:lnTo>
                      <a:pt x="404020" y="939975"/>
                    </a:lnTo>
                    <a:lnTo>
                      <a:pt x="377649" y="912199"/>
                    </a:lnTo>
                    <a:lnTo>
                      <a:pt x="377578" y="886095"/>
                    </a:lnTo>
                    <a:lnTo>
                      <a:pt x="244303" y="835247"/>
                    </a:lnTo>
                    <a:lnTo>
                      <a:pt x="260365" y="818519"/>
                    </a:lnTo>
                    <a:lnTo>
                      <a:pt x="235944" y="778956"/>
                    </a:lnTo>
                    <a:lnTo>
                      <a:pt x="201725" y="776945"/>
                    </a:lnTo>
                    <a:lnTo>
                      <a:pt x="205125" y="755165"/>
                    </a:lnTo>
                    <a:lnTo>
                      <a:pt x="172743" y="717152"/>
                    </a:lnTo>
                    <a:lnTo>
                      <a:pt x="153685" y="730868"/>
                    </a:lnTo>
                    <a:lnTo>
                      <a:pt x="171499" y="750049"/>
                    </a:lnTo>
                    <a:lnTo>
                      <a:pt x="148822" y="756439"/>
                    </a:lnTo>
                    <a:lnTo>
                      <a:pt x="139854" y="728944"/>
                    </a:lnTo>
                    <a:lnTo>
                      <a:pt x="75189" y="724970"/>
                    </a:lnTo>
                    <a:lnTo>
                      <a:pt x="34381" y="546712"/>
                    </a:lnTo>
                    <a:lnTo>
                      <a:pt x="-666" y="471685"/>
                    </a:lnTo>
                    <a:lnTo>
                      <a:pt x="8157" y="441495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" name="Санкт-Петербург">
                <a:extLst>
                  <a:ext uri="{FF2B5EF4-FFF2-40B4-BE49-F238E27FC236}">
                    <a16:creationId xmlns:a16="http://schemas.microsoft.com/office/drawing/2014/main" id="{360642E1-56E8-4EC8-8A49-2526FD45ED05}"/>
                  </a:ext>
                </a:extLst>
              </p:cNvPr>
              <p:cNvSpPr/>
              <p:nvPr/>
            </p:nvSpPr>
            <p:spPr>
              <a:xfrm>
                <a:off x="2010907" y="1962208"/>
                <a:ext cx="64553" cy="124657"/>
              </a:xfrm>
              <a:custGeom>
                <a:avLst/>
                <a:gdLst>
                  <a:gd name="connsiteX0" fmla="*/ 37602 w 64553"/>
                  <a:gd name="connsiteY0" fmla="*/ -157 h 124657"/>
                  <a:gd name="connsiteX1" fmla="*/ 58218 w 64553"/>
                  <a:gd name="connsiteY1" fmla="*/ 16866 h 124657"/>
                  <a:gd name="connsiteX2" fmla="*/ 63888 w 64553"/>
                  <a:gd name="connsiteY2" fmla="*/ 69045 h 124657"/>
                  <a:gd name="connsiteX3" fmla="*/ 56748 w 64553"/>
                  <a:gd name="connsiteY3" fmla="*/ 91824 h 124657"/>
                  <a:gd name="connsiteX4" fmla="*/ 37444 w 64553"/>
                  <a:gd name="connsiteY4" fmla="*/ 98391 h 124657"/>
                  <a:gd name="connsiteX5" fmla="*/ 35301 w 64553"/>
                  <a:gd name="connsiteY5" fmla="*/ 124501 h 124657"/>
                  <a:gd name="connsiteX6" fmla="*/ -666 w 64553"/>
                  <a:gd name="connsiteY6" fmla="*/ 100770 h 124657"/>
                  <a:gd name="connsiteX7" fmla="*/ 21536 w 64553"/>
                  <a:gd name="connsiteY7" fmla="*/ 89710 h 124657"/>
                  <a:gd name="connsiteX8" fmla="*/ 862 w 64553"/>
                  <a:gd name="connsiteY8" fmla="*/ 79701 h 124657"/>
                  <a:gd name="connsiteX9" fmla="*/ 16909 w 64553"/>
                  <a:gd name="connsiteY9" fmla="*/ 77574 h 124657"/>
                  <a:gd name="connsiteX10" fmla="*/ 8037 w 64553"/>
                  <a:gd name="connsiteY10" fmla="*/ 45018 h 124657"/>
                  <a:gd name="connsiteX11" fmla="*/ 37602 w 64553"/>
                  <a:gd name="connsiteY11" fmla="*/ -157 h 124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4553" h="124657">
                    <a:moveTo>
                      <a:pt x="37602" y="-157"/>
                    </a:moveTo>
                    <a:lnTo>
                      <a:pt x="58218" y="16866"/>
                    </a:lnTo>
                    <a:lnTo>
                      <a:pt x="63888" y="69045"/>
                    </a:lnTo>
                    <a:lnTo>
                      <a:pt x="56748" y="91824"/>
                    </a:lnTo>
                    <a:lnTo>
                      <a:pt x="37444" y="98391"/>
                    </a:lnTo>
                    <a:lnTo>
                      <a:pt x="35301" y="124501"/>
                    </a:lnTo>
                    <a:lnTo>
                      <a:pt x="-666" y="100770"/>
                    </a:lnTo>
                    <a:lnTo>
                      <a:pt x="21536" y="89710"/>
                    </a:lnTo>
                    <a:lnTo>
                      <a:pt x="862" y="79701"/>
                    </a:lnTo>
                    <a:lnTo>
                      <a:pt x="16909" y="77574"/>
                    </a:lnTo>
                    <a:lnTo>
                      <a:pt x="8037" y="45018"/>
                    </a:lnTo>
                    <a:lnTo>
                      <a:pt x="37602" y="-157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" name="Новгородская область">
                <a:extLst>
                  <a:ext uri="{FF2B5EF4-FFF2-40B4-BE49-F238E27FC236}">
                    <a16:creationId xmlns:a16="http://schemas.microsoft.com/office/drawing/2014/main" id="{88323E7B-F576-4516-ADA9-683ABDE7F2F0}"/>
                  </a:ext>
                </a:extLst>
              </p:cNvPr>
              <p:cNvSpPr/>
              <p:nvPr/>
            </p:nvSpPr>
            <p:spPr>
              <a:xfrm>
                <a:off x="1684372" y="2130037"/>
                <a:ext cx="478221" cy="415362"/>
              </a:xfrm>
              <a:custGeom>
                <a:avLst/>
                <a:gdLst>
                  <a:gd name="connsiteX0" fmla="*/ 117295 w 478221"/>
                  <a:gd name="connsiteY0" fmla="*/ 5736 h 415362"/>
                  <a:gd name="connsiteX1" fmla="*/ 126836 w 478221"/>
                  <a:gd name="connsiteY1" fmla="*/ 19821 h 415362"/>
                  <a:gd name="connsiteX2" fmla="*/ 153803 w 478221"/>
                  <a:gd name="connsiteY2" fmla="*/ 8650 h 415362"/>
                  <a:gd name="connsiteX3" fmla="*/ 171167 w 478221"/>
                  <a:gd name="connsiteY3" fmla="*/ 21431 h 415362"/>
                  <a:gd name="connsiteX4" fmla="*/ 204926 w 478221"/>
                  <a:gd name="connsiteY4" fmla="*/ -157 h 415362"/>
                  <a:gd name="connsiteX5" fmla="*/ 225235 w 478221"/>
                  <a:gd name="connsiteY5" fmla="*/ 40233 h 415362"/>
                  <a:gd name="connsiteX6" fmla="*/ 280161 w 478221"/>
                  <a:gd name="connsiteY6" fmla="*/ 30952 h 415362"/>
                  <a:gd name="connsiteX7" fmla="*/ 295426 w 478221"/>
                  <a:gd name="connsiteY7" fmla="*/ 58767 h 415362"/>
                  <a:gd name="connsiteX8" fmla="*/ 348046 w 478221"/>
                  <a:gd name="connsiteY8" fmla="*/ 41290 h 415362"/>
                  <a:gd name="connsiteX9" fmla="*/ 351748 w 478221"/>
                  <a:gd name="connsiteY9" fmla="*/ 62397 h 415362"/>
                  <a:gd name="connsiteX10" fmla="*/ 374598 w 478221"/>
                  <a:gd name="connsiteY10" fmla="*/ 62727 h 415362"/>
                  <a:gd name="connsiteX11" fmla="*/ 354897 w 478221"/>
                  <a:gd name="connsiteY11" fmla="*/ 123346 h 415362"/>
                  <a:gd name="connsiteX12" fmla="*/ 372575 w 478221"/>
                  <a:gd name="connsiteY12" fmla="*/ 137735 h 415362"/>
                  <a:gd name="connsiteX13" fmla="*/ 418216 w 478221"/>
                  <a:gd name="connsiteY13" fmla="*/ 129040 h 415362"/>
                  <a:gd name="connsiteX14" fmla="*/ 422129 w 478221"/>
                  <a:gd name="connsiteY14" fmla="*/ 162889 h 415362"/>
                  <a:gd name="connsiteX15" fmla="*/ 443947 w 478221"/>
                  <a:gd name="connsiteY15" fmla="*/ 175343 h 415362"/>
                  <a:gd name="connsiteX16" fmla="*/ 428845 w 478221"/>
                  <a:gd name="connsiteY16" fmla="*/ 202863 h 415362"/>
                  <a:gd name="connsiteX17" fmla="*/ 434874 w 478221"/>
                  <a:gd name="connsiteY17" fmla="*/ 227951 h 415362"/>
                  <a:gd name="connsiteX18" fmla="*/ 455080 w 478221"/>
                  <a:gd name="connsiteY18" fmla="*/ 237987 h 415362"/>
                  <a:gd name="connsiteX19" fmla="*/ 451671 w 478221"/>
                  <a:gd name="connsiteY19" fmla="*/ 305997 h 415362"/>
                  <a:gd name="connsiteX20" fmla="*/ 462707 w 478221"/>
                  <a:gd name="connsiteY20" fmla="*/ 314920 h 415362"/>
                  <a:gd name="connsiteX21" fmla="*/ 443631 w 478221"/>
                  <a:gd name="connsiteY21" fmla="*/ 324192 h 415362"/>
                  <a:gd name="connsiteX22" fmla="*/ 477556 w 478221"/>
                  <a:gd name="connsiteY22" fmla="*/ 361931 h 415362"/>
                  <a:gd name="connsiteX23" fmla="*/ 470979 w 478221"/>
                  <a:gd name="connsiteY23" fmla="*/ 415206 h 415362"/>
                  <a:gd name="connsiteX24" fmla="*/ 434760 w 478221"/>
                  <a:gd name="connsiteY24" fmla="*/ 413501 h 415362"/>
                  <a:gd name="connsiteX25" fmla="*/ 401716 w 478221"/>
                  <a:gd name="connsiteY25" fmla="*/ 373582 h 415362"/>
                  <a:gd name="connsiteX26" fmla="*/ 362778 w 478221"/>
                  <a:gd name="connsiteY26" fmla="*/ 377686 h 415362"/>
                  <a:gd name="connsiteX27" fmla="*/ 352879 w 478221"/>
                  <a:gd name="connsiteY27" fmla="*/ 354290 h 415362"/>
                  <a:gd name="connsiteX28" fmla="*/ 328744 w 478221"/>
                  <a:gd name="connsiteY28" fmla="*/ 363559 h 415362"/>
                  <a:gd name="connsiteX29" fmla="*/ 322347 w 478221"/>
                  <a:gd name="connsiteY29" fmla="*/ 318243 h 415362"/>
                  <a:gd name="connsiteX30" fmla="*/ 294141 w 478221"/>
                  <a:gd name="connsiteY30" fmla="*/ 290629 h 415362"/>
                  <a:gd name="connsiteX31" fmla="*/ 271481 w 478221"/>
                  <a:gd name="connsiteY31" fmla="*/ 288978 h 415362"/>
                  <a:gd name="connsiteX32" fmla="*/ 270758 w 478221"/>
                  <a:gd name="connsiteY32" fmla="*/ 306136 h 415362"/>
                  <a:gd name="connsiteX33" fmla="*/ 232691 w 478221"/>
                  <a:gd name="connsiteY33" fmla="*/ 323358 h 415362"/>
                  <a:gd name="connsiteX34" fmla="*/ 208823 w 478221"/>
                  <a:gd name="connsiteY34" fmla="*/ 311163 h 415362"/>
                  <a:gd name="connsiteX35" fmla="*/ 177981 w 478221"/>
                  <a:gd name="connsiteY35" fmla="*/ 328737 h 415362"/>
                  <a:gd name="connsiteX36" fmla="*/ 160825 w 478221"/>
                  <a:gd name="connsiteY36" fmla="*/ 292185 h 415362"/>
                  <a:gd name="connsiteX37" fmla="*/ 110092 w 478221"/>
                  <a:gd name="connsiteY37" fmla="*/ 285474 h 415362"/>
                  <a:gd name="connsiteX38" fmla="*/ 66284 w 478221"/>
                  <a:gd name="connsiteY38" fmla="*/ 252044 h 415362"/>
                  <a:gd name="connsiteX39" fmla="*/ 22833 w 478221"/>
                  <a:gd name="connsiteY39" fmla="*/ 244686 h 415362"/>
                  <a:gd name="connsiteX40" fmla="*/ -666 w 478221"/>
                  <a:gd name="connsiteY40" fmla="*/ 188114 h 415362"/>
                  <a:gd name="connsiteX41" fmla="*/ 38363 w 478221"/>
                  <a:gd name="connsiteY41" fmla="*/ 168428 h 415362"/>
                  <a:gd name="connsiteX42" fmla="*/ 40335 w 478221"/>
                  <a:gd name="connsiteY42" fmla="*/ 133726 h 415362"/>
                  <a:gd name="connsiteX43" fmla="*/ 84982 w 478221"/>
                  <a:gd name="connsiteY43" fmla="*/ 131282 h 415362"/>
                  <a:gd name="connsiteX44" fmla="*/ 80320 w 478221"/>
                  <a:gd name="connsiteY44" fmla="*/ 111647 h 415362"/>
                  <a:gd name="connsiteX45" fmla="*/ 107392 w 478221"/>
                  <a:gd name="connsiteY45" fmla="*/ 102978 h 415362"/>
                  <a:gd name="connsiteX46" fmla="*/ 88326 w 478221"/>
                  <a:gd name="connsiteY46" fmla="*/ 48748 h 415362"/>
                  <a:gd name="connsiteX47" fmla="*/ 106268 w 478221"/>
                  <a:gd name="connsiteY47" fmla="*/ 49645 h 415362"/>
                  <a:gd name="connsiteX48" fmla="*/ 95810 w 478221"/>
                  <a:gd name="connsiteY48" fmla="*/ 23304 h 415362"/>
                  <a:gd name="connsiteX49" fmla="*/ 117294 w 478221"/>
                  <a:gd name="connsiteY49" fmla="*/ 5736 h 415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478221" h="415362">
                    <a:moveTo>
                      <a:pt x="117295" y="5736"/>
                    </a:moveTo>
                    <a:lnTo>
                      <a:pt x="126836" y="19821"/>
                    </a:lnTo>
                    <a:lnTo>
                      <a:pt x="153803" y="8650"/>
                    </a:lnTo>
                    <a:lnTo>
                      <a:pt x="171167" y="21431"/>
                    </a:lnTo>
                    <a:lnTo>
                      <a:pt x="204926" y="-157"/>
                    </a:lnTo>
                    <a:lnTo>
                      <a:pt x="225235" y="40233"/>
                    </a:lnTo>
                    <a:lnTo>
                      <a:pt x="280161" y="30952"/>
                    </a:lnTo>
                    <a:lnTo>
                      <a:pt x="295426" y="58767"/>
                    </a:lnTo>
                    <a:lnTo>
                      <a:pt x="348046" y="41290"/>
                    </a:lnTo>
                    <a:lnTo>
                      <a:pt x="351748" y="62397"/>
                    </a:lnTo>
                    <a:lnTo>
                      <a:pt x="374598" y="62727"/>
                    </a:lnTo>
                    <a:lnTo>
                      <a:pt x="354897" y="123346"/>
                    </a:lnTo>
                    <a:lnTo>
                      <a:pt x="372575" y="137735"/>
                    </a:lnTo>
                    <a:lnTo>
                      <a:pt x="418216" y="129040"/>
                    </a:lnTo>
                    <a:lnTo>
                      <a:pt x="422129" y="162889"/>
                    </a:lnTo>
                    <a:lnTo>
                      <a:pt x="443947" y="175343"/>
                    </a:lnTo>
                    <a:lnTo>
                      <a:pt x="428845" y="202863"/>
                    </a:lnTo>
                    <a:lnTo>
                      <a:pt x="434874" y="227951"/>
                    </a:lnTo>
                    <a:lnTo>
                      <a:pt x="455080" y="237987"/>
                    </a:lnTo>
                    <a:lnTo>
                      <a:pt x="451671" y="305997"/>
                    </a:lnTo>
                    <a:lnTo>
                      <a:pt x="462707" y="314920"/>
                    </a:lnTo>
                    <a:lnTo>
                      <a:pt x="443631" y="324192"/>
                    </a:lnTo>
                    <a:lnTo>
                      <a:pt x="477556" y="361931"/>
                    </a:lnTo>
                    <a:lnTo>
                      <a:pt x="470979" y="415206"/>
                    </a:lnTo>
                    <a:lnTo>
                      <a:pt x="434760" y="413501"/>
                    </a:lnTo>
                    <a:lnTo>
                      <a:pt x="401716" y="373582"/>
                    </a:lnTo>
                    <a:lnTo>
                      <a:pt x="362778" y="377686"/>
                    </a:lnTo>
                    <a:lnTo>
                      <a:pt x="352879" y="354290"/>
                    </a:lnTo>
                    <a:lnTo>
                      <a:pt x="328744" y="363559"/>
                    </a:lnTo>
                    <a:lnTo>
                      <a:pt x="322347" y="318243"/>
                    </a:lnTo>
                    <a:lnTo>
                      <a:pt x="294141" y="290629"/>
                    </a:lnTo>
                    <a:lnTo>
                      <a:pt x="271481" y="288978"/>
                    </a:lnTo>
                    <a:lnTo>
                      <a:pt x="270758" y="306136"/>
                    </a:lnTo>
                    <a:lnTo>
                      <a:pt x="232691" y="323358"/>
                    </a:lnTo>
                    <a:lnTo>
                      <a:pt x="208823" y="311163"/>
                    </a:lnTo>
                    <a:lnTo>
                      <a:pt x="177981" y="328737"/>
                    </a:lnTo>
                    <a:lnTo>
                      <a:pt x="160825" y="292185"/>
                    </a:lnTo>
                    <a:lnTo>
                      <a:pt x="110092" y="285474"/>
                    </a:lnTo>
                    <a:lnTo>
                      <a:pt x="66284" y="252044"/>
                    </a:lnTo>
                    <a:lnTo>
                      <a:pt x="22833" y="244686"/>
                    </a:lnTo>
                    <a:lnTo>
                      <a:pt x="-666" y="188114"/>
                    </a:lnTo>
                    <a:lnTo>
                      <a:pt x="38363" y="168428"/>
                    </a:lnTo>
                    <a:lnTo>
                      <a:pt x="40335" y="133726"/>
                    </a:lnTo>
                    <a:lnTo>
                      <a:pt x="84982" y="131282"/>
                    </a:lnTo>
                    <a:lnTo>
                      <a:pt x="80320" y="111647"/>
                    </a:lnTo>
                    <a:lnTo>
                      <a:pt x="107392" y="102978"/>
                    </a:lnTo>
                    <a:lnTo>
                      <a:pt x="88326" y="48748"/>
                    </a:lnTo>
                    <a:lnTo>
                      <a:pt x="106268" y="49645"/>
                    </a:lnTo>
                    <a:lnTo>
                      <a:pt x="95810" y="23304"/>
                    </a:lnTo>
                    <a:lnTo>
                      <a:pt x="117294" y="5736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Вологодская область">
                <a:extLst>
                  <a:ext uri="{FF2B5EF4-FFF2-40B4-BE49-F238E27FC236}">
                    <a16:creationId xmlns:a16="http://schemas.microsoft.com/office/drawing/2014/main" id="{2B7800E1-B6FB-4FC7-B6BC-E7D20767E2B2}"/>
                  </a:ext>
                </a:extLst>
              </p:cNvPr>
              <p:cNvSpPr/>
              <p:nvPr/>
            </p:nvSpPr>
            <p:spPr>
              <a:xfrm>
                <a:off x="2128669" y="2264526"/>
                <a:ext cx="857687" cy="819763"/>
              </a:xfrm>
              <a:custGeom>
                <a:avLst/>
                <a:gdLst>
                  <a:gd name="connsiteX0" fmla="*/ 12453 w 857687"/>
                  <a:gd name="connsiteY0" fmla="*/ 138888 h 819763"/>
                  <a:gd name="connsiteX1" fmla="*/ 42163 w 857687"/>
                  <a:gd name="connsiteY1" fmla="*/ 136356 h 819763"/>
                  <a:gd name="connsiteX2" fmla="*/ 74734 w 857687"/>
                  <a:gd name="connsiteY2" fmla="*/ 159649 h 819763"/>
                  <a:gd name="connsiteX3" fmla="*/ 96109 w 857687"/>
                  <a:gd name="connsiteY3" fmla="*/ 135536 h 819763"/>
                  <a:gd name="connsiteX4" fmla="*/ 103391 w 857687"/>
                  <a:gd name="connsiteY4" fmla="*/ 149481 h 819763"/>
                  <a:gd name="connsiteX5" fmla="*/ 120954 w 857687"/>
                  <a:gd name="connsiteY5" fmla="*/ 134354 h 819763"/>
                  <a:gd name="connsiteX6" fmla="*/ 121590 w 857687"/>
                  <a:gd name="connsiteY6" fmla="*/ 144846 h 819763"/>
                  <a:gd name="connsiteX7" fmla="*/ 134200 w 857687"/>
                  <a:gd name="connsiteY7" fmla="*/ 136187 h 819763"/>
                  <a:gd name="connsiteX8" fmla="*/ 125187 w 857687"/>
                  <a:gd name="connsiteY8" fmla="*/ 122523 h 819763"/>
                  <a:gd name="connsiteX9" fmla="*/ 159096 w 857687"/>
                  <a:gd name="connsiteY9" fmla="*/ 100645 h 819763"/>
                  <a:gd name="connsiteX10" fmla="*/ 150337 w 857687"/>
                  <a:gd name="connsiteY10" fmla="*/ 77881 h 819763"/>
                  <a:gd name="connsiteX11" fmla="*/ 246380 w 857687"/>
                  <a:gd name="connsiteY11" fmla="*/ 9091 h 819763"/>
                  <a:gd name="connsiteX12" fmla="*/ 297955 w 857687"/>
                  <a:gd name="connsiteY12" fmla="*/ 19075 h 819763"/>
                  <a:gd name="connsiteX13" fmla="*/ 323264 w 857687"/>
                  <a:gd name="connsiteY13" fmla="*/ -157 h 819763"/>
                  <a:gd name="connsiteX14" fmla="*/ 412481 w 857687"/>
                  <a:gd name="connsiteY14" fmla="*/ 25179 h 819763"/>
                  <a:gd name="connsiteX15" fmla="*/ 460967 w 857687"/>
                  <a:gd name="connsiteY15" fmla="*/ 93314 h 819763"/>
                  <a:gd name="connsiteX16" fmla="*/ 401945 w 857687"/>
                  <a:gd name="connsiteY16" fmla="*/ 199054 h 819763"/>
                  <a:gd name="connsiteX17" fmla="*/ 401577 w 857687"/>
                  <a:gd name="connsiteY17" fmla="*/ 220662 h 819763"/>
                  <a:gd name="connsiteX18" fmla="*/ 423679 w 857687"/>
                  <a:gd name="connsiteY18" fmla="*/ 235020 h 819763"/>
                  <a:gd name="connsiteX19" fmla="*/ 420203 w 857687"/>
                  <a:gd name="connsiteY19" fmla="*/ 261413 h 819763"/>
                  <a:gd name="connsiteX20" fmla="*/ 430270 w 857687"/>
                  <a:gd name="connsiteY20" fmla="*/ 253780 h 819763"/>
                  <a:gd name="connsiteX21" fmla="*/ 456095 w 857687"/>
                  <a:gd name="connsiteY21" fmla="*/ 276995 h 819763"/>
                  <a:gd name="connsiteX22" fmla="*/ 462109 w 857687"/>
                  <a:gd name="connsiteY22" fmla="*/ 308657 h 819763"/>
                  <a:gd name="connsiteX23" fmla="*/ 499143 w 857687"/>
                  <a:gd name="connsiteY23" fmla="*/ 318745 h 819763"/>
                  <a:gd name="connsiteX24" fmla="*/ 530373 w 857687"/>
                  <a:gd name="connsiteY24" fmla="*/ 387110 h 819763"/>
                  <a:gd name="connsiteX25" fmla="*/ 554940 w 857687"/>
                  <a:gd name="connsiteY25" fmla="*/ 365758 h 819763"/>
                  <a:gd name="connsiteX26" fmla="*/ 585383 w 857687"/>
                  <a:gd name="connsiteY26" fmla="*/ 383981 h 819763"/>
                  <a:gd name="connsiteX27" fmla="*/ 596818 w 857687"/>
                  <a:gd name="connsiteY27" fmla="*/ 430461 h 819763"/>
                  <a:gd name="connsiteX28" fmla="*/ 625089 w 857687"/>
                  <a:gd name="connsiteY28" fmla="*/ 433470 h 819763"/>
                  <a:gd name="connsiteX29" fmla="*/ 624693 w 857687"/>
                  <a:gd name="connsiteY29" fmla="*/ 469018 h 819763"/>
                  <a:gd name="connsiteX30" fmla="*/ 642268 w 857687"/>
                  <a:gd name="connsiteY30" fmla="*/ 468979 h 819763"/>
                  <a:gd name="connsiteX31" fmla="*/ 656611 w 857687"/>
                  <a:gd name="connsiteY31" fmla="*/ 494313 h 819763"/>
                  <a:gd name="connsiteX32" fmla="*/ 711988 w 857687"/>
                  <a:gd name="connsiteY32" fmla="*/ 486366 h 819763"/>
                  <a:gd name="connsiteX33" fmla="*/ 724352 w 857687"/>
                  <a:gd name="connsiteY33" fmla="*/ 498165 h 819763"/>
                  <a:gd name="connsiteX34" fmla="*/ 712479 w 857687"/>
                  <a:gd name="connsiteY34" fmla="*/ 507525 h 819763"/>
                  <a:gd name="connsiteX35" fmla="*/ 762920 w 857687"/>
                  <a:gd name="connsiteY35" fmla="*/ 574099 h 819763"/>
                  <a:gd name="connsiteX36" fmla="*/ 800646 w 857687"/>
                  <a:gd name="connsiteY36" fmla="*/ 545421 h 819763"/>
                  <a:gd name="connsiteX37" fmla="*/ 822241 w 857687"/>
                  <a:gd name="connsiteY37" fmla="*/ 574005 h 819763"/>
                  <a:gd name="connsiteX38" fmla="*/ 803184 w 857687"/>
                  <a:gd name="connsiteY38" fmla="*/ 588139 h 819763"/>
                  <a:gd name="connsiteX39" fmla="*/ 827918 w 857687"/>
                  <a:gd name="connsiteY39" fmla="*/ 621380 h 819763"/>
                  <a:gd name="connsiteX40" fmla="*/ 848331 w 857687"/>
                  <a:gd name="connsiteY40" fmla="*/ 624738 h 819763"/>
                  <a:gd name="connsiteX41" fmla="*/ 857021 w 857687"/>
                  <a:gd name="connsiteY41" fmla="*/ 675862 h 819763"/>
                  <a:gd name="connsiteX42" fmla="*/ 774350 w 857687"/>
                  <a:gd name="connsiteY42" fmla="*/ 728694 h 819763"/>
                  <a:gd name="connsiteX43" fmla="*/ 746814 w 857687"/>
                  <a:gd name="connsiteY43" fmla="*/ 701576 h 819763"/>
                  <a:gd name="connsiteX44" fmla="*/ 746908 w 857687"/>
                  <a:gd name="connsiteY44" fmla="*/ 738963 h 819763"/>
                  <a:gd name="connsiteX45" fmla="*/ 778149 w 857687"/>
                  <a:gd name="connsiteY45" fmla="*/ 755324 h 819763"/>
                  <a:gd name="connsiteX46" fmla="*/ 733140 w 857687"/>
                  <a:gd name="connsiteY46" fmla="*/ 790181 h 819763"/>
                  <a:gd name="connsiteX47" fmla="*/ 744879 w 857687"/>
                  <a:gd name="connsiteY47" fmla="*/ 804097 h 819763"/>
                  <a:gd name="connsiteX48" fmla="*/ 726503 w 857687"/>
                  <a:gd name="connsiteY48" fmla="*/ 819607 h 819763"/>
                  <a:gd name="connsiteX49" fmla="*/ 688132 w 857687"/>
                  <a:gd name="connsiteY49" fmla="*/ 778893 h 819763"/>
                  <a:gd name="connsiteX50" fmla="*/ 656101 w 857687"/>
                  <a:gd name="connsiteY50" fmla="*/ 807655 h 819763"/>
                  <a:gd name="connsiteX51" fmla="*/ 634111 w 857687"/>
                  <a:gd name="connsiteY51" fmla="*/ 790576 h 819763"/>
                  <a:gd name="connsiteX52" fmla="*/ 615212 w 857687"/>
                  <a:gd name="connsiteY52" fmla="*/ 805311 h 819763"/>
                  <a:gd name="connsiteX53" fmla="*/ 518899 w 857687"/>
                  <a:gd name="connsiteY53" fmla="*/ 718064 h 819763"/>
                  <a:gd name="connsiteX54" fmla="*/ 502021 w 857687"/>
                  <a:gd name="connsiteY54" fmla="*/ 670386 h 819763"/>
                  <a:gd name="connsiteX55" fmla="*/ 478593 w 857687"/>
                  <a:gd name="connsiteY55" fmla="*/ 666243 h 819763"/>
                  <a:gd name="connsiteX56" fmla="*/ 491222 w 857687"/>
                  <a:gd name="connsiteY56" fmla="*/ 650726 h 819763"/>
                  <a:gd name="connsiteX57" fmla="*/ 473110 w 857687"/>
                  <a:gd name="connsiteY57" fmla="*/ 654674 h 819763"/>
                  <a:gd name="connsiteX58" fmla="*/ 469959 w 857687"/>
                  <a:gd name="connsiteY58" fmla="*/ 631436 h 819763"/>
                  <a:gd name="connsiteX59" fmla="*/ 439907 w 857687"/>
                  <a:gd name="connsiteY59" fmla="*/ 629443 h 819763"/>
                  <a:gd name="connsiteX60" fmla="*/ 446359 w 857687"/>
                  <a:gd name="connsiteY60" fmla="*/ 598271 h 819763"/>
                  <a:gd name="connsiteX61" fmla="*/ 419416 w 857687"/>
                  <a:gd name="connsiteY61" fmla="*/ 584553 h 819763"/>
                  <a:gd name="connsiteX62" fmla="*/ 425517 w 857687"/>
                  <a:gd name="connsiteY62" fmla="*/ 552541 h 819763"/>
                  <a:gd name="connsiteX63" fmla="*/ 402274 w 857687"/>
                  <a:gd name="connsiteY63" fmla="*/ 558683 h 819763"/>
                  <a:gd name="connsiteX64" fmla="*/ 408327 w 857687"/>
                  <a:gd name="connsiteY64" fmla="*/ 575232 h 819763"/>
                  <a:gd name="connsiteX65" fmla="*/ 391544 w 857687"/>
                  <a:gd name="connsiteY65" fmla="*/ 586207 h 819763"/>
                  <a:gd name="connsiteX66" fmla="*/ 325598 w 857687"/>
                  <a:gd name="connsiteY66" fmla="*/ 552273 h 819763"/>
                  <a:gd name="connsiteX67" fmla="*/ 299092 w 857687"/>
                  <a:gd name="connsiteY67" fmla="*/ 579373 h 819763"/>
                  <a:gd name="connsiteX68" fmla="*/ 272068 w 857687"/>
                  <a:gd name="connsiteY68" fmla="*/ 579333 h 819763"/>
                  <a:gd name="connsiteX69" fmla="*/ 225393 w 857687"/>
                  <a:gd name="connsiteY69" fmla="*/ 534658 h 819763"/>
                  <a:gd name="connsiteX70" fmla="*/ 235655 w 857687"/>
                  <a:gd name="connsiteY70" fmla="*/ 461755 h 819763"/>
                  <a:gd name="connsiteX71" fmla="*/ 209790 w 857687"/>
                  <a:gd name="connsiteY71" fmla="*/ 418995 h 819763"/>
                  <a:gd name="connsiteX72" fmla="*/ 179778 w 857687"/>
                  <a:gd name="connsiteY72" fmla="*/ 437232 h 819763"/>
                  <a:gd name="connsiteX73" fmla="*/ 135115 w 857687"/>
                  <a:gd name="connsiteY73" fmla="*/ 384186 h 819763"/>
                  <a:gd name="connsiteX74" fmla="*/ 104491 w 857687"/>
                  <a:gd name="connsiteY74" fmla="*/ 372380 h 819763"/>
                  <a:gd name="connsiteX75" fmla="*/ 82918 w 857687"/>
                  <a:gd name="connsiteY75" fmla="*/ 381090 h 819763"/>
                  <a:gd name="connsiteX76" fmla="*/ 100926 w 857687"/>
                  <a:gd name="connsiteY76" fmla="*/ 308849 h 819763"/>
                  <a:gd name="connsiteX77" fmla="*/ 78049 w 857687"/>
                  <a:gd name="connsiteY77" fmla="*/ 295586 h 819763"/>
                  <a:gd name="connsiteX78" fmla="*/ 29946 w 857687"/>
                  <a:gd name="connsiteY78" fmla="*/ 306382 h 819763"/>
                  <a:gd name="connsiteX79" fmla="*/ 14138 w 857687"/>
                  <a:gd name="connsiteY79" fmla="*/ 289468 h 819763"/>
                  <a:gd name="connsiteX80" fmla="*/ 35904 w 857687"/>
                  <a:gd name="connsiteY80" fmla="*/ 261517 h 819763"/>
                  <a:gd name="connsiteX81" fmla="*/ 21199 w 857687"/>
                  <a:gd name="connsiteY81" fmla="*/ 206795 h 819763"/>
                  <a:gd name="connsiteX82" fmla="*/ 1179 w 857687"/>
                  <a:gd name="connsiteY82" fmla="*/ 204529 h 819763"/>
                  <a:gd name="connsiteX83" fmla="*/ -666 w 857687"/>
                  <a:gd name="connsiteY83" fmla="*/ 189709 h 819763"/>
                  <a:gd name="connsiteX84" fmla="*/ 18409 w 857687"/>
                  <a:gd name="connsiteY84" fmla="*/ 180437 h 819763"/>
                  <a:gd name="connsiteX85" fmla="*/ 12453 w 857687"/>
                  <a:gd name="connsiteY85" fmla="*/ 138894 h 819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857687" h="819763">
                    <a:moveTo>
                      <a:pt x="12453" y="138888"/>
                    </a:moveTo>
                    <a:lnTo>
                      <a:pt x="42163" y="136356"/>
                    </a:lnTo>
                    <a:lnTo>
                      <a:pt x="74734" y="159649"/>
                    </a:lnTo>
                    <a:lnTo>
                      <a:pt x="96109" y="135536"/>
                    </a:lnTo>
                    <a:lnTo>
                      <a:pt x="103391" y="149481"/>
                    </a:lnTo>
                    <a:lnTo>
                      <a:pt x="120954" y="134354"/>
                    </a:lnTo>
                    <a:lnTo>
                      <a:pt x="121590" y="144846"/>
                    </a:lnTo>
                    <a:lnTo>
                      <a:pt x="134200" y="136187"/>
                    </a:lnTo>
                    <a:lnTo>
                      <a:pt x="125187" y="122523"/>
                    </a:lnTo>
                    <a:lnTo>
                      <a:pt x="159096" y="100645"/>
                    </a:lnTo>
                    <a:lnTo>
                      <a:pt x="150337" y="77881"/>
                    </a:lnTo>
                    <a:lnTo>
                      <a:pt x="246380" y="9091"/>
                    </a:lnTo>
                    <a:lnTo>
                      <a:pt x="297955" y="19075"/>
                    </a:lnTo>
                    <a:lnTo>
                      <a:pt x="323264" y="-157"/>
                    </a:lnTo>
                    <a:lnTo>
                      <a:pt x="412481" y="25179"/>
                    </a:lnTo>
                    <a:lnTo>
                      <a:pt x="460967" y="93314"/>
                    </a:lnTo>
                    <a:lnTo>
                      <a:pt x="401945" y="199054"/>
                    </a:lnTo>
                    <a:lnTo>
                      <a:pt x="401577" y="220662"/>
                    </a:lnTo>
                    <a:lnTo>
                      <a:pt x="423679" y="235020"/>
                    </a:lnTo>
                    <a:lnTo>
                      <a:pt x="420203" y="261413"/>
                    </a:lnTo>
                    <a:lnTo>
                      <a:pt x="430270" y="253780"/>
                    </a:lnTo>
                    <a:lnTo>
                      <a:pt x="456095" y="276995"/>
                    </a:lnTo>
                    <a:lnTo>
                      <a:pt x="462109" y="308657"/>
                    </a:lnTo>
                    <a:lnTo>
                      <a:pt x="499143" y="318745"/>
                    </a:lnTo>
                    <a:lnTo>
                      <a:pt x="530373" y="387110"/>
                    </a:lnTo>
                    <a:lnTo>
                      <a:pt x="554940" y="365758"/>
                    </a:lnTo>
                    <a:lnTo>
                      <a:pt x="585383" y="383981"/>
                    </a:lnTo>
                    <a:lnTo>
                      <a:pt x="596818" y="430461"/>
                    </a:lnTo>
                    <a:lnTo>
                      <a:pt x="625089" y="433470"/>
                    </a:lnTo>
                    <a:lnTo>
                      <a:pt x="624693" y="469018"/>
                    </a:lnTo>
                    <a:lnTo>
                      <a:pt x="642268" y="468979"/>
                    </a:lnTo>
                    <a:lnTo>
                      <a:pt x="656611" y="494313"/>
                    </a:lnTo>
                    <a:lnTo>
                      <a:pt x="711988" y="486366"/>
                    </a:lnTo>
                    <a:lnTo>
                      <a:pt x="724352" y="498165"/>
                    </a:lnTo>
                    <a:lnTo>
                      <a:pt x="712479" y="507525"/>
                    </a:lnTo>
                    <a:lnTo>
                      <a:pt x="762920" y="574099"/>
                    </a:lnTo>
                    <a:lnTo>
                      <a:pt x="800646" y="545421"/>
                    </a:lnTo>
                    <a:lnTo>
                      <a:pt x="822241" y="574005"/>
                    </a:lnTo>
                    <a:lnTo>
                      <a:pt x="803184" y="588139"/>
                    </a:lnTo>
                    <a:lnTo>
                      <a:pt x="827918" y="621380"/>
                    </a:lnTo>
                    <a:lnTo>
                      <a:pt x="848331" y="624738"/>
                    </a:lnTo>
                    <a:lnTo>
                      <a:pt x="857021" y="675862"/>
                    </a:lnTo>
                    <a:lnTo>
                      <a:pt x="774350" y="728694"/>
                    </a:lnTo>
                    <a:lnTo>
                      <a:pt x="746814" y="701576"/>
                    </a:lnTo>
                    <a:lnTo>
                      <a:pt x="746908" y="738963"/>
                    </a:lnTo>
                    <a:lnTo>
                      <a:pt x="778149" y="755324"/>
                    </a:lnTo>
                    <a:lnTo>
                      <a:pt x="733140" y="790181"/>
                    </a:lnTo>
                    <a:lnTo>
                      <a:pt x="744879" y="804097"/>
                    </a:lnTo>
                    <a:lnTo>
                      <a:pt x="726503" y="819607"/>
                    </a:lnTo>
                    <a:lnTo>
                      <a:pt x="688132" y="778893"/>
                    </a:lnTo>
                    <a:lnTo>
                      <a:pt x="656101" y="807655"/>
                    </a:lnTo>
                    <a:lnTo>
                      <a:pt x="634111" y="790576"/>
                    </a:lnTo>
                    <a:lnTo>
                      <a:pt x="615212" y="805311"/>
                    </a:lnTo>
                    <a:lnTo>
                      <a:pt x="518899" y="718064"/>
                    </a:lnTo>
                    <a:lnTo>
                      <a:pt x="502021" y="670386"/>
                    </a:lnTo>
                    <a:lnTo>
                      <a:pt x="478593" y="666243"/>
                    </a:lnTo>
                    <a:lnTo>
                      <a:pt x="491222" y="650726"/>
                    </a:lnTo>
                    <a:lnTo>
                      <a:pt x="473110" y="654674"/>
                    </a:lnTo>
                    <a:lnTo>
                      <a:pt x="469959" y="631436"/>
                    </a:lnTo>
                    <a:lnTo>
                      <a:pt x="439907" y="629443"/>
                    </a:lnTo>
                    <a:lnTo>
                      <a:pt x="446359" y="598271"/>
                    </a:lnTo>
                    <a:lnTo>
                      <a:pt x="419416" y="584553"/>
                    </a:lnTo>
                    <a:lnTo>
                      <a:pt x="425517" y="552541"/>
                    </a:lnTo>
                    <a:lnTo>
                      <a:pt x="402274" y="558683"/>
                    </a:lnTo>
                    <a:lnTo>
                      <a:pt x="408327" y="575232"/>
                    </a:lnTo>
                    <a:lnTo>
                      <a:pt x="391544" y="586207"/>
                    </a:lnTo>
                    <a:lnTo>
                      <a:pt x="325598" y="552273"/>
                    </a:lnTo>
                    <a:lnTo>
                      <a:pt x="299092" y="579373"/>
                    </a:lnTo>
                    <a:lnTo>
                      <a:pt x="272068" y="579333"/>
                    </a:lnTo>
                    <a:lnTo>
                      <a:pt x="225393" y="534658"/>
                    </a:lnTo>
                    <a:lnTo>
                      <a:pt x="235655" y="461755"/>
                    </a:lnTo>
                    <a:lnTo>
                      <a:pt x="209790" y="418995"/>
                    </a:lnTo>
                    <a:lnTo>
                      <a:pt x="179778" y="437232"/>
                    </a:lnTo>
                    <a:lnTo>
                      <a:pt x="135115" y="384186"/>
                    </a:lnTo>
                    <a:lnTo>
                      <a:pt x="104491" y="372380"/>
                    </a:lnTo>
                    <a:lnTo>
                      <a:pt x="82918" y="381090"/>
                    </a:lnTo>
                    <a:lnTo>
                      <a:pt x="100926" y="308849"/>
                    </a:lnTo>
                    <a:lnTo>
                      <a:pt x="78049" y="295586"/>
                    </a:lnTo>
                    <a:lnTo>
                      <a:pt x="29946" y="306382"/>
                    </a:lnTo>
                    <a:lnTo>
                      <a:pt x="14138" y="289468"/>
                    </a:lnTo>
                    <a:lnTo>
                      <a:pt x="35904" y="261517"/>
                    </a:lnTo>
                    <a:lnTo>
                      <a:pt x="21199" y="206795"/>
                    </a:lnTo>
                    <a:lnTo>
                      <a:pt x="1179" y="204529"/>
                    </a:lnTo>
                    <a:lnTo>
                      <a:pt x="-666" y="189709"/>
                    </a:lnTo>
                    <a:lnTo>
                      <a:pt x="18409" y="180437"/>
                    </a:lnTo>
                    <a:lnTo>
                      <a:pt x="12453" y="138894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2" name="Архангельская область">
                <a:extLst>
                  <a:ext uri="{FF2B5EF4-FFF2-40B4-BE49-F238E27FC236}">
                    <a16:creationId xmlns:a16="http://schemas.microsoft.com/office/drawing/2014/main" id="{B8E92148-1C55-4EF7-8BA6-262BD7D6DD33}"/>
                  </a:ext>
                </a:extLst>
              </p:cNvPr>
              <p:cNvSpPr/>
              <p:nvPr/>
            </p:nvSpPr>
            <p:spPr>
              <a:xfrm>
                <a:off x="2530244" y="616351"/>
                <a:ext cx="3114620" cy="2403390"/>
              </a:xfrm>
              <a:custGeom>
                <a:avLst/>
                <a:gdLst>
                  <a:gd name="connsiteX0" fmla="*/ 502083 w 3114620"/>
                  <a:gd name="connsiteY0" fmla="*/ 1151747 h 2403390"/>
                  <a:gd name="connsiteX1" fmla="*/ 502084 w 3114620"/>
                  <a:gd name="connsiteY1" fmla="*/ 1151750 h 2403390"/>
                  <a:gd name="connsiteX2" fmla="*/ 501863 w 3114620"/>
                  <a:gd name="connsiteY2" fmla="*/ 1230827 h 2403390"/>
                  <a:gd name="connsiteX3" fmla="*/ 582213 w 3114620"/>
                  <a:gd name="connsiteY3" fmla="*/ 1356067 h 2403390"/>
                  <a:gd name="connsiteX4" fmla="*/ 669077 w 3114620"/>
                  <a:gd name="connsiteY4" fmla="*/ 1405219 h 2403390"/>
                  <a:gd name="connsiteX5" fmla="*/ 888876 w 3114620"/>
                  <a:gd name="connsiteY5" fmla="*/ 1429875 h 2403390"/>
                  <a:gd name="connsiteX6" fmla="*/ 911616 w 3114620"/>
                  <a:gd name="connsiteY6" fmla="*/ 1424965 h 2403390"/>
                  <a:gd name="connsiteX7" fmla="*/ 1056967 w 3114620"/>
                  <a:gd name="connsiteY7" fmla="*/ 1184486 h 2403390"/>
                  <a:gd name="connsiteX8" fmla="*/ 939019 w 3114620"/>
                  <a:gd name="connsiteY8" fmla="*/ 1458882 h 2403390"/>
                  <a:gd name="connsiteX9" fmla="*/ 925017 w 3114620"/>
                  <a:gd name="connsiteY9" fmla="*/ 1564035 h 2403390"/>
                  <a:gd name="connsiteX10" fmla="*/ 929369 w 3114620"/>
                  <a:gd name="connsiteY10" fmla="*/ 1614055 h 2403390"/>
                  <a:gd name="connsiteX11" fmla="*/ 976766 w 3114620"/>
                  <a:gd name="connsiteY11" fmla="*/ 1702659 h 2403390"/>
                  <a:gd name="connsiteX12" fmla="*/ 990871 w 3114620"/>
                  <a:gd name="connsiteY12" fmla="*/ 1762750 h 2403390"/>
                  <a:gd name="connsiteX13" fmla="*/ 1023652 w 3114620"/>
                  <a:gd name="connsiteY13" fmla="*/ 1789757 h 2403390"/>
                  <a:gd name="connsiteX14" fmla="*/ 1068047 w 3114620"/>
                  <a:gd name="connsiteY14" fmla="*/ 1768884 h 2403390"/>
                  <a:gd name="connsiteX15" fmla="*/ 1110107 w 3114620"/>
                  <a:gd name="connsiteY15" fmla="*/ 1810180 h 2403390"/>
                  <a:gd name="connsiteX16" fmla="*/ 1020541 w 3114620"/>
                  <a:gd name="connsiteY16" fmla="*/ 1915774 h 2403390"/>
                  <a:gd name="connsiteX17" fmla="*/ 1055951 w 3114620"/>
                  <a:gd name="connsiteY17" fmla="*/ 1934034 h 2403390"/>
                  <a:gd name="connsiteX18" fmla="*/ 1039330 w 3114620"/>
                  <a:gd name="connsiteY18" fmla="*/ 2013952 h 2403390"/>
                  <a:gd name="connsiteX19" fmla="*/ 1049031 w 3114620"/>
                  <a:gd name="connsiteY19" fmla="*/ 2030108 h 2403390"/>
                  <a:gd name="connsiteX20" fmla="*/ 1013326 w 3114620"/>
                  <a:gd name="connsiteY20" fmla="*/ 2057465 h 2403390"/>
                  <a:gd name="connsiteX21" fmla="*/ 978602 w 3114620"/>
                  <a:gd name="connsiteY21" fmla="*/ 2013840 h 2403390"/>
                  <a:gd name="connsiteX22" fmla="*/ 959560 w 3114620"/>
                  <a:gd name="connsiteY22" fmla="*/ 2028390 h 2403390"/>
                  <a:gd name="connsiteX23" fmla="*/ 938403 w 3114620"/>
                  <a:gd name="connsiteY23" fmla="*/ 1998714 h 2403390"/>
                  <a:gd name="connsiteX24" fmla="*/ 918809 w 3114620"/>
                  <a:gd name="connsiteY24" fmla="*/ 2012738 h 2403390"/>
                  <a:gd name="connsiteX25" fmla="*/ 903584 w 3114620"/>
                  <a:gd name="connsiteY25" fmla="*/ 1992983 h 2403390"/>
                  <a:gd name="connsiteX26" fmla="*/ 884733 w 3114620"/>
                  <a:gd name="connsiteY26" fmla="*/ 2007726 h 2403390"/>
                  <a:gd name="connsiteX27" fmla="*/ 873464 w 3114620"/>
                  <a:gd name="connsiteY27" fmla="*/ 1992790 h 2403390"/>
                  <a:gd name="connsiteX28" fmla="*/ 884161 w 3114620"/>
                  <a:gd name="connsiteY28" fmla="*/ 1977516 h 2403390"/>
                  <a:gd name="connsiteX29" fmla="*/ 844184 w 3114620"/>
                  <a:gd name="connsiteY29" fmla="*/ 1938629 h 2403390"/>
                  <a:gd name="connsiteX30" fmla="*/ 728834 w 3114620"/>
                  <a:gd name="connsiteY30" fmla="*/ 1866527 h 2403390"/>
                  <a:gd name="connsiteX31" fmla="*/ 753482 w 3114620"/>
                  <a:gd name="connsiteY31" fmla="*/ 1981170 h 2403390"/>
                  <a:gd name="connsiteX32" fmla="*/ 711909 w 3114620"/>
                  <a:gd name="connsiteY32" fmla="*/ 2049710 h 2403390"/>
                  <a:gd name="connsiteX33" fmla="*/ 727133 w 3114620"/>
                  <a:gd name="connsiteY33" fmla="*/ 2087259 h 2403390"/>
                  <a:gd name="connsiteX34" fmla="*/ 666700 w 3114620"/>
                  <a:gd name="connsiteY34" fmla="*/ 2098686 h 2403390"/>
                  <a:gd name="connsiteX35" fmla="*/ 615243 w 3114620"/>
                  <a:gd name="connsiteY35" fmla="*/ 2188233 h 2403390"/>
                  <a:gd name="connsiteX36" fmla="*/ 628204 w 3114620"/>
                  <a:gd name="connsiteY36" fmla="*/ 2201505 h 2403390"/>
                  <a:gd name="connsiteX37" fmla="*/ 645275 w 3114620"/>
                  <a:gd name="connsiteY37" fmla="*/ 2184883 h 2403390"/>
                  <a:gd name="connsiteX38" fmla="*/ 678611 w 3114620"/>
                  <a:gd name="connsiteY38" fmla="*/ 2219974 h 2403390"/>
                  <a:gd name="connsiteX39" fmla="*/ 724897 w 3114620"/>
                  <a:gd name="connsiteY39" fmla="*/ 2172197 h 2403390"/>
                  <a:gd name="connsiteX40" fmla="*/ 739147 w 3114620"/>
                  <a:gd name="connsiteY40" fmla="*/ 2191720 h 2403390"/>
                  <a:gd name="connsiteX41" fmla="*/ 757929 w 3114620"/>
                  <a:gd name="connsiteY41" fmla="*/ 2177260 h 2403390"/>
                  <a:gd name="connsiteX42" fmla="*/ 797628 w 3114620"/>
                  <a:gd name="connsiteY42" fmla="*/ 2229660 h 2403390"/>
                  <a:gd name="connsiteX43" fmla="*/ 649401 w 3114620"/>
                  <a:gd name="connsiteY43" fmla="*/ 2331670 h 2403390"/>
                  <a:gd name="connsiteX44" fmla="*/ 670362 w 3114620"/>
                  <a:gd name="connsiteY44" fmla="*/ 2359380 h 2403390"/>
                  <a:gd name="connsiteX45" fmla="*/ 613593 w 3114620"/>
                  <a:gd name="connsiteY45" fmla="*/ 2403390 h 2403390"/>
                  <a:gd name="connsiteX46" fmla="*/ 552396 w 3114620"/>
                  <a:gd name="connsiteY46" fmla="*/ 2375892 h 2403390"/>
                  <a:gd name="connsiteX47" fmla="*/ 529935 w 3114620"/>
                  <a:gd name="connsiteY47" fmla="*/ 2394437 h 2403390"/>
                  <a:gd name="connsiteX48" fmla="*/ 508897 w 3114620"/>
                  <a:gd name="connsiteY48" fmla="*/ 2366384 h 2403390"/>
                  <a:gd name="connsiteX49" fmla="*/ 519550 w 3114620"/>
                  <a:gd name="connsiteY49" fmla="*/ 2347033 h 2403390"/>
                  <a:gd name="connsiteX50" fmla="*/ 485932 w 3114620"/>
                  <a:gd name="connsiteY50" fmla="*/ 2305015 h 2403390"/>
                  <a:gd name="connsiteX51" fmla="*/ 455444 w 3114620"/>
                  <a:gd name="connsiteY51" fmla="*/ 2324035 h 2403390"/>
                  <a:gd name="connsiteX52" fmla="*/ 448550 w 3114620"/>
                  <a:gd name="connsiteY52" fmla="*/ 2315017 h 2403390"/>
                  <a:gd name="connsiteX53" fmla="*/ 446754 w 3114620"/>
                  <a:gd name="connsiteY53" fmla="*/ 2272911 h 2403390"/>
                  <a:gd name="connsiteX54" fmla="*/ 426341 w 3114620"/>
                  <a:gd name="connsiteY54" fmla="*/ 2269553 h 2403390"/>
                  <a:gd name="connsiteX55" fmla="*/ 401608 w 3114620"/>
                  <a:gd name="connsiteY55" fmla="*/ 2236312 h 2403390"/>
                  <a:gd name="connsiteX56" fmla="*/ 420665 w 3114620"/>
                  <a:gd name="connsiteY56" fmla="*/ 2222178 h 2403390"/>
                  <a:gd name="connsiteX57" fmla="*/ 399069 w 3114620"/>
                  <a:gd name="connsiteY57" fmla="*/ 2193594 h 2403390"/>
                  <a:gd name="connsiteX58" fmla="*/ 361344 w 3114620"/>
                  <a:gd name="connsiteY58" fmla="*/ 2222272 h 2403390"/>
                  <a:gd name="connsiteX59" fmla="*/ 310902 w 3114620"/>
                  <a:gd name="connsiteY59" fmla="*/ 2155698 h 2403390"/>
                  <a:gd name="connsiteX60" fmla="*/ 322775 w 3114620"/>
                  <a:gd name="connsiteY60" fmla="*/ 2146338 h 2403390"/>
                  <a:gd name="connsiteX61" fmla="*/ 310412 w 3114620"/>
                  <a:gd name="connsiteY61" fmla="*/ 2134539 h 2403390"/>
                  <a:gd name="connsiteX62" fmla="*/ 255034 w 3114620"/>
                  <a:gd name="connsiteY62" fmla="*/ 2142486 h 2403390"/>
                  <a:gd name="connsiteX63" fmla="*/ 240690 w 3114620"/>
                  <a:gd name="connsiteY63" fmla="*/ 2117152 h 2403390"/>
                  <a:gd name="connsiteX64" fmla="*/ 223115 w 3114620"/>
                  <a:gd name="connsiteY64" fmla="*/ 2117191 h 2403390"/>
                  <a:gd name="connsiteX65" fmla="*/ 223511 w 3114620"/>
                  <a:gd name="connsiteY65" fmla="*/ 2081643 h 2403390"/>
                  <a:gd name="connsiteX66" fmla="*/ 195241 w 3114620"/>
                  <a:gd name="connsiteY66" fmla="*/ 2078634 h 2403390"/>
                  <a:gd name="connsiteX67" fmla="*/ 189127 w 3114620"/>
                  <a:gd name="connsiteY67" fmla="*/ 2038051 h 2403390"/>
                  <a:gd name="connsiteX68" fmla="*/ 154114 w 3114620"/>
                  <a:gd name="connsiteY68" fmla="*/ 2013900 h 2403390"/>
                  <a:gd name="connsiteX69" fmla="*/ 128796 w 3114620"/>
                  <a:gd name="connsiteY69" fmla="*/ 2035284 h 2403390"/>
                  <a:gd name="connsiteX70" fmla="*/ 111967 w 3114620"/>
                  <a:gd name="connsiteY70" fmla="*/ 1983893 h 2403390"/>
                  <a:gd name="connsiteX71" fmla="*/ 60532 w 3114620"/>
                  <a:gd name="connsiteY71" fmla="*/ 1956830 h 2403390"/>
                  <a:gd name="connsiteX72" fmla="*/ 54518 w 3114620"/>
                  <a:gd name="connsiteY72" fmla="*/ 1925168 h 2403390"/>
                  <a:gd name="connsiteX73" fmla="*/ 29212 w 3114620"/>
                  <a:gd name="connsiteY73" fmla="*/ 1901953 h 2403390"/>
                  <a:gd name="connsiteX74" fmla="*/ 18912 w 3114620"/>
                  <a:gd name="connsiteY74" fmla="*/ 1909393 h 2403390"/>
                  <a:gd name="connsiteX75" fmla="*/ 22076 w 3114620"/>
                  <a:gd name="connsiteY75" fmla="*/ 1883164 h 2403390"/>
                  <a:gd name="connsiteX76" fmla="*/ 0 w 3114620"/>
                  <a:gd name="connsiteY76" fmla="*/ 1868835 h 2403390"/>
                  <a:gd name="connsiteX77" fmla="*/ 33114 w 3114620"/>
                  <a:gd name="connsiteY77" fmla="*/ 1768294 h 2403390"/>
                  <a:gd name="connsiteX78" fmla="*/ 67074 w 3114620"/>
                  <a:gd name="connsiteY78" fmla="*/ 1729783 h 2403390"/>
                  <a:gd name="connsiteX79" fmla="*/ 118829 w 3114620"/>
                  <a:gd name="connsiteY79" fmla="*/ 1705198 h 2403390"/>
                  <a:gd name="connsiteX80" fmla="*/ 136665 w 3114620"/>
                  <a:gd name="connsiteY80" fmla="*/ 1667810 h 2403390"/>
                  <a:gd name="connsiteX81" fmla="*/ 123507 w 3114620"/>
                  <a:gd name="connsiteY81" fmla="*/ 1655024 h 2403390"/>
                  <a:gd name="connsiteX82" fmla="*/ 179302 w 3114620"/>
                  <a:gd name="connsiteY82" fmla="*/ 1618922 h 2403390"/>
                  <a:gd name="connsiteX83" fmla="*/ 155622 w 3114620"/>
                  <a:gd name="connsiteY83" fmla="*/ 1570944 h 2403390"/>
                  <a:gd name="connsiteX84" fmla="*/ 169450 w 3114620"/>
                  <a:gd name="connsiteY84" fmla="*/ 1508859 h 2403390"/>
                  <a:gd name="connsiteX85" fmla="*/ 201618 w 3114620"/>
                  <a:gd name="connsiteY85" fmla="*/ 1495776 h 2403390"/>
                  <a:gd name="connsiteX86" fmla="*/ 223311 w 3114620"/>
                  <a:gd name="connsiteY86" fmla="*/ 1434625 h 2403390"/>
                  <a:gd name="connsiteX87" fmla="*/ 253594 w 3114620"/>
                  <a:gd name="connsiteY87" fmla="*/ 1460904 h 2403390"/>
                  <a:gd name="connsiteX88" fmla="*/ 344532 w 3114620"/>
                  <a:gd name="connsiteY88" fmla="*/ 1423935 h 2403390"/>
                  <a:gd name="connsiteX89" fmla="*/ 359038 w 3114620"/>
                  <a:gd name="connsiteY89" fmla="*/ 1319333 h 2403390"/>
                  <a:gd name="connsiteX90" fmla="*/ 381999 w 3114620"/>
                  <a:gd name="connsiteY90" fmla="*/ 1276783 h 2403390"/>
                  <a:gd name="connsiteX91" fmla="*/ 2464657 w 3114620"/>
                  <a:gd name="connsiteY91" fmla="*/ 880982 h 2403390"/>
                  <a:gd name="connsiteX92" fmla="*/ 2572214 w 3114620"/>
                  <a:gd name="connsiteY92" fmla="*/ 896377 h 2403390"/>
                  <a:gd name="connsiteX93" fmla="*/ 2650714 w 3114620"/>
                  <a:gd name="connsiteY93" fmla="*/ 945444 h 2403390"/>
                  <a:gd name="connsiteX94" fmla="*/ 2696966 w 3114620"/>
                  <a:gd name="connsiteY94" fmla="*/ 955696 h 2403390"/>
                  <a:gd name="connsiteX95" fmla="*/ 2820857 w 3114620"/>
                  <a:gd name="connsiteY95" fmla="*/ 927872 h 2403390"/>
                  <a:gd name="connsiteX96" fmla="*/ 2865541 w 3114620"/>
                  <a:gd name="connsiteY96" fmla="*/ 932514 h 2403390"/>
                  <a:gd name="connsiteX97" fmla="*/ 2911621 w 3114620"/>
                  <a:gd name="connsiteY97" fmla="*/ 965575 h 2403390"/>
                  <a:gd name="connsiteX98" fmla="*/ 2924719 w 3114620"/>
                  <a:gd name="connsiteY98" fmla="*/ 999382 h 2403390"/>
                  <a:gd name="connsiteX99" fmla="*/ 2917478 w 3114620"/>
                  <a:gd name="connsiteY99" fmla="*/ 1049546 h 2403390"/>
                  <a:gd name="connsiteX100" fmla="*/ 2844618 w 3114620"/>
                  <a:gd name="connsiteY100" fmla="*/ 1108357 h 2403390"/>
                  <a:gd name="connsiteX101" fmla="*/ 2566958 w 3114620"/>
                  <a:gd name="connsiteY101" fmla="*/ 1101736 h 2403390"/>
                  <a:gd name="connsiteX102" fmla="*/ 2488137 w 3114620"/>
                  <a:gd name="connsiteY102" fmla="*/ 1113518 h 2403390"/>
                  <a:gd name="connsiteX103" fmla="*/ 2276312 w 3114620"/>
                  <a:gd name="connsiteY103" fmla="*/ 1190165 h 2403390"/>
                  <a:gd name="connsiteX104" fmla="*/ 2050412 w 3114620"/>
                  <a:gd name="connsiteY104" fmla="*/ 1300960 h 2403390"/>
                  <a:gd name="connsiteX105" fmla="*/ 1982224 w 3114620"/>
                  <a:gd name="connsiteY105" fmla="*/ 1400779 h 2403390"/>
                  <a:gd name="connsiteX106" fmla="*/ 1967855 w 3114620"/>
                  <a:gd name="connsiteY106" fmla="*/ 1458838 h 2403390"/>
                  <a:gd name="connsiteX107" fmla="*/ 1985457 w 3114620"/>
                  <a:gd name="connsiteY107" fmla="*/ 1557298 h 2403390"/>
                  <a:gd name="connsiteX108" fmla="*/ 1975275 w 3114620"/>
                  <a:gd name="connsiteY108" fmla="*/ 1595744 h 2403390"/>
                  <a:gd name="connsiteX109" fmla="*/ 1913533 w 3114620"/>
                  <a:gd name="connsiteY109" fmla="*/ 1619967 h 2403390"/>
                  <a:gd name="connsiteX110" fmla="*/ 1809091 w 3114620"/>
                  <a:gd name="connsiteY110" fmla="*/ 1540841 h 2403390"/>
                  <a:gd name="connsiteX111" fmla="*/ 1752494 w 3114620"/>
                  <a:gd name="connsiteY111" fmla="*/ 1432538 h 2403390"/>
                  <a:gd name="connsiteX112" fmla="*/ 1744380 w 3114620"/>
                  <a:gd name="connsiteY112" fmla="*/ 1264617 h 2403390"/>
                  <a:gd name="connsiteX113" fmla="*/ 1773672 w 3114620"/>
                  <a:gd name="connsiteY113" fmla="*/ 1205125 h 2403390"/>
                  <a:gd name="connsiteX114" fmla="*/ 1813202 w 3114620"/>
                  <a:gd name="connsiteY114" fmla="*/ 1173827 h 2403390"/>
                  <a:gd name="connsiteX115" fmla="*/ 1887947 w 3114620"/>
                  <a:gd name="connsiteY115" fmla="*/ 1165417 h 2403390"/>
                  <a:gd name="connsiteX116" fmla="*/ 1895195 w 3114620"/>
                  <a:gd name="connsiteY116" fmla="*/ 1134242 h 2403390"/>
                  <a:gd name="connsiteX117" fmla="*/ 1921718 w 3114620"/>
                  <a:gd name="connsiteY117" fmla="*/ 1115423 h 2403390"/>
                  <a:gd name="connsiteX118" fmla="*/ 2032903 w 3114620"/>
                  <a:gd name="connsiteY118" fmla="*/ 1086211 h 2403390"/>
                  <a:gd name="connsiteX119" fmla="*/ 2060545 w 3114620"/>
                  <a:gd name="connsiteY119" fmla="*/ 1030650 h 2403390"/>
                  <a:gd name="connsiteX120" fmla="*/ 2170288 w 3114620"/>
                  <a:gd name="connsiteY120" fmla="*/ 1006812 h 2403390"/>
                  <a:gd name="connsiteX121" fmla="*/ 2265263 w 3114620"/>
                  <a:gd name="connsiteY121" fmla="*/ 920510 h 2403390"/>
                  <a:gd name="connsiteX122" fmla="*/ 2364931 w 3114620"/>
                  <a:gd name="connsiteY122" fmla="*/ 917960 h 2403390"/>
                  <a:gd name="connsiteX123" fmla="*/ 2517925 w 3114620"/>
                  <a:gd name="connsiteY123" fmla="*/ 0 h 2403390"/>
                  <a:gd name="connsiteX124" fmla="*/ 2598826 w 3114620"/>
                  <a:gd name="connsiteY124" fmla="*/ 25278 h 2403390"/>
                  <a:gd name="connsiteX125" fmla="*/ 2660712 w 3114620"/>
                  <a:gd name="connsiteY125" fmla="*/ 69667 h 2403390"/>
                  <a:gd name="connsiteX126" fmla="*/ 2694998 w 3114620"/>
                  <a:gd name="connsiteY126" fmla="*/ 53293 h 2403390"/>
                  <a:gd name="connsiteX127" fmla="*/ 2728611 w 3114620"/>
                  <a:gd name="connsiteY127" fmla="*/ 63673 h 2403390"/>
                  <a:gd name="connsiteX128" fmla="*/ 2753236 w 3114620"/>
                  <a:gd name="connsiteY128" fmla="*/ 106010 h 2403390"/>
                  <a:gd name="connsiteX129" fmla="*/ 2725305 w 3114620"/>
                  <a:gd name="connsiteY129" fmla="*/ 147715 h 2403390"/>
                  <a:gd name="connsiteX130" fmla="*/ 2730836 w 3114620"/>
                  <a:gd name="connsiteY130" fmla="*/ 168331 h 2403390"/>
                  <a:gd name="connsiteX131" fmla="*/ 2798153 w 3114620"/>
                  <a:gd name="connsiteY131" fmla="*/ 104848 h 2403390"/>
                  <a:gd name="connsiteX132" fmla="*/ 2886448 w 3114620"/>
                  <a:gd name="connsiteY132" fmla="*/ 126225 h 2403390"/>
                  <a:gd name="connsiteX133" fmla="*/ 2942667 w 3114620"/>
                  <a:gd name="connsiteY133" fmla="*/ 111422 h 2403390"/>
                  <a:gd name="connsiteX134" fmla="*/ 2988053 w 3114620"/>
                  <a:gd name="connsiteY134" fmla="*/ 128686 h 2403390"/>
                  <a:gd name="connsiteX135" fmla="*/ 3114518 w 3114620"/>
                  <a:gd name="connsiteY135" fmla="*/ 247449 h 2403390"/>
                  <a:gd name="connsiteX136" fmla="*/ 3114620 w 3114620"/>
                  <a:gd name="connsiteY136" fmla="*/ 366934 h 2403390"/>
                  <a:gd name="connsiteX137" fmla="*/ 3099356 w 3114620"/>
                  <a:gd name="connsiteY137" fmla="*/ 403239 h 2403390"/>
                  <a:gd name="connsiteX138" fmla="*/ 3051778 w 3114620"/>
                  <a:gd name="connsiteY138" fmla="*/ 429000 h 2403390"/>
                  <a:gd name="connsiteX139" fmla="*/ 2956186 w 3114620"/>
                  <a:gd name="connsiteY139" fmla="*/ 410996 h 2403390"/>
                  <a:gd name="connsiteX140" fmla="*/ 2883860 w 3114620"/>
                  <a:gd name="connsiteY140" fmla="*/ 433197 h 2403390"/>
                  <a:gd name="connsiteX141" fmla="*/ 2847217 w 3114620"/>
                  <a:gd name="connsiteY141" fmla="*/ 463506 h 2403390"/>
                  <a:gd name="connsiteX142" fmla="*/ 2769581 w 3114620"/>
                  <a:gd name="connsiteY142" fmla="*/ 447707 h 2403390"/>
                  <a:gd name="connsiteX143" fmla="*/ 2751038 w 3114620"/>
                  <a:gd name="connsiteY143" fmla="*/ 423706 h 2403390"/>
                  <a:gd name="connsiteX144" fmla="*/ 2752983 w 3114620"/>
                  <a:gd name="connsiteY144" fmla="*/ 393653 h 2403390"/>
                  <a:gd name="connsiteX145" fmla="*/ 2680440 w 3114620"/>
                  <a:gd name="connsiteY145" fmla="*/ 310094 h 2403390"/>
                  <a:gd name="connsiteX146" fmla="*/ 2582682 w 3114620"/>
                  <a:gd name="connsiteY146" fmla="*/ 282356 h 2403390"/>
                  <a:gd name="connsiteX147" fmla="*/ 2495895 w 3114620"/>
                  <a:gd name="connsiteY147" fmla="*/ 174604 h 2403390"/>
                  <a:gd name="connsiteX148" fmla="*/ 2489194 w 3114620"/>
                  <a:gd name="connsiteY148" fmla="*/ 6858 h 2403390"/>
                  <a:gd name="connsiteX149" fmla="*/ 2489147 w 3114620"/>
                  <a:gd name="connsiteY149" fmla="*/ 6858 h 2403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</a:cxnLst>
                <a:rect l="l" t="t" r="r" b="b"/>
                <a:pathLst>
                  <a:path w="3114620" h="2403390">
                    <a:moveTo>
                      <a:pt x="502083" y="1151747"/>
                    </a:moveTo>
                    <a:lnTo>
                      <a:pt x="502084" y="1151750"/>
                    </a:lnTo>
                    <a:lnTo>
                      <a:pt x="501863" y="1230827"/>
                    </a:lnTo>
                    <a:lnTo>
                      <a:pt x="582213" y="1356067"/>
                    </a:lnTo>
                    <a:lnTo>
                      <a:pt x="669077" y="1405219"/>
                    </a:lnTo>
                    <a:lnTo>
                      <a:pt x="888876" y="1429875"/>
                    </a:lnTo>
                    <a:lnTo>
                      <a:pt x="911616" y="1424965"/>
                    </a:lnTo>
                    <a:lnTo>
                      <a:pt x="1056967" y="1184486"/>
                    </a:lnTo>
                    <a:lnTo>
                      <a:pt x="939019" y="1458882"/>
                    </a:lnTo>
                    <a:lnTo>
                      <a:pt x="925017" y="1564035"/>
                    </a:lnTo>
                    <a:lnTo>
                      <a:pt x="929369" y="1614055"/>
                    </a:lnTo>
                    <a:lnTo>
                      <a:pt x="976766" y="1702659"/>
                    </a:lnTo>
                    <a:lnTo>
                      <a:pt x="990871" y="1762750"/>
                    </a:lnTo>
                    <a:lnTo>
                      <a:pt x="1023652" y="1789757"/>
                    </a:lnTo>
                    <a:lnTo>
                      <a:pt x="1068047" y="1768884"/>
                    </a:lnTo>
                    <a:lnTo>
                      <a:pt x="1110107" y="1810180"/>
                    </a:lnTo>
                    <a:lnTo>
                      <a:pt x="1020541" y="1915774"/>
                    </a:lnTo>
                    <a:lnTo>
                      <a:pt x="1055951" y="1934034"/>
                    </a:lnTo>
                    <a:lnTo>
                      <a:pt x="1039330" y="2013952"/>
                    </a:lnTo>
                    <a:lnTo>
                      <a:pt x="1049031" y="2030108"/>
                    </a:lnTo>
                    <a:lnTo>
                      <a:pt x="1013326" y="2057465"/>
                    </a:lnTo>
                    <a:lnTo>
                      <a:pt x="978602" y="2013840"/>
                    </a:lnTo>
                    <a:lnTo>
                      <a:pt x="959560" y="2028390"/>
                    </a:lnTo>
                    <a:lnTo>
                      <a:pt x="938403" y="1998714"/>
                    </a:lnTo>
                    <a:lnTo>
                      <a:pt x="918809" y="2012738"/>
                    </a:lnTo>
                    <a:lnTo>
                      <a:pt x="903584" y="1992983"/>
                    </a:lnTo>
                    <a:lnTo>
                      <a:pt x="884733" y="2007726"/>
                    </a:lnTo>
                    <a:lnTo>
                      <a:pt x="873464" y="1992790"/>
                    </a:lnTo>
                    <a:lnTo>
                      <a:pt x="884161" y="1977516"/>
                    </a:lnTo>
                    <a:lnTo>
                      <a:pt x="844184" y="1938629"/>
                    </a:lnTo>
                    <a:lnTo>
                      <a:pt x="728834" y="1866527"/>
                    </a:lnTo>
                    <a:lnTo>
                      <a:pt x="753482" y="1981170"/>
                    </a:lnTo>
                    <a:lnTo>
                      <a:pt x="711909" y="2049710"/>
                    </a:lnTo>
                    <a:lnTo>
                      <a:pt x="727133" y="2087259"/>
                    </a:lnTo>
                    <a:lnTo>
                      <a:pt x="666700" y="2098686"/>
                    </a:lnTo>
                    <a:lnTo>
                      <a:pt x="615243" y="2188233"/>
                    </a:lnTo>
                    <a:lnTo>
                      <a:pt x="628204" y="2201505"/>
                    </a:lnTo>
                    <a:lnTo>
                      <a:pt x="645275" y="2184883"/>
                    </a:lnTo>
                    <a:lnTo>
                      <a:pt x="678611" y="2219974"/>
                    </a:lnTo>
                    <a:lnTo>
                      <a:pt x="724897" y="2172197"/>
                    </a:lnTo>
                    <a:lnTo>
                      <a:pt x="739147" y="2191720"/>
                    </a:lnTo>
                    <a:lnTo>
                      <a:pt x="757929" y="2177260"/>
                    </a:lnTo>
                    <a:lnTo>
                      <a:pt x="797628" y="2229660"/>
                    </a:lnTo>
                    <a:lnTo>
                      <a:pt x="649401" y="2331670"/>
                    </a:lnTo>
                    <a:lnTo>
                      <a:pt x="670362" y="2359380"/>
                    </a:lnTo>
                    <a:lnTo>
                      <a:pt x="613593" y="2403390"/>
                    </a:lnTo>
                    <a:lnTo>
                      <a:pt x="552396" y="2375892"/>
                    </a:lnTo>
                    <a:lnTo>
                      <a:pt x="529935" y="2394437"/>
                    </a:lnTo>
                    <a:lnTo>
                      <a:pt x="508897" y="2366384"/>
                    </a:lnTo>
                    <a:lnTo>
                      <a:pt x="519550" y="2347033"/>
                    </a:lnTo>
                    <a:lnTo>
                      <a:pt x="485932" y="2305015"/>
                    </a:lnTo>
                    <a:lnTo>
                      <a:pt x="455444" y="2324035"/>
                    </a:lnTo>
                    <a:lnTo>
                      <a:pt x="448550" y="2315017"/>
                    </a:lnTo>
                    <a:lnTo>
                      <a:pt x="446754" y="2272911"/>
                    </a:lnTo>
                    <a:lnTo>
                      <a:pt x="426341" y="2269553"/>
                    </a:lnTo>
                    <a:lnTo>
                      <a:pt x="401608" y="2236312"/>
                    </a:lnTo>
                    <a:lnTo>
                      <a:pt x="420665" y="2222178"/>
                    </a:lnTo>
                    <a:lnTo>
                      <a:pt x="399069" y="2193594"/>
                    </a:lnTo>
                    <a:lnTo>
                      <a:pt x="361344" y="2222272"/>
                    </a:lnTo>
                    <a:lnTo>
                      <a:pt x="310902" y="2155698"/>
                    </a:lnTo>
                    <a:lnTo>
                      <a:pt x="322775" y="2146338"/>
                    </a:lnTo>
                    <a:lnTo>
                      <a:pt x="310412" y="2134539"/>
                    </a:lnTo>
                    <a:lnTo>
                      <a:pt x="255034" y="2142486"/>
                    </a:lnTo>
                    <a:lnTo>
                      <a:pt x="240690" y="2117152"/>
                    </a:lnTo>
                    <a:lnTo>
                      <a:pt x="223115" y="2117191"/>
                    </a:lnTo>
                    <a:lnTo>
                      <a:pt x="223511" y="2081643"/>
                    </a:lnTo>
                    <a:lnTo>
                      <a:pt x="195241" y="2078634"/>
                    </a:lnTo>
                    <a:lnTo>
                      <a:pt x="189127" y="2038051"/>
                    </a:lnTo>
                    <a:lnTo>
                      <a:pt x="154114" y="2013900"/>
                    </a:lnTo>
                    <a:lnTo>
                      <a:pt x="128796" y="2035284"/>
                    </a:lnTo>
                    <a:lnTo>
                      <a:pt x="111967" y="1983893"/>
                    </a:lnTo>
                    <a:lnTo>
                      <a:pt x="60532" y="1956830"/>
                    </a:lnTo>
                    <a:lnTo>
                      <a:pt x="54518" y="1925168"/>
                    </a:lnTo>
                    <a:lnTo>
                      <a:pt x="29212" y="1901953"/>
                    </a:lnTo>
                    <a:lnTo>
                      <a:pt x="18912" y="1909393"/>
                    </a:lnTo>
                    <a:lnTo>
                      <a:pt x="22076" y="1883164"/>
                    </a:lnTo>
                    <a:lnTo>
                      <a:pt x="0" y="1868835"/>
                    </a:lnTo>
                    <a:lnTo>
                      <a:pt x="33114" y="1768294"/>
                    </a:lnTo>
                    <a:lnTo>
                      <a:pt x="67074" y="1729783"/>
                    </a:lnTo>
                    <a:lnTo>
                      <a:pt x="118829" y="1705198"/>
                    </a:lnTo>
                    <a:lnTo>
                      <a:pt x="136665" y="1667810"/>
                    </a:lnTo>
                    <a:lnTo>
                      <a:pt x="123507" y="1655024"/>
                    </a:lnTo>
                    <a:lnTo>
                      <a:pt x="179302" y="1618922"/>
                    </a:lnTo>
                    <a:lnTo>
                      <a:pt x="155622" y="1570944"/>
                    </a:lnTo>
                    <a:lnTo>
                      <a:pt x="169450" y="1508859"/>
                    </a:lnTo>
                    <a:lnTo>
                      <a:pt x="201618" y="1495776"/>
                    </a:lnTo>
                    <a:lnTo>
                      <a:pt x="223311" y="1434625"/>
                    </a:lnTo>
                    <a:lnTo>
                      <a:pt x="253594" y="1460904"/>
                    </a:lnTo>
                    <a:lnTo>
                      <a:pt x="344532" y="1423935"/>
                    </a:lnTo>
                    <a:lnTo>
                      <a:pt x="359038" y="1319333"/>
                    </a:lnTo>
                    <a:lnTo>
                      <a:pt x="381999" y="1276783"/>
                    </a:lnTo>
                    <a:close/>
                    <a:moveTo>
                      <a:pt x="2464657" y="880982"/>
                    </a:moveTo>
                    <a:lnTo>
                      <a:pt x="2572214" y="896377"/>
                    </a:lnTo>
                    <a:lnTo>
                      <a:pt x="2650714" y="945444"/>
                    </a:lnTo>
                    <a:lnTo>
                      <a:pt x="2696966" y="955696"/>
                    </a:lnTo>
                    <a:lnTo>
                      <a:pt x="2820857" y="927872"/>
                    </a:lnTo>
                    <a:lnTo>
                      <a:pt x="2865541" y="932514"/>
                    </a:lnTo>
                    <a:lnTo>
                      <a:pt x="2911621" y="965575"/>
                    </a:lnTo>
                    <a:lnTo>
                      <a:pt x="2924719" y="999382"/>
                    </a:lnTo>
                    <a:lnTo>
                      <a:pt x="2917478" y="1049546"/>
                    </a:lnTo>
                    <a:lnTo>
                      <a:pt x="2844618" y="1108357"/>
                    </a:lnTo>
                    <a:lnTo>
                      <a:pt x="2566958" y="1101736"/>
                    </a:lnTo>
                    <a:lnTo>
                      <a:pt x="2488137" y="1113518"/>
                    </a:lnTo>
                    <a:lnTo>
                      <a:pt x="2276312" y="1190165"/>
                    </a:lnTo>
                    <a:lnTo>
                      <a:pt x="2050412" y="1300960"/>
                    </a:lnTo>
                    <a:lnTo>
                      <a:pt x="1982224" y="1400779"/>
                    </a:lnTo>
                    <a:lnTo>
                      <a:pt x="1967855" y="1458838"/>
                    </a:lnTo>
                    <a:lnTo>
                      <a:pt x="1985457" y="1557298"/>
                    </a:lnTo>
                    <a:lnTo>
                      <a:pt x="1975275" y="1595744"/>
                    </a:lnTo>
                    <a:lnTo>
                      <a:pt x="1913533" y="1619967"/>
                    </a:lnTo>
                    <a:lnTo>
                      <a:pt x="1809091" y="1540841"/>
                    </a:lnTo>
                    <a:lnTo>
                      <a:pt x="1752494" y="1432538"/>
                    </a:lnTo>
                    <a:lnTo>
                      <a:pt x="1744380" y="1264617"/>
                    </a:lnTo>
                    <a:lnTo>
                      <a:pt x="1773672" y="1205125"/>
                    </a:lnTo>
                    <a:lnTo>
                      <a:pt x="1813202" y="1173827"/>
                    </a:lnTo>
                    <a:lnTo>
                      <a:pt x="1887947" y="1165417"/>
                    </a:lnTo>
                    <a:lnTo>
                      <a:pt x="1895195" y="1134242"/>
                    </a:lnTo>
                    <a:lnTo>
                      <a:pt x="1921718" y="1115423"/>
                    </a:lnTo>
                    <a:lnTo>
                      <a:pt x="2032903" y="1086211"/>
                    </a:lnTo>
                    <a:lnTo>
                      <a:pt x="2060545" y="1030650"/>
                    </a:lnTo>
                    <a:lnTo>
                      <a:pt x="2170288" y="1006812"/>
                    </a:lnTo>
                    <a:lnTo>
                      <a:pt x="2265263" y="920510"/>
                    </a:lnTo>
                    <a:lnTo>
                      <a:pt x="2364931" y="917960"/>
                    </a:lnTo>
                    <a:close/>
                    <a:moveTo>
                      <a:pt x="2517925" y="0"/>
                    </a:moveTo>
                    <a:lnTo>
                      <a:pt x="2598826" y="25278"/>
                    </a:lnTo>
                    <a:lnTo>
                      <a:pt x="2660712" y="69667"/>
                    </a:lnTo>
                    <a:lnTo>
                      <a:pt x="2694998" y="53293"/>
                    </a:lnTo>
                    <a:lnTo>
                      <a:pt x="2728611" y="63673"/>
                    </a:lnTo>
                    <a:lnTo>
                      <a:pt x="2753236" y="106010"/>
                    </a:lnTo>
                    <a:lnTo>
                      <a:pt x="2725305" y="147715"/>
                    </a:lnTo>
                    <a:lnTo>
                      <a:pt x="2730836" y="168331"/>
                    </a:lnTo>
                    <a:lnTo>
                      <a:pt x="2798153" y="104848"/>
                    </a:lnTo>
                    <a:lnTo>
                      <a:pt x="2886448" y="126225"/>
                    </a:lnTo>
                    <a:lnTo>
                      <a:pt x="2942667" y="111422"/>
                    </a:lnTo>
                    <a:lnTo>
                      <a:pt x="2988053" y="128686"/>
                    </a:lnTo>
                    <a:lnTo>
                      <a:pt x="3114518" y="247449"/>
                    </a:lnTo>
                    <a:lnTo>
                      <a:pt x="3114620" y="366934"/>
                    </a:lnTo>
                    <a:lnTo>
                      <a:pt x="3099356" y="403239"/>
                    </a:lnTo>
                    <a:lnTo>
                      <a:pt x="3051778" y="429000"/>
                    </a:lnTo>
                    <a:lnTo>
                      <a:pt x="2956186" y="410996"/>
                    </a:lnTo>
                    <a:lnTo>
                      <a:pt x="2883860" y="433197"/>
                    </a:lnTo>
                    <a:lnTo>
                      <a:pt x="2847217" y="463506"/>
                    </a:lnTo>
                    <a:lnTo>
                      <a:pt x="2769581" y="447707"/>
                    </a:lnTo>
                    <a:lnTo>
                      <a:pt x="2751038" y="423706"/>
                    </a:lnTo>
                    <a:lnTo>
                      <a:pt x="2752983" y="393653"/>
                    </a:lnTo>
                    <a:lnTo>
                      <a:pt x="2680440" y="310094"/>
                    </a:lnTo>
                    <a:lnTo>
                      <a:pt x="2582682" y="282356"/>
                    </a:lnTo>
                    <a:lnTo>
                      <a:pt x="2495895" y="174604"/>
                    </a:lnTo>
                    <a:lnTo>
                      <a:pt x="2489194" y="6858"/>
                    </a:lnTo>
                    <a:lnTo>
                      <a:pt x="2489147" y="6858"/>
                    </a:lnTo>
                    <a:close/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1" name="Ненецкий автономный округ">
                <a:extLst>
                  <a:ext uri="{FF2B5EF4-FFF2-40B4-BE49-F238E27FC236}">
                    <a16:creationId xmlns:a16="http://schemas.microsoft.com/office/drawing/2014/main" id="{552C0AEC-EF11-42ED-A02F-7A97ADDA5C25}"/>
                  </a:ext>
                </a:extLst>
              </p:cNvPr>
              <p:cNvSpPr/>
              <p:nvPr/>
            </p:nvSpPr>
            <p:spPr>
              <a:xfrm>
                <a:off x="3455261" y="1800837"/>
                <a:ext cx="1295626" cy="991183"/>
              </a:xfrm>
              <a:custGeom>
                <a:avLst/>
                <a:gdLst>
                  <a:gd name="connsiteX0" fmla="*/ 482172 w 1295626"/>
                  <a:gd name="connsiteY0" fmla="*/ 199895 h 991183"/>
                  <a:gd name="connsiteX1" fmla="*/ 551108 w 1295626"/>
                  <a:gd name="connsiteY1" fmla="*/ 204651 h 991183"/>
                  <a:gd name="connsiteX2" fmla="*/ 580213 w 1295626"/>
                  <a:gd name="connsiteY2" fmla="*/ 238281 h 991183"/>
                  <a:gd name="connsiteX3" fmla="*/ 591737 w 1295626"/>
                  <a:gd name="connsiteY3" fmla="*/ 302358 h 991183"/>
                  <a:gd name="connsiteX4" fmla="*/ 582437 w 1295626"/>
                  <a:gd name="connsiteY4" fmla="*/ 340604 h 991183"/>
                  <a:gd name="connsiteX5" fmla="*/ 537463 w 1295626"/>
                  <a:gd name="connsiteY5" fmla="*/ 368017 h 991183"/>
                  <a:gd name="connsiteX6" fmla="*/ 455950 w 1295626"/>
                  <a:gd name="connsiteY6" fmla="*/ 374894 h 991183"/>
                  <a:gd name="connsiteX7" fmla="*/ 398467 w 1295626"/>
                  <a:gd name="connsiteY7" fmla="*/ 304181 h 991183"/>
                  <a:gd name="connsiteX8" fmla="*/ 419441 w 1295626"/>
                  <a:gd name="connsiteY8" fmla="*/ 245748 h 991183"/>
                  <a:gd name="connsiteX9" fmla="*/ 131952 w 1295626"/>
                  <a:gd name="connsiteY9" fmla="*/ 0 h 991183"/>
                  <a:gd name="connsiteX10" fmla="*/ 236746 w 1295626"/>
                  <a:gd name="connsiteY10" fmla="*/ 78916 h 991183"/>
                  <a:gd name="connsiteX11" fmla="*/ 257687 w 1295626"/>
                  <a:gd name="connsiteY11" fmla="*/ 129768 h 991183"/>
                  <a:gd name="connsiteX12" fmla="*/ 306606 w 1295626"/>
                  <a:gd name="connsiteY12" fmla="*/ 181681 h 991183"/>
                  <a:gd name="connsiteX13" fmla="*/ 331452 w 1295626"/>
                  <a:gd name="connsiteY13" fmla="*/ 264637 h 991183"/>
                  <a:gd name="connsiteX14" fmla="*/ 299906 w 1295626"/>
                  <a:gd name="connsiteY14" fmla="*/ 327201 h 991183"/>
                  <a:gd name="connsiteX15" fmla="*/ 396926 w 1295626"/>
                  <a:gd name="connsiteY15" fmla="*/ 402808 h 991183"/>
                  <a:gd name="connsiteX16" fmla="*/ 523796 w 1295626"/>
                  <a:gd name="connsiteY16" fmla="*/ 399550 h 991183"/>
                  <a:gd name="connsiteX17" fmla="*/ 575719 w 1295626"/>
                  <a:gd name="connsiteY17" fmla="*/ 428469 h 991183"/>
                  <a:gd name="connsiteX18" fmla="*/ 709448 w 1295626"/>
                  <a:gd name="connsiteY18" fmla="*/ 446317 h 991183"/>
                  <a:gd name="connsiteX19" fmla="*/ 752385 w 1295626"/>
                  <a:gd name="connsiteY19" fmla="*/ 473304 h 991183"/>
                  <a:gd name="connsiteX20" fmla="*/ 856123 w 1295626"/>
                  <a:gd name="connsiteY20" fmla="*/ 605121 h 991183"/>
                  <a:gd name="connsiteX21" fmla="*/ 914720 w 1295626"/>
                  <a:gd name="connsiteY21" fmla="*/ 608039 h 991183"/>
                  <a:gd name="connsiteX22" fmla="*/ 929374 w 1295626"/>
                  <a:gd name="connsiteY22" fmla="*/ 550250 h 991183"/>
                  <a:gd name="connsiteX23" fmla="*/ 984675 w 1295626"/>
                  <a:gd name="connsiteY23" fmla="*/ 486747 h 991183"/>
                  <a:gd name="connsiteX24" fmla="*/ 988515 w 1295626"/>
                  <a:gd name="connsiteY24" fmla="*/ 435481 h 991183"/>
                  <a:gd name="connsiteX25" fmla="*/ 1050828 w 1295626"/>
                  <a:gd name="connsiteY25" fmla="*/ 411220 h 991183"/>
                  <a:gd name="connsiteX26" fmla="*/ 1091331 w 1295626"/>
                  <a:gd name="connsiteY26" fmla="*/ 430751 h 991183"/>
                  <a:gd name="connsiteX27" fmla="*/ 1120028 w 1295626"/>
                  <a:gd name="connsiteY27" fmla="*/ 554109 h 991183"/>
                  <a:gd name="connsiteX28" fmla="*/ 1247150 w 1295626"/>
                  <a:gd name="connsiteY28" fmla="*/ 687023 h 991183"/>
                  <a:gd name="connsiteX29" fmla="*/ 1295626 w 1295626"/>
                  <a:gd name="connsiteY29" fmla="*/ 780756 h 991183"/>
                  <a:gd name="connsiteX30" fmla="*/ 1214013 w 1295626"/>
                  <a:gd name="connsiteY30" fmla="*/ 811892 h 991183"/>
                  <a:gd name="connsiteX31" fmla="*/ 1207789 w 1295626"/>
                  <a:gd name="connsiteY31" fmla="*/ 829086 h 991183"/>
                  <a:gd name="connsiteX32" fmla="*/ 1245027 w 1295626"/>
                  <a:gd name="connsiteY32" fmla="*/ 862072 h 991183"/>
                  <a:gd name="connsiteX33" fmla="*/ 1239897 w 1295626"/>
                  <a:gd name="connsiteY33" fmla="*/ 903813 h 991183"/>
                  <a:gd name="connsiteX34" fmla="*/ 1220416 w 1295626"/>
                  <a:gd name="connsiteY34" fmla="*/ 915589 h 991183"/>
                  <a:gd name="connsiteX35" fmla="*/ 1170218 w 1295626"/>
                  <a:gd name="connsiteY35" fmla="*/ 898406 h 991183"/>
                  <a:gd name="connsiteX36" fmla="*/ 1157345 w 1295626"/>
                  <a:gd name="connsiteY36" fmla="*/ 920668 h 991183"/>
                  <a:gd name="connsiteX37" fmla="*/ 1108378 w 1295626"/>
                  <a:gd name="connsiteY37" fmla="*/ 921819 h 991183"/>
                  <a:gd name="connsiteX38" fmla="*/ 1105057 w 1295626"/>
                  <a:gd name="connsiteY38" fmla="*/ 943577 h 991183"/>
                  <a:gd name="connsiteX39" fmla="*/ 1078430 w 1295626"/>
                  <a:gd name="connsiteY39" fmla="*/ 960392 h 991183"/>
                  <a:gd name="connsiteX40" fmla="*/ 1043983 w 1295626"/>
                  <a:gd name="connsiteY40" fmla="*/ 946101 h 991183"/>
                  <a:gd name="connsiteX41" fmla="*/ 1003907 w 1295626"/>
                  <a:gd name="connsiteY41" fmla="*/ 980762 h 991183"/>
                  <a:gd name="connsiteX42" fmla="*/ 906697 w 1295626"/>
                  <a:gd name="connsiteY42" fmla="*/ 991183 h 991183"/>
                  <a:gd name="connsiteX43" fmla="*/ 815023 w 1295626"/>
                  <a:gd name="connsiteY43" fmla="*/ 940727 h 991183"/>
                  <a:gd name="connsiteX44" fmla="*/ 563048 w 1295626"/>
                  <a:gd name="connsiteY44" fmla="*/ 756581 h 991183"/>
                  <a:gd name="connsiteX45" fmla="*/ 436563 w 1295626"/>
                  <a:gd name="connsiteY45" fmla="*/ 637793 h 991183"/>
                  <a:gd name="connsiteX46" fmla="*/ 401022 w 1295626"/>
                  <a:gd name="connsiteY46" fmla="*/ 644548 h 991183"/>
                  <a:gd name="connsiteX47" fmla="*/ 389614 w 1295626"/>
                  <a:gd name="connsiteY47" fmla="*/ 632478 h 991183"/>
                  <a:gd name="connsiteX48" fmla="*/ 374971 w 1295626"/>
                  <a:gd name="connsiteY48" fmla="*/ 652999 h 991183"/>
                  <a:gd name="connsiteX49" fmla="*/ 185092 w 1295626"/>
                  <a:gd name="connsiteY49" fmla="*/ 625694 h 991183"/>
                  <a:gd name="connsiteX50" fmla="*/ 143031 w 1295626"/>
                  <a:gd name="connsiteY50" fmla="*/ 584399 h 991183"/>
                  <a:gd name="connsiteX51" fmla="*/ 94027 w 1295626"/>
                  <a:gd name="connsiteY51" fmla="*/ 604606 h 991183"/>
                  <a:gd name="connsiteX52" fmla="*/ 65855 w 1295626"/>
                  <a:gd name="connsiteY52" fmla="*/ 578264 h 991183"/>
                  <a:gd name="connsiteX53" fmla="*/ 51751 w 1295626"/>
                  <a:gd name="connsiteY53" fmla="*/ 518173 h 991183"/>
                  <a:gd name="connsiteX54" fmla="*/ 26352 w 1295626"/>
                  <a:gd name="connsiteY54" fmla="*/ 486844 h 991183"/>
                  <a:gd name="connsiteX55" fmla="*/ 0 w 1295626"/>
                  <a:gd name="connsiteY55" fmla="*/ 379549 h 991183"/>
                  <a:gd name="connsiteX56" fmla="*/ 14003 w 1295626"/>
                  <a:gd name="connsiteY56" fmla="*/ 274396 h 991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295626" h="991183">
                    <a:moveTo>
                      <a:pt x="482172" y="199895"/>
                    </a:moveTo>
                    <a:lnTo>
                      <a:pt x="551108" y="204651"/>
                    </a:lnTo>
                    <a:lnTo>
                      <a:pt x="580213" y="238281"/>
                    </a:lnTo>
                    <a:lnTo>
                      <a:pt x="591737" y="302358"/>
                    </a:lnTo>
                    <a:lnTo>
                      <a:pt x="582437" y="340604"/>
                    </a:lnTo>
                    <a:lnTo>
                      <a:pt x="537463" y="368017"/>
                    </a:lnTo>
                    <a:lnTo>
                      <a:pt x="455950" y="374894"/>
                    </a:lnTo>
                    <a:lnTo>
                      <a:pt x="398467" y="304181"/>
                    </a:lnTo>
                    <a:lnTo>
                      <a:pt x="419441" y="245748"/>
                    </a:lnTo>
                    <a:close/>
                    <a:moveTo>
                      <a:pt x="131952" y="0"/>
                    </a:moveTo>
                    <a:lnTo>
                      <a:pt x="236746" y="78916"/>
                    </a:lnTo>
                    <a:lnTo>
                      <a:pt x="257687" y="129768"/>
                    </a:lnTo>
                    <a:lnTo>
                      <a:pt x="306606" y="181681"/>
                    </a:lnTo>
                    <a:lnTo>
                      <a:pt x="331452" y="264637"/>
                    </a:lnTo>
                    <a:lnTo>
                      <a:pt x="299906" y="327201"/>
                    </a:lnTo>
                    <a:lnTo>
                      <a:pt x="396926" y="402808"/>
                    </a:lnTo>
                    <a:lnTo>
                      <a:pt x="523796" y="399550"/>
                    </a:lnTo>
                    <a:lnTo>
                      <a:pt x="575719" y="428469"/>
                    </a:lnTo>
                    <a:lnTo>
                      <a:pt x="709448" y="446317"/>
                    </a:lnTo>
                    <a:lnTo>
                      <a:pt x="752385" y="473304"/>
                    </a:lnTo>
                    <a:lnTo>
                      <a:pt x="856123" y="605121"/>
                    </a:lnTo>
                    <a:lnTo>
                      <a:pt x="914720" y="608039"/>
                    </a:lnTo>
                    <a:lnTo>
                      <a:pt x="929374" y="550250"/>
                    </a:lnTo>
                    <a:lnTo>
                      <a:pt x="984675" y="486747"/>
                    </a:lnTo>
                    <a:lnTo>
                      <a:pt x="988515" y="435481"/>
                    </a:lnTo>
                    <a:lnTo>
                      <a:pt x="1050828" y="411220"/>
                    </a:lnTo>
                    <a:lnTo>
                      <a:pt x="1091331" y="430751"/>
                    </a:lnTo>
                    <a:lnTo>
                      <a:pt x="1120028" y="554109"/>
                    </a:lnTo>
                    <a:lnTo>
                      <a:pt x="1247150" y="687023"/>
                    </a:lnTo>
                    <a:lnTo>
                      <a:pt x="1295626" y="780756"/>
                    </a:lnTo>
                    <a:lnTo>
                      <a:pt x="1214013" y="811892"/>
                    </a:lnTo>
                    <a:lnTo>
                      <a:pt x="1207789" y="829086"/>
                    </a:lnTo>
                    <a:lnTo>
                      <a:pt x="1245027" y="862072"/>
                    </a:lnTo>
                    <a:lnTo>
                      <a:pt x="1239897" y="903813"/>
                    </a:lnTo>
                    <a:lnTo>
                      <a:pt x="1220416" y="915589"/>
                    </a:lnTo>
                    <a:lnTo>
                      <a:pt x="1170218" y="898406"/>
                    </a:lnTo>
                    <a:lnTo>
                      <a:pt x="1157345" y="920668"/>
                    </a:lnTo>
                    <a:lnTo>
                      <a:pt x="1108378" y="921819"/>
                    </a:lnTo>
                    <a:lnTo>
                      <a:pt x="1105057" y="943577"/>
                    </a:lnTo>
                    <a:lnTo>
                      <a:pt x="1078430" y="960392"/>
                    </a:lnTo>
                    <a:lnTo>
                      <a:pt x="1043983" y="946101"/>
                    </a:lnTo>
                    <a:lnTo>
                      <a:pt x="1003907" y="980762"/>
                    </a:lnTo>
                    <a:lnTo>
                      <a:pt x="906697" y="991183"/>
                    </a:lnTo>
                    <a:lnTo>
                      <a:pt x="815023" y="940727"/>
                    </a:lnTo>
                    <a:lnTo>
                      <a:pt x="563048" y="756581"/>
                    </a:lnTo>
                    <a:lnTo>
                      <a:pt x="436563" y="637793"/>
                    </a:lnTo>
                    <a:lnTo>
                      <a:pt x="401022" y="644548"/>
                    </a:lnTo>
                    <a:lnTo>
                      <a:pt x="389614" y="632478"/>
                    </a:lnTo>
                    <a:lnTo>
                      <a:pt x="374971" y="652999"/>
                    </a:lnTo>
                    <a:lnTo>
                      <a:pt x="185092" y="625694"/>
                    </a:lnTo>
                    <a:lnTo>
                      <a:pt x="143031" y="584399"/>
                    </a:lnTo>
                    <a:lnTo>
                      <a:pt x="94027" y="604606"/>
                    </a:lnTo>
                    <a:lnTo>
                      <a:pt x="65855" y="578264"/>
                    </a:lnTo>
                    <a:lnTo>
                      <a:pt x="51751" y="518173"/>
                    </a:lnTo>
                    <a:lnTo>
                      <a:pt x="26352" y="486844"/>
                    </a:lnTo>
                    <a:lnTo>
                      <a:pt x="0" y="379549"/>
                    </a:lnTo>
                    <a:lnTo>
                      <a:pt x="14003" y="274396"/>
                    </a:lnTo>
                    <a:close/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" name="Республика Коми">
                <a:extLst>
                  <a:ext uri="{FF2B5EF4-FFF2-40B4-BE49-F238E27FC236}">
                    <a16:creationId xmlns:a16="http://schemas.microsoft.com/office/drawing/2014/main" id="{77FF1956-A6C5-41E7-8F27-25295124F991}"/>
                  </a:ext>
                </a:extLst>
              </p:cNvPr>
              <p:cNvSpPr/>
              <p:nvPr/>
            </p:nvSpPr>
            <p:spPr>
              <a:xfrm>
                <a:off x="2948539" y="2426688"/>
                <a:ext cx="1728558" cy="985942"/>
              </a:xfrm>
              <a:custGeom>
                <a:avLst/>
                <a:gdLst>
                  <a:gd name="connsiteX0" fmla="*/ 310542 w 1728558"/>
                  <a:gd name="connsiteY0" fmla="*/ 56191 h 985942"/>
                  <a:gd name="connsiteX1" fmla="*/ 425890 w 1728558"/>
                  <a:gd name="connsiteY1" fmla="*/ 128292 h 985942"/>
                  <a:gd name="connsiteX2" fmla="*/ 465868 w 1728558"/>
                  <a:gd name="connsiteY2" fmla="*/ 167179 h 985942"/>
                  <a:gd name="connsiteX3" fmla="*/ 455172 w 1728558"/>
                  <a:gd name="connsiteY3" fmla="*/ 182454 h 985942"/>
                  <a:gd name="connsiteX4" fmla="*/ 466442 w 1728558"/>
                  <a:gd name="connsiteY4" fmla="*/ 197390 h 985942"/>
                  <a:gd name="connsiteX5" fmla="*/ 485292 w 1728558"/>
                  <a:gd name="connsiteY5" fmla="*/ 182646 h 985942"/>
                  <a:gd name="connsiteX6" fmla="*/ 500517 w 1728558"/>
                  <a:gd name="connsiteY6" fmla="*/ 202401 h 985942"/>
                  <a:gd name="connsiteX7" fmla="*/ 520111 w 1728558"/>
                  <a:gd name="connsiteY7" fmla="*/ 188377 h 985942"/>
                  <a:gd name="connsiteX8" fmla="*/ 541266 w 1728558"/>
                  <a:gd name="connsiteY8" fmla="*/ 218053 h 985942"/>
                  <a:gd name="connsiteX9" fmla="*/ 560310 w 1728558"/>
                  <a:gd name="connsiteY9" fmla="*/ 203503 h 985942"/>
                  <a:gd name="connsiteX10" fmla="*/ 595034 w 1728558"/>
                  <a:gd name="connsiteY10" fmla="*/ 247128 h 985942"/>
                  <a:gd name="connsiteX11" fmla="*/ 630737 w 1728558"/>
                  <a:gd name="connsiteY11" fmla="*/ 219772 h 985942"/>
                  <a:gd name="connsiteX12" fmla="*/ 621038 w 1728558"/>
                  <a:gd name="connsiteY12" fmla="*/ 203615 h 985942"/>
                  <a:gd name="connsiteX13" fmla="*/ 637657 w 1728558"/>
                  <a:gd name="connsiteY13" fmla="*/ 123698 h 985942"/>
                  <a:gd name="connsiteX14" fmla="*/ 602248 w 1728558"/>
                  <a:gd name="connsiteY14" fmla="*/ 105438 h 985942"/>
                  <a:gd name="connsiteX15" fmla="*/ 691815 w 1728558"/>
                  <a:gd name="connsiteY15" fmla="*/ -157 h 985942"/>
                  <a:gd name="connsiteX16" fmla="*/ 881694 w 1728558"/>
                  <a:gd name="connsiteY16" fmla="*/ 27148 h 985942"/>
                  <a:gd name="connsiteX17" fmla="*/ 896128 w 1728558"/>
                  <a:gd name="connsiteY17" fmla="*/ 6825 h 985942"/>
                  <a:gd name="connsiteX18" fmla="*/ 907525 w 1728558"/>
                  <a:gd name="connsiteY18" fmla="*/ 18805 h 985942"/>
                  <a:gd name="connsiteX19" fmla="*/ 943286 w 1728558"/>
                  <a:gd name="connsiteY19" fmla="*/ 11942 h 985942"/>
                  <a:gd name="connsiteX20" fmla="*/ 1037636 w 1728558"/>
                  <a:gd name="connsiteY20" fmla="*/ 106395 h 985942"/>
                  <a:gd name="connsiteX21" fmla="*/ 1400596 w 1728558"/>
                  <a:gd name="connsiteY21" fmla="*/ 360874 h 985942"/>
                  <a:gd name="connsiteX22" fmla="*/ 1510630 w 1728558"/>
                  <a:gd name="connsiteY22" fmla="*/ 354912 h 985942"/>
                  <a:gd name="connsiteX23" fmla="*/ 1531533 w 1728558"/>
                  <a:gd name="connsiteY23" fmla="*/ 325353 h 985942"/>
                  <a:gd name="connsiteX24" fmla="*/ 1565355 w 1728558"/>
                  <a:gd name="connsiteY24" fmla="*/ 317823 h 985942"/>
                  <a:gd name="connsiteX25" fmla="*/ 1584730 w 1728558"/>
                  <a:gd name="connsiteY25" fmla="*/ 334445 h 985942"/>
                  <a:gd name="connsiteX26" fmla="*/ 1611802 w 1728558"/>
                  <a:gd name="connsiteY26" fmla="*/ 317628 h 985942"/>
                  <a:gd name="connsiteX27" fmla="*/ 1615293 w 1728558"/>
                  <a:gd name="connsiteY27" fmla="*/ 295773 h 985942"/>
                  <a:gd name="connsiteX28" fmla="*/ 1664432 w 1728558"/>
                  <a:gd name="connsiteY28" fmla="*/ 294745 h 985942"/>
                  <a:gd name="connsiteX29" fmla="*/ 1685752 w 1728558"/>
                  <a:gd name="connsiteY29" fmla="*/ 270443 h 985942"/>
                  <a:gd name="connsiteX30" fmla="*/ 1727892 w 1728558"/>
                  <a:gd name="connsiteY30" fmla="*/ 289580 h 985942"/>
                  <a:gd name="connsiteX31" fmla="*/ 1687304 w 1728558"/>
                  <a:gd name="connsiteY31" fmla="*/ 353413 h 985942"/>
                  <a:gd name="connsiteX32" fmla="*/ 1725944 w 1728558"/>
                  <a:gd name="connsiteY32" fmla="*/ 377434 h 985942"/>
                  <a:gd name="connsiteX33" fmla="*/ 1713906 w 1728558"/>
                  <a:gd name="connsiteY33" fmla="*/ 411608 h 985942"/>
                  <a:gd name="connsiteX34" fmla="*/ 1687491 w 1728558"/>
                  <a:gd name="connsiteY34" fmla="*/ 405095 h 985942"/>
                  <a:gd name="connsiteX35" fmla="*/ 1689918 w 1728558"/>
                  <a:gd name="connsiteY35" fmla="*/ 437598 h 985942"/>
                  <a:gd name="connsiteX36" fmla="*/ 1618240 w 1728558"/>
                  <a:gd name="connsiteY36" fmla="*/ 455257 h 985942"/>
                  <a:gd name="connsiteX37" fmla="*/ 1598143 w 1728558"/>
                  <a:gd name="connsiteY37" fmla="*/ 487009 h 985942"/>
                  <a:gd name="connsiteX38" fmla="*/ 1469825 w 1728558"/>
                  <a:gd name="connsiteY38" fmla="*/ 494095 h 985942"/>
                  <a:gd name="connsiteX39" fmla="*/ 1389540 w 1728558"/>
                  <a:gd name="connsiteY39" fmla="*/ 555771 h 985942"/>
                  <a:gd name="connsiteX40" fmla="*/ 1321609 w 1728558"/>
                  <a:gd name="connsiteY40" fmla="*/ 547581 h 985942"/>
                  <a:gd name="connsiteX41" fmla="*/ 1247345 w 1728558"/>
                  <a:gd name="connsiteY41" fmla="*/ 596422 h 985942"/>
                  <a:gd name="connsiteX42" fmla="*/ 1195762 w 1728558"/>
                  <a:gd name="connsiteY42" fmla="*/ 609393 h 985942"/>
                  <a:gd name="connsiteX43" fmla="*/ 1179715 w 1728558"/>
                  <a:gd name="connsiteY43" fmla="*/ 570856 h 985942"/>
                  <a:gd name="connsiteX44" fmla="*/ 1123034 w 1728558"/>
                  <a:gd name="connsiteY44" fmla="*/ 585527 h 985942"/>
                  <a:gd name="connsiteX45" fmla="*/ 1118623 w 1728558"/>
                  <a:gd name="connsiteY45" fmla="*/ 607946 h 985942"/>
                  <a:gd name="connsiteX46" fmla="*/ 1088126 w 1728558"/>
                  <a:gd name="connsiteY46" fmla="*/ 619567 h 985942"/>
                  <a:gd name="connsiteX47" fmla="*/ 1074455 w 1728558"/>
                  <a:gd name="connsiteY47" fmla="*/ 687049 h 985942"/>
                  <a:gd name="connsiteX48" fmla="*/ 1043343 w 1728558"/>
                  <a:gd name="connsiteY48" fmla="*/ 700045 h 985942"/>
                  <a:gd name="connsiteX49" fmla="*/ 947123 w 1728558"/>
                  <a:gd name="connsiteY49" fmla="*/ 801234 h 985942"/>
                  <a:gd name="connsiteX50" fmla="*/ 951439 w 1728558"/>
                  <a:gd name="connsiteY50" fmla="*/ 828134 h 985942"/>
                  <a:gd name="connsiteX51" fmla="*/ 921935 w 1728558"/>
                  <a:gd name="connsiteY51" fmla="*/ 870911 h 985942"/>
                  <a:gd name="connsiteX52" fmla="*/ 932044 w 1728558"/>
                  <a:gd name="connsiteY52" fmla="*/ 880708 h 985942"/>
                  <a:gd name="connsiteX53" fmla="*/ 839109 w 1728558"/>
                  <a:gd name="connsiteY53" fmla="*/ 984665 h 985942"/>
                  <a:gd name="connsiteX54" fmla="*/ 793313 w 1728558"/>
                  <a:gd name="connsiteY54" fmla="*/ 985786 h 985942"/>
                  <a:gd name="connsiteX55" fmla="*/ 661378 w 1728558"/>
                  <a:gd name="connsiteY55" fmla="*/ 889348 h 985942"/>
                  <a:gd name="connsiteX56" fmla="*/ 646573 w 1728558"/>
                  <a:gd name="connsiteY56" fmla="*/ 898947 h 985942"/>
                  <a:gd name="connsiteX57" fmla="*/ 637333 w 1728558"/>
                  <a:gd name="connsiteY57" fmla="*/ 887706 h 985942"/>
                  <a:gd name="connsiteX58" fmla="*/ 608146 w 1728558"/>
                  <a:gd name="connsiteY58" fmla="*/ 914952 h 985942"/>
                  <a:gd name="connsiteX59" fmla="*/ 585082 w 1728558"/>
                  <a:gd name="connsiteY59" fmla="*/ 887643 h 985942"/>
                  <a:gd name="connsiteX60" fmla="*/ 566211 w 1728558"/>
                  <a:gd name="connsiteY60" fmla="*/ 903033 h 985942"/>
                  <a:gd name="connsiteX61" fmla="*/ 543462 w 1728558"/>
                  <a:gd name="connsiteY61" fmla="*/ 875974 h 985942"/>
                  <a:gd name="connsiteX62" fmla="*/ 498407 w 1728558"/>
                  <a:gd name="connsiteY62" fmla="*/ 898528 h 985942"/>
                  <a:gd name="connsiteX63" fmla="*/ 443525 w 1728558"/>
                  <a:gd name="connsiteY63" fmla="*/ 832698 h 985942"/>
                  <a:gd name="connsiteX64" fmla="*/ 425387 w 1728558"/>
                  <a:gd name="connsiteY64" fmla="*/ 848428 h 985942"/>
                  <a:gd name="connsiteX65" fmla="*/ 417871 w 1728558"/>
                  <a:gd name="connsiteY65" fmla="*/ 839525 h 985942"/>
                  <a:gd name="connsiteX66" fmla="*/ 402796 w 1728558"/>
                  <a:gd name="connsiteY66" fmla="*/ 820700 h 985942"/>
                  <a:gd name="connsiteX67" fmla="*/ 420797 w 1728558"/>
                  <a:gd name="connsiteY67" fmla="*/ 804946 h 985942"/>
                  <a:gd name="connsiteX68" fmla="*/ 394095 w 1728558"/>
                  <a:gd name="connsiteY68" fmla="*/ 772576 h 985942"/>
                  <a:gd name="connsiteX69" fmla="*/ 375482 w 1728558"/>
                  <a:gd name="connsiteY69" fmla="*/ 788109 h 985942"/>
                  <a:gd name="connsiteX70" fmla="*/ 357089 w 1728558"/>
                  <a:gd name="connsiteY70" fmla="*/ 765611 h 985942"/>
                  <a:gd name="connsiteX71" fmla="*/ 338502 w 1728558"/>
                  <a:gd name="connsiteY71" fmla="*/ 780095 h 985942"/>
                  <a:gd name="connsiteX72" fmla="*/ 316136 w 1728558"/>
                  <a:gd name="connsiteY72" fmla="*/ 751318 h 985942"/>
                  <a:gd name="connsiteX73" fmla="*/ 279067 w 1728558"/>
                  <a:gd name="connsiteY73" fmla="*/ 781740 h 985942"/>
                  <a:gd name="connsiteX74" fmla="*/ 299809 w 1728558"/>
                  <a:gd name="connsiteY74" fmla="*/ 827197 h 985942"/>
                  <a:gd name="connsiteX75" fmla="*/ 276860 w 1728558"/>
                  <a:gd name="connsiteY75" fmla="*/ 850912 h 985942"/>
                  <a:gd name="connsiteX76" fmla="*/ 261388 w 1728558"/>
                  <a:gd name="connsiteY76" fmla="*/ 827835 h 985942"/>
                  <a:gd name="connsiteX77" fmla="*/ 194942 w 1728558"/>
                  <a:gd name="connsiteY77" fmla="*/ 846539 h 985942"/>
                  <a:gd name="connsiteX78" fmla="*/ 190996 w 1728558"/>
                  <a:gd name="connsiteY78" fmla="*/ 816193 h 985942"/>
                  <a:gd name="connsiteX79" fmla="*/ 151594 w 1728558"/>
                  <a:gd name="connsiteY79" fmla="*/ 820835 h 985942"/>
                  <a:gd name="connsiteX80" fmla="*/ 92867 w 1728558"/>
                  <a:gd name="connsiteY80" fmla="*/ 787986 h 985942"/>
                  <a:gd name="connsiteX81" fmla="*/ 24596 w 1728558"/>
                  <a:gd name="connsiteY81" fmla="*/ 845910 h 985942"/>
                  <a:gd name="connsiteX82" fmla="*/ 7315 w 1728558"/>
                  <a:gd name="connsiteY82" fmla="*/ 829646 h 985942"/>
                  <a:gd name="connsiteX83" fmla="*/ 28368 w 1728558"/>
                  <a:gd name="connsiteY83" fmla="*/ 811570 h 985942"/>
                  <a:gd name="connsiteX84" fmla="*/ 6272 w 1728558"/>
                  <a:gd name="connsiteY84" fmla="*/ 773305 h 985942"/>
                  <a:gd name="connsiteX85" fmla="*/ 28497 w 1728558"/>
                  <a:gd name="connsiteY85" fmla="*/ 755674 h 985942"/>
                  <a:gd name="connsiteX86" fmla="*/ -666 w 1728558"/>
                  <a:gd name="connsiteY86" fmla="*/ 720078 h 985942"/>
                  <a:gd name="connsiteX87" fmla="*/ 40854 w 1728558"/>
                  <a:gd name="connsiteY87" fmla="*/ 668226 h 985942"/>
                  <a:gd name="connsiteX88" fmla="*/ 82104 w 1728558"/>
                  <a:gd name="connsiteY88" fmla="*/ 658686 h 985942"/>
                  <a:gd name="connsiteX89" fmla="*/ 77788 w 1728558"/>
                  <a:gd name="connsiteY89" fmla="*/ 630190 h 985942"/>
                  <a:gd name="connsiteX90" fmla="*/ 134103 w 1728558"/>
                  <a:gd name="connsiteY90" fmla="*/ 565555 h 985942"/>
                  <a:gd name="connsiteX91" fmla="*/ 195299 w 1728558"/>
                  <a:gd name="connsiteY91" fmla="*/ 593053 h 985942"/>
                  <a:gd name="connsiteX92" fmla="*/ 252069 w 1728558"/>
                  <a:gd name="connsiteY92" fmla="*/ 549043 h 985942"/>
                  <a:gd name="connsiteX93" fmla="*/ 231107 w 1728558"/>
                  <a:gd name="connsiteY93" fmla="*/ 521333 h 985942"/>
                  <a:gd name="connsiteX94" fmla="*/ 379334 w 1728558"/>
                  <a:gd name="connsiteY94" fmla="*/ 419324 h 985942"/>
                  <a:gd name="connsiteX95" fmla="*/ 339636 w 1728558"/>
                  <a:gd name="connsiteY95" fmla="*/ 366923 h 985942"/>
                  <a:gd name="connsiteX96" fmla="*/ 320853 w 1728558"/>
                  <a:gd name="connsiteY96" fmla="*/ 381383 h 985942"/>
                  <a:gd name="connsiteX97" fmla="*/ 306605 w 1728558"/>
                  <a:gd name="connsiteY97" fmla="*/ 361860 h 985942"/>
                  <a:gd name="connsiteX98" fmla="*/ 260317 w 1728558"/>
                  <a:gd name="connsiteY98" fmla="*/ 409637 h 985942"/>
                  <a:gd name="connsiteX99" fmla="*/ 226982 w 1728558"/>
                  <a:gd name="connsiteY99" fmla="*/ 374546 h 985942"/>
                  <a:gd name="connsiteX100" fmla="*/ 209911 w 1728558"/>
                  <a:gd name="connsiteY100" fmla="*/ 391168 h 985942"/>
                  <a:gd name="connsiteX101" fmla="*/ 196951 w 1728558"/>
                  <a:gd name="connsiteY101" fmla="*/ 377896 h 985942"/>
                  <a:gd name="connsiteX102" fmla="*/ 248407 w 1728558"/>
                  <a:gd name="connsiteY102" fmla="*/ 288349 h 985942"/>
                  <a:gd name="connsiteX103" fmla="*/ 308841 w 1728558"/>
                  <a:gd name="connsiteY103" fmla="*/ 276922 h 985942"/>
                  <a:gd name="connsiteX104" fmla="*/ 293617 w 1728558"/>
                  <a:gd name="connsiteY104" fmla="*/ 239373 h 985942"/>
                  <a:gd name="connsiteX105" fmla="*/ 335189 w 1728558"/>
                  <a:gd name="connsiteY105" fmla="*/ 170834 h 985942"/>
                  <a:gd name="connsiteX106" fmla="*/ 310542 w 1728558"/>
                  <a:gd name="connsiteY106" fmla="*/ 56191 h 985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728558" h="985942">
                    <a:moveTo>
                      <a:pt x="310542" y="56191"/>
                    </a:moveTo>
                    <a:lnTo>
                      <a:pt x="425890" y="128292"/>
                    </a:lnTo>
                    <a:lnTo>
                      <a:pt x="465868" y="167179"/>
                    </a:lnTo>
                    <a:lnTo>
                      <a:pt x="455172" y="182454"/>
                    </a:lnTo>
                    <a:lnTo>
                      <a:pt x="466442" y="197390"/>
                    </a:lnTo>
                    <a:lnTo>
                      <a:pt x="485292" y="182646"/>
                    </a:lnTo>
                    <a:lnTo>
                      <a:pt x="500517" y="202401"/>
                    </a:lnTo>
                    <a:lnTo>
                      <a:pt x="520111" y="188377"/>
                    </a:lnTo>
                    <a:lnTo>
                      <a:pt x="541266" y="218053"/>
                    </a:lnTo>
                    <a:lnTo>
                      <a:pt x="560310" y="203503"/>
                    </a:lnTo>
                    <a:lnTo>
                      <a:pt x="595034" y="247128"/>
                    </a:lnTo>
                    <a:lnTo>
                      <a:pt x="630737" y="219772"/>
                    </a:lnTo>
                    <a:lnTo>
                      <a:pt x="621038" y="203615"/>
                    </a:lnTo>
                    <a:lnTo>
                      <a:pt x="637657" y="123698"/>
                    </a:lnTo>
                    <a:lnTo>
                      <a:pt x="602248" y="105438"/>
                    </a:lnTo>
                    <a:lnTo>
                      <a:pt x="691815" y="-157"/>
                    </a:lnTo>
                    <a:lnTo>
                      <a:pt x="881694" y="27148"/>
                    </a:lnTo>
                    <a:lnTo>
                      <a:pt x="896128" y="6825"/>
                    </a:lnTo>
                    <a:lnTo>
                      <a:pt x="907525" y="18805"/>
                    </a:lnTo>
                    <a:lnTo>
                      <a:pt x="943286" y="11942"/>
                    </a:lnTo>
                    <a:lnTo>
                      <a:pt x="1037636" y="106395"/>
                    </a:lnTo>
                    <a:lnTo>
                      <a:pt x="1400596" y="360874"/>
                    </a:lnTo>
                    <a:lnTo>
                      <a:pt x="1510630" y="354912"/>
                    </a:lnTo>
                    <a:lnTo>
                      <a:pt x="1531533" y="325353"/>
                    </a:lnTo>
                    <a:lnTo>
                      <a:pt x="1565355" y="317823"/>
                    </a:lnTo>
                    <a:lnTo>
                      <a:pt x="1584730" y="334445"/>
                    </a:lnTo>
                    <a:lnTo>
                      <a:pt x="1611802" y="317628"/>
                    </a:lnTo>
                    <a:lnTo>
                      <a:pt x="1615293" y="295773"/>
                    </a:lnTo>
                    <a:lnTo>
                      <a:pt x="1664432" y="294745"/>
                    </a:lnTo>
                    <a:lnTo>
                      <a:pt x="1685752" y="270443"/>
                    </a:lnTo>
                    <a:lnTo>
                      <a:pt x="1727892" y="289580"/>
                    </a:lnTo>
                    <a:lnTo>
                      <a:pt x="1687304" y="353413"/>
                    </a:lnTo>
                    <a:lnTo>
                      <a:pt x="1725944" y="377434"/>
                    </a:lnTo>
                    <a:lnTo>
                      <a:pt x="1713906" y="411608"/>
                    </a:lnTo>
                    <a:lnTo>
                      <a:pt x="1687491" y="405095"/>
                    </a:lnTo>
                    <a:lnTo>
                      <a:pt x="1689918" y="437598"/>
                    </a:lnTo>
                    <a:lnTo>
                      <a:pt x="1618240" y="455257"/>
                    </a:lnTo>
                    <a:lnTo>
                      <a:pt x="1598143" y="487009"/>
                    </a:lnTo>
                    <a:lnTo>
                      <a:pt x="1469825" y="494095"/>
                    </a:lnTo>
                    <a:lnTo>
                      <a:pt x="1389540" y="555771"/>
                    </a:lnTo>
                    <a:lnTo>
                      <a:pt x="1321609" y="547581"/>
                    </a:lnTo>
                    <a:lnTo>
                      <a:pt x="1247345" y="596422"/>
                    </a:lnTo>
                    <a:lnTo>
                      <a:pt x="1195762" y="609393"/>
                    </a:lnTo>
                    <a:lnTo>
                      <a:pt x="1179715" y="570856"/>
                    </a:lnTo>
                    <a:lnTo>
                      <a:pt x="1123034" y="585527"/>
                    </a:lnTo>
                    <a:lnTo>
                      <a:pt x="1118623" y="607946"/>
                    </a:lnTo>
                    <a:lnTo>
                      <a:pt x="1088126" y="619567"/>
                    </a:lnTo>
                    <a:lnTo>
                      <a:pt x="1074455" y="687049"/>
                    </a:lnTo>
                    <a:lnTo>
                      <a:pt x="1043343" y="700045"/>
                    </a:lnTo>
                    <a:lnTo>
                      <a:pt x="947123" y="801234"/>
                    </a:lnTo>
                    <a:lnTo>
                      <a:pt x="951439" y="828134"/>
                    </a:lnTo>
                    <a:lnTo>
                      <a:pt x="921935" y="870911"/>
                    </a:lnTo>
                    <a:lnTo>
                      <a:pt x="932044" y="880708"/>
                    </a:lnTo>
                    <a:lnTo>
                      <a:pt x="839109" y="984665"/>
                    </a:lnTo>
                    <a:lnTo>
                      <a:pt x="793313" y="985786"/>
                    </a:lnTo>
                    <a:lnTo>
                      <a:pt x="661378" y="889348"/>
                    </a:lnTo>
                    <a:lnTo>
                      <a:pt x="646573" y="898947"/>
                    </a:lnTo>
                    <a:lnTo>
                      <a:pt x="637333" y="887706"/>
                    </a:lnTo>
                    <a:lnTo>
                      <a:pt x="608146" y="914952"/>
                    </a:lnTo>
                    <a:lnTo>
                      <a:pt x="585082" y="887643"/>
                    </a:lnTo>
                    <a:lnTo>
                      <a:pt x="566211" y="903033"/>
                    </a:lnTo>
                    <a:lnTo>
                      <a:pt x="543462" y="875974"/>
                    </a:lnTo>
                    <a:lnTo>
                      <a:pt x="498407" y="898528"/>
                    </a:lnTo>
                    <a:lnTo>
                      <a:pt x="443525" y="832698"/>
                    </a:lnTo>
                    <a:lnTo>
                      <a:pt x="425387" y="848428"/>
                    </a:lnTo>
                    <a:lnTo>
                      <a:pt x="417871" y="839525"/>
                    </a:lnTo>
                    <a:lnTo>
                      <a:pt x="402796" y="820700"/>
                    </a:lnTo>
                    <a:lnTo>
                      <a:pt x="420797" y="804946"/>
                    </a:lnTo>
                    <a:lnTo>
                      <a:pt x="394095" y="772576"/>
                    </a:lnTo>
                    <a:lnTo>
                      <a:pt x="375482" y="788109"/>
                    </a:lnTo>
                    <a:lnTo>
                      <a:pt x="357089" y="765611"/>
                    </a:lnTo>
                    <a:lnTo>
                      <a:pt x="338502" y="780095"/>
                    </a:lnTo>
                    <a:lnTo>
                      <a:pt x="316136" y="751318"/>
                    </a:lnTo>
                    <a:lnTo>
                      <a:pt x="279067" y="781740"/>
                    </a:lnTo>
                    <a:lnTo>
                      <a:pt x="299809" y="827197"/>
                    </a:lnTo>
                    <a:lnTo>
                      <a:pt x="276860" y="850912"/>
                    </a:lnTo>
                    <a:lnTo>
                      <a:pt x="261388" y="827835"/>
                    </a:lnTo>
                    <a:lnTo>
                      <a:pt x="194942" y="846539"/>
                    </a:lnTo>
                    <a:lnTo>
                      <a:pt x="190996" y="816193"/>
                    </a:lnTo>
                    <a:lnTo>
                      <a:pt x="151594" y="820835"/>
                    </a:lnTo>
                    <a:lnTo>
                      <a:pt x="92867" y="787986"/>
                    </a:lnTo>
                    <a:lnTo>
                      <a:pt x="24596" y="845910"/>
                    </a:lnTo>
                    <a:lnTo>
                      <a:pt x="7315" y="829646"/>
                    </a:lnTo>
                    <a:lnTo>
                      <a:pt x="28368" y="811570"/>
                    </a:lnTo>
                    <a:lnTo>
                      <a:pt x="6272" y="773305"/>
                    </a:lnTo>
                    <a:lnTo>
                      <a:pt x="28497" y="755674"/>
                    </a:lnTo>
                    <a:lnTo>
                      <a:pt x="-666" y="720078"/>
                    </a:lnTo>
                    <a:lnTo>
                      <a:pt x="40854" y="668226"/>
                    </a:lnTo>
                    <a:lnTo>
                      <a:pt x="82104" y="658686"/>
                    </a:lnTo>
                    <a:lnTo>
                      <a:pt x="77788" y="630190"/>
                    </a:lnTo>
                    <a:lnTo>
                      <a:pt x="134103" y="565555"/>
                    </a:lnTo>
                    <a:lnTo>
                      <a:pt x="195299" y="593053"/>
                    </a:lnTo>
                    <a:lnTo>
                      <a:pt x="252069" y="549043"/>
                    </a:lnTo>
                    <a:lnTo>
                      <a:pt x="231107" y="521333"/>
                    </a:lnTo>
                    <a:lnTo>
                      <a:pt x="379334" y="419324"/>
                    </a:lnTo>
                    <a:lnTo>
                      <a:pt x="339636" y="366923"/>
                    </a:lnTo>
                    <a:lnTo>
                      <a:pt x="320853" y="381383"/>
                    </a:lnTo>
                    <a:lnTo>
                      <a:pt x="306605" y="361860"/>
                    </a:lnTo>
                    <a:lnTo>
                      <a:pt x="260317" y="409637"/>
                    </a:lnTo>
                    <a:lnTo>
                      <a:pt x="226982" y="374546"/>
                    </a:lnTo>
                    <a:lnTo>
                      <a:pt x="209911" y="391168"/>
                    </a:lnTo>
                    <a:lnTo>
                      <a:pt x="196951" y="377896"/>
                    </a:lnTo>
                    <a:lnTo>
                      <a:pt x="248407" y="288349"/>
                    </a:lnTo>
                    <a:lnTo>
                      <a:pt x="308841" y="276922"/>
                    </a:lnTo>
                    <a:lnTo>
                      <a:pt x="293617" y="239373"/>
                    </a:lnTo>
                    <a:lnTo>
                      <a:pt x="335189" y="170834"/>
                    </a:lnTo>
                    <a:lnTo>
                      <a:pt x="310542" y="5619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767" name="Приволжский федеральный округ">
              <a:extLst>
                <a:ext uri="{FF2B5EF4-FFF2-40B4-BE49-F238E27FC236}">
                  <a16:creationId xmlns:a16="http://schemas.microsoft.com/office/drawing/2014/main" id="{BEFB4756-A2AA-4725-8230-582EF9E0BD2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670286" y="2921523"/>
              <a:ext cx="2117783" cy="2015694"/>
              <a:chOff x="1670286" y="2921523"/>
              <a:chExt cx="2117783" cy="2015694"/>
            </a:xfrm>
            <a:solidFill>
              <a:srgbClr val="A8DB97"/>
            </a:solidFill>
          </p:grpSpPr>
          <p:sp>
            <p:nvSpPr>
              <p:cNvPr id="76" name="Чувашская Республика">
                <a:extLst>
                  <a:ext uri="{FF2B5EF4-FFF2-40B4-BE49-F238E27FC236}">
                    <a16:creationId xmlns:a16="http://schemas.microsoft.com/office/drawing/2014/main" id="{E81386FC-AEDA-4E50-9CAE-EDF57CC933EB}"/>
                  </a:ext>
                </a:extLst>
              </p:cNvPr>
              <p:cNvSpPr/>
              <p:nvPr/>
            </p:nvSpPr>
            <p:spPr>
              <a:xfrm>
                <a:off x="2294703" y="3432546"/>
                <a:ext cx="239103" cy="239064"/>
              </a:xfrm>
              <a:custGeom>
                <a:avLst/>
                <a:gdLst>
                  <a:gd name="connsiteX0" fmla="*/ 66453 w 239103"/>
                  <a:gd name="connsiteY0" fmla="*/ 22409 h 239064"/>
                  <a:gd name="connsiteX1" fmla="*/ 125611 w 239103"/>
                  <a:gd name="connsiteY1" fmla="*/ -157 h 239064"/>
                  <a:gd name="connsiteX2" fmla="*/ 157545 w 239103"/>
                  <a:gd name="connsiteY2" fmla="*/ 21292 h 239064"/>
                  <a:gd name="connsiteX3" fmla="*/ 219512 w 239103"/>
                  <a:gd name="connsiteY3" fmla="*/ 30662 h 239064"/>
                  <a:gd name="connsiteX4" fmla="*/ 227787 w 239103"/>
                  <a:gd name="connsiteY4" fmla="*/ 39585 h 239064"/>
                  <a:gd name="connsiteX5" fmla="*/ 212220 w 239103"/>
                  <a:gd name="connsiteY5" fmla="*/ 60483 h 239064"/>
                  <a:gd name="connsiteX6" fmla="*/ 238438 w 239103"/>
                  <a:gd name="connsiteY6" fmla="*/ 92316 h 239064"/>
                  <a:gd name="connsiteX7" fmla="*/ 237403 w 239103"/>
                  <a:gd name="connsiteY7" fmla="*/ 160652 h 239064"/>
                  <a:gd name="connsiteX8" fmla="*/ 205390 w 239103"/>
                  <a:gd name="connsiteY8" fmla="*/ 152228 h 239064"/>
                  <a:gd name="connsiteX9" fmla="*/ 188828 w 239103"/>
                  <a:gd name="connsiteY9" fmla="*/ 173240 h 239064"/>
                  <a:gd name="connsiteX10" fmla="*/ 139078 w 239103"/>
                  <a:gd name="connsiteY10" fmla="*/ 167267 h 239064"/>
                  <a:gd name="connsiteX11" fmla="*/ 127837 w 239103"/>
                  <a:gd name="connsiteY11" fmla="*/ 182629 h 239064"/>
                  <a:gd name="connsiteX12" fmla="*/ 155697 w 239103"/>
                  <a:gd name="connsiteY12" fmla="*/ 185444 h 239064"/>
                  <a:gd name="connsiteX13" fmla="*/ 149176 w 239103"/>
                  <a:gd name="connsiteY13" fmla="*/ 216746 h 239064"/>
                  <a:gd name="connsiteX14" fmla="*/ 129998 w 239103"/>
                  <a:gd name="connsiteY14" fmla="*/ 210586 h 239064"/>
                  <a:gd name="connsiteX15" fmla="*/ 120174 w 239103"/>
                  <a:gd name="connsiteY15" fmla="*/ 230982 h 239064"/>
                  <a:gd name="connsiteX16" fmla="*/ 107114 w 239103"/>
                  <a:gd name="connsiteY16" fmla="*/ 217696 h 239064"/>
                  <a:gd name="connsiteX17" fmla="*/ 95771 w 239103"/>
                  <a:gd name="connsiteY17" fmla="*/ 238908 h 239064"/>
                  <a:gd name="connsiteX18" fmla="*/ 99814 w 239103"/>
                  <a:gd name="connsiteY18" fmla="*/ 221531 h 239064"/>
                  <a:gd name="connsiteX19" fmla="*/ 91172 w 239103"/>
                  <a:gd name="connsiteY19" fmla="*/ 233357 h 239064"/>
                  <a:gd name="connsiteX20" fmla="*/ 76320 w 239103"/>
                  <a:gd name="connsiteY20" fmla="*/ 203018 h 239064"/>
                  <a:gd name="connsiteX21" fmla="*/ 42853 w 239103"/>
                  <a:gd name="connsiteY21" fmla="*/ 220869 h 239064"/>
                  <a:gd name="connsiteX22" fmla="*/ 10855 w 239103"/>
                  <a:gd name="connsiteY22" fmla="*/ 197321 h 239064"/>
                  <a:gd name="connsiteX23" fmla="*/ -666 w 239103"/>
                  <a:gd name="connsiteY23" fmla="*/ 154854 h 239064"/>
                  <a:gd name="connsiteX24" fmla="*/ 20758 w 239103"/>
                  <a:gd name="connsiteY24" fmla="*/ 109509 h 239064"/>
                  <a:gd name="connsiteX25" fmla="*/ 4474 w 239103"/>
                  <a:gd name="connsiteY25" fmla="*/ 117381 h 239064"/>
                  <a:gd name="connsiteX26" fmla="*/ 5716 w 239103"/>
                  <a:gd name="connsiteY26" fmla="*/ 101319 h 239064"/>
                  <a:gd name="connsiteX27" fmla="*/ 72544 w 239103"/>
                  <a:gd name="connsiteY27" fmla="*/ 77166 h 239064"/>
                  <a:gd name="connsiteX28" fmla="*/ 66453 w 239103"/>
                  <a:gd name="connsiteY28" fmla="*/ 22409 h 239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39103" h="239064">
                    <a:moveTo>
                      <a:pt x="66453" y="22409"/>
                    </a:moveTo>
                    <a:lnTo>
                      <a:pt x="125611" y="-157"/>
                    </a:lnTo>
                    <a:lnTo>
                      <a:pt x="157545" y="21292"/>
                    </a:lnTo>
                    <a:lnTo>
                      <a:pt x="219512" y="30662"/>
                    </a:lnTo>
                    <a:lnTo>
                      <a:pt x="227787" y="39585"/>
                    </a:lnTo>
                    <a:lnTo>
                      <a:pt x="212220" y="60483"/>
                    </a:lnTo>
                    <a:lnTo>
                      <a:pt x="238438" y="92316"/>
                    </a:lnTo>
                    <a:lnTo>
                      <a:pt x="237403" y="160652"/>
                    </a:lnTo>
                    <a:lnTo>
                      <a:pt x="205390" y="152228"/>
                    </a:lnTo>
                    <a:lnTo>
                      <a:pt x="188828" y="173240"/>
                    </a:lnTo>
                    <a:lnTo>
                      <a:pt x="139078" y="167267"/>
                    </a:lnTo>
                    <a:lnTo>
                      <a:pt x="127837" y="182629"/>
                    </a:lnTo>
                    <a:lnTo>
                      <a:pt x="155697" y="185444"/>
                    </a:lnTo>
                    <a:lnTo>
                      <a:pt x="149176" y="216746"/>
                    </a:lnTo>
                    <a:lnTo>
                      <a:pt x="129998" y="210586"/>
                    </a:lnTo>
                    <a:lnTo>
                      <a:pt x="120174" y="230982"/>
                    </a:lnTo>
                    <a:lnTo>
                      <a:pt x="107114" y="217696"/>
                    </a:lnTo>
                    <a:lnTo>
                      <a:pt x="95771" y="238908"/>
                    </a:lnTo>
                    <a:lnTo>
                      <a:pt x="99814" y="221531"/>
                    </a:lnTo>
                    <a:lnTo>
                      <a:pt x="91172" y="233357"/>
                    </a:lnTo>
                    <a:lnTo>
                      <a:pt x="76320" y="203018"/>
                    </a:lnTo>
                    <a:lnTo>
                      <a:pt x="42853" y="220869"/>
                    </a:lnTo>
                    <a:lnTo>
                      <a:pt x="10855" y="197321"/>
                    </a:lnTo>
                    <a:lnTo>
                      <a:pt x="-666" y="154854"/>
                    </a:lnTo>
                    <a:lnTo>
                      <a:pt x="20758" y="109509"/>
                    </a:lnTo>
                    <a:lnTo>
                      <a:pt x="4474" y="117381"/>
                    </a:lnTo>
                    <a:lnTo>
                      <a:pt x="5716" y="101319"/>
                    </a:lnTo>
                    <a:lnTo>
                      <a:pt x="72544" y="77166"/>
                    </a:lnTo>
                    <a:lnTo>
                      <a:pt x="66453" y="22409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" name="Нижегородская область">
                <a:extLst>
                  <a:ext uri="{FF2B5EF4-FFF2-40B4-BE49-F238E27FC236}">
                    <a16:creationId xmlns:a16="http://schemas.microsoft.com/office/drawing/2014/main" id="{DACA15B1-0345-4C7C-AC93-06175C3DCDEF}"/>
                  </a:ext>
                </a:extLst>
              </p:cNvPr>
              <p:cNvSpPr/>
              <p:nvPr/>
            </p:nvSpPr>
            <p:spPr>
              <a:xfrm>
                <a:off x="2042298" y="3098494"/>
                <a:ext cx="672349" cy="441487"/>
              </a:xfrm>
              <a:custGeom>
                <a:avLst/>
                <a:gdLst>
                  <a:gd name="connsiteX0" fmla="*/ -666 w 672349"/>
                  <a:gd name="connsiteY0" fmla="*/ 158352 h 441487"/>
                  <a:gd name="connsiteX1" fmla="*/ 62343 w 672349"/>
                  <a:gd name="connsiteY1" fmla="*/ 147418 h 441487"/>
                  <a:gd name="connsiteX2" fmla="*/ 86934 w 672349"/>
                  <a:gd name="connsiteY2" fmla="*/ 120202 h 441487"/>
                  <a:gd name="connsiteX3" fmla="*/ 154954 w 672349"/>
                  <a:gd name="connsiteY3" fmla="*/ 127011 h 441487"/>
                  <a:gd name="connsiteX4" fmla="*/ 166015 w 672349"/>
                  <a:gd name="connsiteY4" fmla="*/ 111250 h 441487"/>
                  <a:gd name="connsiteX5" fmla="*/ 189248 w 672349"/>
                  <a:gd name="connsiteY5" fmla="*/ 124077 h 441487"/>
                  <a:gd name="connsiteX6" fmla="*/ 198941 w 672349"/>
                  <a:gd name="connsiteY6" fmla="*/ 73080 h 441487"/>
                  <a:gd name="connsiteX7" fmla="*/ 222653 w 672349"/>
                  <a:gd name="connsiteY7" fmla="*/ 84801 h 441487"/>
                  <a:gd name="connsiteX8" fmla="*/ 259584 w 672349"/>
                  <a:gd name="connsiteY8" fmla="*/ 46927 h 441487"/>
                  <a:gd name="connsiteX9" fmla="*/ 285997 w 672349"/>
                  <a:gd name="connsiteY9" fmla="*/ 72237 h 441487"/>
                  <a:gd name="connsiteX10" fmla="*/ 312629 w 672349"/>
                  <a:gd name="connsiteY10" fmla="*/ 21985 h 441487"/>
                  <a:gd name="connsiteX11" fmla="*/ 385576 w 672349"/>
                  <a:gd name="connsiteY11" fmla="*/ -157 h 441487"/>
                  <a:gd name="connsiteX12" fmla="*/ 385366 w 672349"/>
                  <a:gd name="connsiteY12" fmla="*/ 41454 h 441487"/>
                  <a:gd name="connsiteX13" fmla="*/ 427595 w 672349"/>
                  <a:gd name="connsiteY13" fmla="*/ 60016 h 441487"/>
                  <a:gd name="connsiteX14" fmla="*/ 471473 w 672349"/>
                  <a:gd name="connsiteY14" fmla="*/ 63610 h 441487"/>
                  <a:gd name="connsiteX15" fmla="*/ 507573 w 672349"/>
                  <a:gd name="connsiteY15" fmla="*/ 33166 h 441487"/>
                  <a:gd name="connsiteX16" fmla="*/ 527449 w 672349"/>
                  <a:gd name="connsiteY16" fmla="*/ 36143 h 441487"/>
                  <a:gd name="connsiteX17" fmla="*/ 549725 w 672349"/>
                  <a:gd name="connsiteY17" fmla="*/ 72012 h 441487"/>
                  <a:gd name="connsiteX18" fmla="*/ 543888 w 672349"/>
                  <a:gd name="connsiteY18" fmla="*/ 90270 h 441487"/>
                  <a:gd name="connsiteX19" fmla="*/ 569047 w 672349"/>
                  <a:gd name="connsiteY19" fmla="*/ 87643 h 441487"/>
                  <a:gd name="connsiteX20" fmla="*/ 602672 w 672349"/>
                  <a:gd name="connsiteY20" fmla="*/ 116237 h 441487"/>
                  <a:gd name="connsiteX21" fmla="*/ 671683 w 672349"/>
                  <a:gd name="connsiteY21" fmla="*/ 210207 h 441487"/>
                  <a:gd name="connsiteX22" fmla="*/ 612434 w 672349"/>
                  <a:gd name="connsiteY22" fmla="*/ 242882 h 441487"/>
                  <a:gd name="connsiteX23" fmla="*/ 568843 w 672349"/>
                  <a:gd name="connsiteY23" fmla="*/ 200501 h 441487"/>
                  <a:gd name="connsiteX24" fmla="*/ 510087 w 672349"/>
                  <a:gd name="connsiteY24" fmla="*/ 263723 h 441487"/>
                  <a:gd name="connsiteX25" fmla="*/ 448049 w 672349"/>
                  <a:gd name="connsiteY25" fmla="*/ 227529 h 441487"/>
                  <a:gd name="connsiteX26" fmla="*/ 426163 w 672349"/>
                  <a:gd name="connsiteY26" fmla="*/ 251633 h 441487"/>
                  <a:gd name="connsiteX27" fmla="*/ 397155 w 672349"/>
                  <a:gd name="connsiteY27" fmla="*/ 241239 h 441487"/>
                  <a:gd name="connsiteX28" fmla="*/ 387601 w 672349"/>
                  <a:gd name="connsiteY28" fmla="*/ 266657 h 441487"/>
                  <a:gd name="connsiteX29" fmla="*/ 402600 w 672349"/>
                  <a:gd name="connsiteY29" fmla="*/ 276961 h 441487"/>
                  <a:gd name="connsiteX30" fmla="*/ 377701 w 672349"/>
                  <a:gd name="connsiteY30" fmla="*/ 290500 h 441487"/>
                  <a:gd name="connsiteX31" fmla="*/ 373261 w 672349"/>
                  <a:gd name="connsiteY31" fmla="*/ 334684 h 441487"/>
                  <a:gd name="connsiteX32" fmla="*/ 317073 w 672349"/>
                  <a:gd name="connsiteY32" fmla="*/ 358959 h 441487"/>
                  <a:gd name="connsiteX33" fmla="*/ 320778 w 672349"/>
                  <a:gd name="connsiteY33" fmla="*/ 414839 h 441487"/>
                  <a:gd name="connsiteX34" fmla="*/ 248175 w 672349"/>
                  <a:gd name="connsiteY34" fmla="*/ 437121 h 441487"/>
                  <a:gd name="connsiteX35" fmla="*/ 230896 w 672349"/>
                  <a:gd name="connsiteY35" fmla="*/ 420029 h 441487"/>
                  <a:gd name="connsiteX36" fmla="*/ 251502 w 672349"/>
                  <a:gd name="connsiteY36" fmla="*/ 399166 h 441487"/>
                  <a:gd name="connsiteX37" fmla="*/ 229267 w 672349"/>
                  <a:gd name="connsiteY37" fmla="*/ 394357 h 441487"/>
                  <a:gd name="connsiteX38" fmla="*/ 200668 w 672349"/>
                  <a:gd name="connsiteY38" fmla="*/ 415784 h 441487"/>
                  <a:gd name="connsiteX39" fmla="*/ 158818 w 672349"/>
                  <a:gd name="connsiteY39" fmla="*/ 407070 h 441487"/>
                  <a:gd name="connsiteX40" fmla="*/ 138983 w 672349"/>
                  <a:gd name="connsiteY40" fmla="*/ 441331 h 441487"/>
                  <a:gd name="connsiteX41" fmla="*/ 101749 w 672349"/>
                  <a:gd name="connsiteY41" fmla="*/ 407963 h 441487"/>
                  <a:gd name="connsiteX42" fmla="*/ 113406 w 672349"/>
                  <a:gd name="connsiteY42" fmla="*/ 398039 h 441487"/>
                  <a:gd name="connsiteX43" fmla="*/ 91209 w 672349"/>
                  <a:gd name="connsiteY43" fmla="*/ 369636 h 441487"/>
                  <a:gd name="connsiteX44" fmla="*/ 99410 w 672349"/>
                  <a:gd name="connsiteY44" fmla="*/ 331232 h 441487"/>
                  <a:gd name="connsiteX45" fmla="*/ 80816 w 672349"/>
                  <a:gd name="connsiteY45" fmla="*/ 277514 h 441487"/>
                  <a:gd name="connsiteX46" fmla="*/ 41465 w 672349"/>
                  <a:gd name="connsiteY46" fmla="*/ 277577 h 441487"/>
                  <a:gd name="connsiteX47" fmla="*/ 3894 w 672349"/>
                  <a:gd name="connsiteY47" fmla="*/ 233418 h 441487"/>
                  <a:gd name="connsiteX48" fmla="*/ 31828 w 672349"/>
                  <a:gd name="connsiteY48" fmla="*/ 214158 h 441487"/>
                  <a:gd name="connsiteX49" fmla="*/ 2512 w 672349"/>
                  <a:gd name="connsiteY49" fmla="*/ 189743 h 441487"/>
                  <a:gd name="connsiteX50" fmla="*/ 12514 w 672349"/>
                  <a:gd name="connsiteY50" fmla="*/ 173333 h 441487"/>
                  <a:gd name="connsiteX51" fmla="*/ -666 w 672349"/>
                  <a:gd name="connsiteY51" fmla="*/ 158354 h 441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72349" h="441487">
                    <a:moveTo>
                      <a:pt x="-666" y="158352"/>
                    </a:moveTo>
                    <a:lnTo>
                      <a:pt x="62343" y="147418"/>
                    </a:lnTo>
                    <a:lnTo>
                      <a:pt x="86934" y="120202"/>
                    </a:lnTo>
                    <a:lnTo>
                      <a:pt x="154954" y="127011"/>
                    </a:lnTo>
                    <a:lnTo>
                      <a:pt x="166015" y="111250"/>
                    </a:lnTo>
                    <a:lnTo>
                      <a:pt x="189248" y="124077"/>
                    </a:lnTo>
                    <a:lnTo>
                      <a:pt x="198941" y="73080"/>
                    </a:lnTo>
                    <a:lnTo>
                      <a:pt x="222653" y="84801"/>
                    </a:lnTo>
                    <a:lnTo>
                      <a:pt x="259584" y="46927"/>
                    </a:lnTo>
                    <a:lnTo>
                      <a:pt x="285997" y="72237"/>
                    </a:lnTo>
                    <a:lnTo>
                      <a:pt x="312629" y="21985"/>
                    </a:lnTo>
                    <a:lnTo>
                      <a:pt x="385576" y="-157"/>
                    </a:lnTo>
                    <a:lnTo>
                      <a:pt x="385366" y="41454"/>
                    </a:lnTo>
                    <a:lnTo>
                      <a:pt x="427595" y="60016"/>
                    </a:lnTo>
                    <a:lnTo>
                      <a:pt x="471473" y="63610"/>
                    </a:lnTo>
                    <a:lnTo>
                      <a:pt x="507573" y="33166"/>
                    </a:lnTo>
                    <a:lnTo>
                      <a:pt x="527449" y="36143"/>
                    </a:lnTo>
                    <a:lnTo>
                      <a:pt x="549725" y="72012"/>
                    </a:lnTo>
                    <a:lnTo>
                      <a:pt x="543888" y="90270"/>
                    </a:lnTo>
                    <a:lnTo>
                      <a:pt x="569047" y="87643"/>
                    </a:lnTo>
                    <a:lnTo>
                      <a:pt x="602672" y="116237"/>
                    </a:lnTo>
                    <a:lnTo>
                      <a:pt x="671683" y="210207"/>
                    </a:lnTo>
                    <a:lnTo>
                      <a:pt x="612434" y="242882"/>
                    </a:lnTo>
                    <a:lnTo>
                      <a:pt x="568843" y="200501"/>
                    </a:lnTo>
                    <a:lnTo>
                      <a:pt x="510087" y="263723"/>
                    </a:lnTo>
                    <a:lnTo>
                      <a:pt x="448049" y="227529"/>
                    </a:lnTo>
                    <a:lnTo>
                      <a:pt x="426163" y="251633"/>
                    </a:lnTo>
                    <a:lnTo>
                      <a:pt x="397155" y="241239"/>
                    </a:lnTo>
                    <a:lnTo>
                      <a:pt x="387601" y="266657"/>
                    </a:lnTo>
                    <a:lnTo>
                      <a:pt x="402600" y="276961"/>
                    </a:lnTo>
                    <a:lnTo>
                      <a:pt x="377701" y="290500"/>
                    </a:lnTo>
                    <a:lnTo>
                      <a:pt x="373261" y="334684"/>
                    </a:lnTo>
                    <a:lnTo>
                      <a:pt x="317073" y="358959"/>
                    </a:lnTo>
                    <a:lnTo>
                      <a:pt x="320778" y="414839"/>
                    </a:lnTo>
                    <a:lnTo>
                      <a:pt x="248175" y="437121"/>
                    </a:lnTo>
                    <a:lnTo>
                      <a:pt x="230896" y="420029"/>
                    </a:lnTo>
                    <a:lnTo>
                      <a:pt x="251502" y="399166"/>
                    </a:lnTo>
                    <a:lnTo>
                      <a:pt x="229267" y="394357"/>
                    </a:lnTo>
                    <a:lnTo>
                      <a:pt x="200668" y="415784"/>
                    </a:lnTo>
                    <a:lnTo>
                      <a:pt x="158818" y="407070"/>
                    </a:lnTo>
                    <a:lnTo>
                      <a:pt x="138983" y="441331"/>
                    </a:lnTo>
                    <a:lnTo>
                      <a:pt x="101749" y="407963"/>
                    </a:lnTo>
                    <a:lnTo>
                      <a:pt x="113406" y="398039"/>
                    </a:lnTo>
                    <a:lnTo>
                      <a:pt x="91209" y="369636"/>
                    </a:lnTo>
                    <a:lnTo>
                      <a:pt x="99410" y="331232"/>
                    </a:lnTo>
                    <a:lnTo>
                      <a:pt x="80816" y="277514"/>
                    </a:lnTo>
                    <a:lnTo>
                      <a:pt x="41465" y="277577"/>
                    </a:lnTo>
                    <a:lnTo>
                      <a:pt x="3894" y="233418"/>
                    </a:lnTo>
                    <a:lnTo>
                      <a:pt x="31828" y="214158"/>
                    </a:lnTo>
                    <a:lnTo>
                      <a:pt x="2512" y="189743"/>
                    </a:lnTo>
                    <a:lnTo>
                      <a:pt x="12514" y="173333"/>
                    </a:lnTo>
                    <a:lnTo>
                      <a:pt x="-666" y="158354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" name="Пензенская область">
                <a:extLst>
                  <a:ext uri="{FF2B5EF4-FFF2-40B4-BE49-F238E27FC236}">
                    <a16:creationId xmlns:a16="http://schemas.microsoft.com/office/drawing/2014/main" id="{826F101E-9394-410E-AE8D-AA325802B9C8}"/>
                  </a:ext>
                </a:extLst>
              </p:cNvPr>
              <p:cNvSpPr/>
              <p:nvPr/>
            </p:nvSpPr>
            <p:spPr>
              <a:xfrm>
                <a:off x="1809734" y="3419534"/>
                <a:ext cx="375101" cy="433594"/>
              </a:xfrm>
              <a:custGeom>
                <a:avLst/>
                <a:gdLst>
                  <a:gd name="connsiteX0" fmla="*/ 95301 w 375101"/>
                  <a:gd name="connsiteY0" fmla="*/ -157 h 433594"/>
                  <a:gd name="connsiteX1" fmla="*/ 124161 w 375101"/>
                  <a:gd name="connsiteY1" fmla="*/ 6805 h 433594"/>
                  <a:gd name="connsiteX2" fmla="*/ 119798 w 375101"/>
                  <a:gd name="connsiteY2" fmla="*/ 29346 h 433594"/>
                  <a:gd name="connsiteX3" fmla="*/ 144586 w 375101"/>
                  <a:gd name="connsiteY3" fmla="*/ 35865 h 433594"/>
                  <a:gd name="connsiteX4" fmla="*/ 134665 w 375101"/>
                  <a:gd name="connsiteY4" fmla="*/ 44183 h 433594"/>
                  <a:gd name="connsiteX5" fmla="*/ 146481 w 375101"/>
                  <a:gd name="connsiteY5" fmla="*/ 37194 h 433594"/>
                  <a:gd name="connsiteX6" fmla="*/ 171910 w 375101"/>
                  <a:gd name="connsiteY6" fmla="*/ 64385 h 433594"/>
                  <a:gd name="connsiteX7" fmla="*/ 186744 w 375101"/>
                  <a:gd name="connsiteY7" fmla="*/ 45401 h 433594"/>
                  <a:gd name="connsiteX8" fmla="*/ 216755 w 375101"/>
                  <a:gd name="connsiteY8" fmla="*/ 68455 h 433594"/>
                  <a:gd name="connsiteX9" fmla="*/ 226287 w 375101"/>
                  <a:gd name="connsiteY9" fmla="*/ 98659 h 433594"/>
                  <a:gd name="connsiteX10" fmla="*/ 214344 w 375101"/>
                  <a:gd name="connsiteY10" fmla="*/ 127538 h 433594"/>
                  <a:gd name="connsiteX11" fmla="*/ 236735 w 375101"/>
                  <a:gd name="connsiteY11" fmla="*/ 171961 h 433594"/>
                  <a:gd name="connsiteX12" fmla="*/ 254542 w 375101"/>
                  <a:gd name="connsiteY12" fmla="*/ 182509 h 433594"/>
                  <a:gd name="connsiteX13" fmla="*/ 265364 w 375101"/>
                  <a:gd name="connsiteY13" fmla="*/ 155983 h 433594"/>
                  <a:gd name="connsiteX14" fmla="*/ 293922 w 375101"/>
                  <a:gd name="connsiteY14" fmla="*/ 158767 h 433594"/>
                  <a:gd name="connsiteX15" fmla="*/ 317393 w 375101"/>
                  <a:gd name="connsiteY15" fmla="*/ 202516 h 433594"/>
                  <a:gd name="connsiteX16" fmla="*/ 344122 w 375101"/>
                  <a:gd name="connsiteY16" fmla="*/ 223071 h 433594"/>
                  <a:gd name="connsiteX17" fmla="*/ 374436 w 375101"/>
                  <a:gd name="connsiteY17" fmla="*/ 223661 h 433594"/>
                  <a:gd name="connsiteX18" fmla="*/ 365915 w 375101"/>
                  <a:gd name="connsiteY18" fmla="*/ 297369 h 433594"/>
                  <a:gd name="connsiteX19" fmla="*/ 350645 w 375101"/>
                  <a:gd name="connsiteY19" fmla="*/ 312706 h 433594"/>
                  <a:gd name="connsiteX20" fmla="*/ 365137 w 375101"/>
                  <a:gd name="connsiteY20" fmla="*/ 359077 h 433594"/>
                  <a:gd name="connsiteX21" fmla="*/ 304784 w 375101"/>
                  <a:gd name="connsiteY21" fmla="*/ 431467 h 433594"/>
                  <a:gd name="connsiteX22" fmla="*/ 273359 w 375101"/>
                  <a:gd name="connsiteY22" fmla="*/ 433438 h 433594"/>
                  <a:gd name="connsiteX23" fmla="*/ 274931 w 375101"/>
                  <a:gd name="connsiteY23" fmla="*/ 410221 h 433594"/>
                  <a:gd name="connsiteX24" fmla="*/ 248584 w 375101"/>
                  <a:gd name="connsiteY24" fmla="*/ 397385 h 433594"/>
                  <a:gd name="connsiteX25" fmla="*/ 196827 w 375101"/>
                  <a:gd name="connsiteY25" fmla="*/ 406182 h 433594"/>
                  <a:gd name="connsiteX26" fmla="*/ 187198 w 375101"/>
                  <a:gd name="connsiteY26" fmla="*/ 372598 h 433594"/>
                  <a:gd name="connsiteX27" fmla="*/ 159637 w 375101"/>
                  <a:gd name="connsiteY27" fmla="*/ 371951 h 433594"/>
                  <a:gd name="connsiteX28" fmla="*/ 142039 w 375101"/>
                  <a:gd name="connsiteY28" fmla="*/ 348592 h 433594"/>
                  <a:gd name="connsiteX29" fmla="*/ 127122 w 375101"/>
                  <a:gd name="connsiteY29" fmla="*/ 357136 h 433594"/>
                  <a:gd name="connsiteX30" fmla="*/ 115744 w 375101"/>
                  <a:gd name="connsiteY30" fmla="*/ 295855 h 433594"/>
                  <a:gd name="connsiteX31" fmla="*/ 73514 w 375101"/>
                  <a:gd name="connsiteY31" fmla="*/ 309306 h 433594"/>
                  <a:gd name="connsiteX32" fmla="*/ 52593 w 375101"/>
                  <a:gd name="connsiteY32" fmla="*/ 253579 h 433594"/>
                  <a:gd name="connsiteX33" fmla="*/ 18827 w 375101"/>
                  <a:gd name="connsiteY33" fmla="*/ 236017 h 433594"/>
                  <a:gd name="connsiteX34" fmla="*/ 20025 w 375101"/>
                  <a:gd name="connsiteY34" fmla="*/ 213515 h 433594"/>
                  <a:gd name="connsiteX35" fmla="*/ -666 w 375101"/>
                  <a:gd name="connsiteY35" fmla="*/ 211685 h 433594"/>
                  <a:gd name="connsiteX36" fmla="*/ 47644 w 375101"/>
                  <a:gd name="connsiteY36" fmla="*/ 187953 h 433594"/>
                  <a:gd name="connsiteX37" fmla="*/ 60452 w 375101"/>
                  <a:gd name="connsiteY37" fmla="*/ 51913 h 433594"/>
                  <a:gd name="connsiteX38" fmla="*/ 95301 w 375101"/>
                  <a:gd name="connsiteY38" fmla="*/ -157 h 433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375101" h="433594">
                    <a:moveTo>
                      <a:pt x="95301" y="-157"/>
                    </a:moveTo>
                    <a:lnTo>
                      <a:pt x="124161" y="6805"/>
                    </a:lnTo>
                    <a:lnTo>
                      <a:pt x="119798" y="29346"/>
                    </a:lnTo>
                    <a:lnTo>
                      <a:pt x="144586" y="35865"/>
                    </a:lnTo>
                    <a:lnTo>
                      <a:pt x="134665" y="44183"/>
                    </a:lnTo>
                    <a:lnTo>
                      <a:pt x="146481" y="37194"/>
                    </a:lnTo>
                    <a:lnTo>
                      <a:pt x="171910" y="64385"/>
                    </a:lnTo>
                    <a:lnTo>
                      <a:pt x="186744" y="45401"/>
                    </a:lnTo>
                    <a:lnTo>
                      <a:pt x="216755" y="68455"/>
                    </a:lnTo>
                    <a:lnTo>
                      <a:pt x="226287" y="98659"/>
                    </a:lnTo>
                    <a:lnTo>
                      <a:pt x="214344" y="127538"/>
                    </a:lnTo>
                    <a:lnTo>
                      <a:pt x="236735" y="171961"/>
                    </a:lnTo>
                    <a:lnTo>
                      <a:pt x="254542" y="182509"/>
                    </a:lnTo>
                    <a:lnTo>
                      <a:pt x="265364" y="155983"/>
                    </a:lnTo>
                    <a:lnTo>
                      <a:pt x="293922" y="158767"/>
                    </a:lnTo>
                    <a:lnTo>
                      <a:pt x="317393" y="202516"/>
                    </a:lnTo>
                    <a:lnTo>
                      <a:pt x="344122" y="223071"/>
                    </a:lnTo>
                    <a:lnTo>
                      <a:pt x="374436" y="223661"/>
                    </a:lnTo>
                    <a:lnTo>
                      <a:pt x="365915" y="297369"/>
                    </a:lnTo>
                    <a:lnTo>
                      <a:pt x="350645" y="312706"/>
                    </a:lnTo>
                    <a:lnTo>
                      <a:pt x="365137" y="359077"/>
                    </a:lnTo>
                    <a:lnTo>
                      <a:pt x="304784" y="431467"/>
                    </a:lnTo>
                    <a:lnTo>
                      <a:pt x="273359" y="433438"/>
                    </a:lnTo>
                    <a:lnTo>
                      <a:pt x="274931" y="410221"/>
                    </a:lnTo>
                    <a:lnTo>
                      <a:pt x="248584" y="397385"/>
                    </a:lnTo>
                    <a:lnTo>
                      <a:pt x="196827" y="406182"/>
                    </a:lnTo>
                    <a:lnTo>
                      <a:pt x="187198" y="372598"/>
                    </a:lnTo>
                    <a:lnTo>
                      <a:pt x="159637" y="371951"/>
                    </a:lnTo>
                    <a:lnTo>
                      <a:pt x="142039" y="348592"/>
                    </a:lnTo>
                    <a:lnTo>
                      <a:pt x="127122" y="357136"/>
                    </a:lnTo>
                    <a:lnTo>
                      <a:pt x="115744" y="295855"/>
                    </a:lnTo>
                    <a:lnTo>
                      <a:pt x="73514" y="309306"/>
                    </a:lnTo>
                    <a:lnTo>
                      <a:pt x="52593" y="253579"/>
                    </a:lnTo>
                    <a:lnTo>
                      <a:pt x="18827" y="236017"/>
                    </a:lnTo>
                    <a:lnTo>
                      <a:pt x="20025" y="213515"/>
                    </a:lnTo>
                    <a:lnTo>
                      <a:pt x="-666" y="211685"/>
                    </a:lnTo>
                    <a:lnTo>
                      <a:pt x="47644" y="187953"/>
                    </a:lnTo>
                    <a:lnTo>
                      <a:pt x="60452" y="51913"/>
                    </a:lnTo>
                    <a:lnTo>
                      <a:pt x="95301" y="-157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" name="Республика Мордовия">
                <a:extLst>
                  <a:ext uri="{FF2B5EF4-FFF2-40B4-BE49-F238E27FC236}">
                    <a16:creationId xmlns:a16="http://schemas.microsoft.com/office/drawing/2014/main" id="{B5DACEEA-9A1C-4747-A0D8-ED7D8D307558}"/>
                  </a:ext>
                </a:extLst>
              </p:cNvPr>
              <p:cNvSpPr/>
              <p:nvPr/>
            </p:nvSpPr>
            <p:spPr>
              <a:xfrm>
                <a:off x="1925133" y="3325423"/>
                <a:ext cx="390087" cy="332791"/>
              </a:xfrm>
              <a:custGeom>
                <a:avLst/>
                <a:gdLst>
                  <a:gd name="connsiteX0" fmla="*/ 43496 w 390087"/>
                  <a:gd name="connsiteY0" fmla="*/ 45614 h 332791"/>
                  <a:gd name="connsiteX1" fmla="*/ 85936 w 390087"/>
                  <a:gd name="connsiteY1" fmla="*/ 63536 h 332791"/>
                  <a:gd name="connsiteX2" fmla="*/ 112702 w 390087"/>
                  <a:gd name="connsiteY2" fmla="*/ 46302 h 332791"/>
                  <a:gd name="connsiteX3" fmla="*/ 109766 w 390087"/>
                  <a:gd name="connsiteY3" fmla="*/ 15053 h 332791"/>
                  <a:gd name="connsiteX4" fmla="*/ 125185 w 390087"/>
                  <a:gd name="connsiteY4" fmla="*/ -157 h 332791"/>
                  <a:gd name="connsiteX5" fmla="*/ 117584 w 390087"/>
                  <a:gd name="connsiteY5" fmla="*/ 12713 h 332791"/>
                  <a:gd name="connsiteX6" fmla="*/ 130446 w 390087"/>
                  <a:gd name="connsiteY6" fmla="*/ 6469 h 332791"/>
                  <a:gd name="connsiteX7" fmla="*/ 159103 w 390087"/>
                  <a:gd name="connsiteY7" fmla="*/ 51367 h 332791"/>
                  <a:gd name="connsiteX8" fmla="*/ 198097 w 390087"/>
                  <a:gd name="connsiteY8" fmla="*/ 50706 h 332791"/>
                  <a:gd name="connsiteX9" fmla="*/ 216574 w 390087"/>
                  <a:gd name="connsiteY9" fmla="*/ 104303 h 332791"/>
                  <a:gd name="connsiteX10" fmla="*/ 208374 w 390087"/>
                  <a:gd name="connsiteY10" fmla="*/ 142707 h 332791"/>
                  <a:gd name="connsiteX11" fmla="*/ 230571 w 390087"/>
                  <a:gd name="connsiteY11" fmla="*/ 171110 h 332791"/>
                  <a:gd name="connsiteX12" fmla="*/ 218962 w 390087"/>
                  <a:gd name="connsiteY12" fmla="*/ 181227 h 332791"/>
                  <a:gd name="connsiteX13" fmla="*/ 251796 w 390087"/>
                  <a:gd name="connsiteY13" fmla="*/ 213962 h 332791"/>
                  <a:gd name="connsiteX14" fmla="*/ 275590 w 390087"/>
                  <a:gd name="connsiteY14" fmla="*/ 180338 h 332791"/>
                  <a:gd name="connsiteX15" fmla="*/ 317832 w 390087"/>
                  <a:gd name="connsiteY15" fmla="*/ 188855 h 332791"/>
                  <a:gd name="connsiteX16" fmla="*/ 345212 w 390087"/>
                  <a:gd name="connsiteY16" fmla="*/ 167772 h 332791"/>
                  <a:gd name="connsiteX17" fmla="*/ 368666 w 390087"/>
                  <a:gd name="connsiteY17" fmla="*/ 172237 h 332791"/>
                  <a:gd name="connsiteX18" fmla="*/ 348262 w 390087"/>
                  <a:gd name="connsiteY18" fmla="*/ 195644 h 332791"/>
                  <a:gd name="connsiteX19" fmla="*/ 376004 w 390087"/>
                  <a:gd name="connsiteY19" fmla="*/ 210451 h 332791"/>
                  <a:gd name="connsiteX20" fmla="*/ 373898 w 390087"/>
                  <a:gd name="connsiteY20" fmla="*/ 224381 h 332791"/>
                  <a:gd name="connsiteX21" fmla="*/ 389422 w 390087"/>
                  <a:gd name="connsiteY21" fmla="*/ 221237 h 332791"/>
                  <a:gd name="connsiteX22" fmla="*/ 361788 w 390087"/>
                  <a:gd name="connsiteY22" fmla="*/ 285845 h 332791"/>
                  <a:gd name="connsiteX23" fmla="*/ 340169 w 390087"/>
                  <a:gd name="connsiteY23" fmla="*/ 298869 h 332791"/>
                  <a:gd name="connsiteX24" fmla="*/ 348668 w 390087"/>
                  <a:gd name="connsiteY24" fmla="*/ 324878 h 332791"/>
                  <a:gd name="connsiteX25" fmla="*/ 332215 w 390087"/>
                  <a:gd name="connsiteY25" fmla="*/ 332635 h 332791"/>
                  <a:gd name="connsiteX26" fmla="*/ 272904 w 390087"/>
                  <a:gd name="connsiteY26" fmla="*/ 304388 h 332791"/>
                  <a:gd name="connsiteX27" fmla="*/ 228723 w 390087"/>
                  <a:gd name="connsiteY27" fmla="*/ 317182 h 332791"/>
                  <a:gd name="connsiteX28" fmla="*/ 198415 w 390087"/>
                  <a:gd name="connsiteY28" fmla="*/ 293026 h 332791"/>
                  <a:gd name="connsiteX29" fmla="*/ 201517 w 390087"/>
                  <a:gd name="connsiteY29" fmla="*/ 274160 h 332791"/>
                  <a:gd name="connsiteX30" fmla="*/ 161487 w 390087"/>
                  <a:gd name="connsiteY30" fmla="*/ 247352 h 332791"/>
                  <a:gd name="connsiteX31" fmla="*/ 142606 w 390087"/>
                  <a:gd name="connsiteY31" fmla="*/ 275126 h 332791"/>
                  <a:gd name="connsiteX32" fmla="*/ 121336 w 390087"/>
                  <a:gd name="connsiteY32" fmla="*/ 266071 h 332791"/>
                  <a:gd name="connsiteX33" fmla="*/ 123406 w 390087"/>
                  <a:gd name="connsiteY33" fmla="*/ 250720 h 332791"/>
                  <a:gd name="connsiteX34" fmla="*/ 102019 w 390087"/>
                  <a:gd name="connsiteY34" fmla="*/ 235528 h 332791"/>
                  <a:gd name="connsiteX35" fmla="*/ 110888 w 390087"/>
                  <a:gd name="connsiteY35" fmla="*/ 192769 h 332791"/>
                  <a:gd name="connsiteX36" fmla="*/ 88432 w 390087"/>
                  <a:gd name="connsiteY36" fmla="*/ 146780 h 332791"/>
                  <a:gd name="connsiteX37" fmla="*/ 71346 w 390087"/>
                  <a:gd name="connsiteY37" fmla="*/ 139512 h 332791"/>
                  <a:gd name="connsiteX38" fmla="*/ 55450 w 390087"/>
                  <a:gd name="connsiteY38" fmla="*/ 158374 h 332791"/>
                  <a:gd name="connsiteX39" fmla="*/ 31082 w 390087"/>
                  <a:gd name="connsiteY39" fmla="*/ 131304 h 332791"/>
                  <a:gd name="connsiteX40" fmla="*/ 19266 w 390087"/>
                  <a:gd name="connsiteY40" fmla="*/ 138293 h 332791"/>
                  <a:gd name="connsiteX41" fmla="*/ 29631 w 390087"/>
                  <a:gd name="connsiteY41" fmla="*/ 130042 h 332791"/>
                  <a:gd name="connsiteX42" fmla="*/ 9139 w 390087"/>
                  <a:gd name="connsiteY42" fmla="*/ 125224 h 332791"/>
                  <a:gd name="connsiteX43" fmla="*/ 19650 w 390087"/>
                  <a:gd name="connsiteY43" fmla="*/ 117304 h 332791"/>
                  <a:gd name="connsiteX44" fmla="*/ 4399 w 390087"/>
                  <a:gd name="connsiteY44" fmla="*/ 123457 h 332791"/>
                  <a:gd name="connsiteX45" fmla="*/ -666 w 390087"/>
                  <a:gd name="connsiteY45" fmla="*/ 103899 h 332791"/>
                  <a:gd name="connsiteX46" fmla="*/ 30851 w 390087"/>
                  <a:gd name="connsiteY46" fmla="*/ 92099 h 332791"/>
                  <a:gd name="connsiteX47" fmla="*/ 29989 w 390087"/>
                  <a:gd name="connsiteY47" fmla="*/ 70176 h 332791"/>
                  <a:gd name="connsiteX48" fmla="*/ 62689 w 390087"/>
                  <a:gd name="connsiteY48" fmla="*/ 91146 h 332791"/>
                  <a:gd name="connsiteX49" fmla="*/ 60021 w 390087"/>
                  <a:gd name="connsiteY49" fmla="*/ 63721 h 332791"/>
                  <a:gd name="connsiteX50" fmla="*/ 38003 w 390087"/>
                  <a:gd name="connsiteY50" fmla="*/ 62575 h 332791"/>
                  <a:gd name="connsiteX51" fmla="*/ 43496 w 390087"/>
                  <a:gd name="connsiteY51" fmla="*/ 45613 h 332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390087" h="332791">
                    <a:moveTo>
                      <a:pt x="43496" y="45614"/>
                    </a:moveTo>
                    <a:lnTo>
                      <a:pt x="85936" y="63536"/>
                    </a:lnTo>
                    <a:lnTo>
                      <a:pt x="112702" y="46302"/>
                    </a:lnTo>
                    <a:lnTo>
                      <a:pt x="109766" y="15053"/>
                    </a:lnTo>
                    <a:lnTo>
                      <a:pt x="125185" y="-157"/>
                    </a:lnTo>
                    <a:lnTo>
                      <a:pt x="117584" y="12713"/>
                    </a:lnTo>
                    <a:lnTo>
                      <a:pt x="130446" y="6469"/>
                    </a:lnTo>
                    <a:lnTo>
                      <a:pt x="159103" y="51367"/>
                    </a:lnTo>
                    <a:lnTo>
                      <a:pt x="198097" y="50706"/>
                    </a:lnTo>
                    <a:lnTo>
                      <a:pt x="216574" y="104303"/>
                    </a:lnTo>
                    <a:lnTo>
                      <a:pt x="208374" y="142707"/>
                    </a:lnTo>
                    <a:lnTo>
                      <a:pt x="230571" y="171110"/>
                    </a:lnTo>
                    <a:lnTo>
                      <a:pt x="218962" y="181227"/>
                    </a:lnTo>
                    <a:lnTo>
                      <a:pt x="251796" y="213962"/>
                    </a:lnTo>
                    <a:lnTo>
                      <a:pt x="275590" y="180338"/>
                    </a:lnTo>
                    <a:lnTo>
                      <a:pt x="317832" y="188855"/>
                    </a:lnTo>
                    <a:lnTo>
                      <a:pt x="345212" y="167772"/>
                    </a:lnTo>
                    <a:lnTo>
                      <a:pt x="368666" y="172237"/>
                    </a:lnTo>
                    <a:lnTo>
                      <a:pt x="348262" y="195644"/>
                    </a:lnTo>
                    <a:lnTo>
                      <a:pt x="376004" y="210451"/>
                    </a:lnTo>
                    <a:lnTo>
                      <a:pt x="373898" y="224381"/>
                    </a:lnTo>
                    <a:lnTo>
                      <a:pt x="389422" y="221237"/>
                    </a:lnTo>
                    <a:lnTo>
                      <a:pt x="361788" y="285845"/>
                    </a:lnTo>
                    <a:lnTo>
                      <a:pt x="340169" y="298869"/>
                    </a:lnTo>
                    <a:lnTo>
                      <a:pt x="348668" y="324878"/>
                    </a:lnTo>
                    <a:lnTo>
                      <a:pt x="332215" y="332635"/>
                    </a:lnTo>
                    <a:lnTo>
                      <a:pt x="272904" y="304388"/>
                    </a:lnTo>
                    <a:lnTo>
                      <a:pt x="228723" y="317182"/>
                    </a:lnTo>
                    <a:lnTo>
                      <a:pt x="198415" y="293026"/>
                    </a:lnTo>
                    <a:lnTo>
                      <a:pt x="201517" y="274160"/>
                    </a:lnTo>
                    <a:lnTo>
                      <a:pt x="161487" y="247352"/>
                    </a:lnTo>
                    <a:lnTo>
                      <a:pt x="142606" y="275126"/>
                    </a:lnTo>
                    <a:lnTo>
                      <a:pt x="121336" y="266071"/>
                    </a:lnTo>
                    <a:lnTo>
                      <a:pt x="123406" y="250720"/>
                    </a:lnTo>
                    <a:lnTo>
                      <a:pt x="102019" y="235528"/>
                    </a:lnTo>
                    <a:lnTo>
                      <a:pt x="110888" y="192769"/>
                    </a:lnTo>
                    <a:lnTo>
                      <a:pt x="88432" y="146780"/>
                    </a:lnTo>
                    <a:lnTo>
                      <a:pt x="71346" y="139512"/>
                    </a:lnTo>
                    <a:lnTo>
                      <a:pt x="55450" y="158374"/>
                    </a:lnTo>
                    <a:lnTo>
                      <a:pt x="31082" y="131304"/>
                    </a:lnTo>
                    <a:lnTo>
                      <a:pt x="19266" y="138293"/>
                    </a:lnTo>
                    <a:lnTo>
                      <a:pt x="29631" y="130042"/>
                    </a:lnTo>
                    <a:lnTo>
                      <a:pt x="9139" y="125224"/>
                    </a:lnTo>
                    <a:lnTo>
                      <a:pt x="19650" y="117304"/>
                    </a:lnTo>
                    <a:lnTo>
                      <a:pt x="4399" y="123457"/>
                    </a:lnTo>
                    <a:lnTo>
                      <a:pt x="-666" y="103899"/>
                    </a:lnTo>
                    <a:lnTo>
                      <a:pt x="30851" y="92099"/>
                    </a:lnTo>
                    <a:lnTo>
                      <a:pt x="29989" y="70176"/>
                    </a:lnTo>
                    <a:lnTo>
                      <a:pt x="62689" y="91146"/>
                    </a:lnTo>
                    <a:lnTo>
                      <a:pt x="60021" y="63721"/>
                    </a:lnTo>
                    <a:lnTo>
                      <a:pt x="38003" y="62575"/>
                    </a:lnTo>
                    <a:lnTo>
                      <a:pt x="43496" y="45613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" name="Саратовская область">
                <a:extLst>
                  <a:ext uri="{FF2B5EF4-FFF2-40B4-BE49-F238E27FC236}">
                    <a16:creationId xmlns:a16="http://schemas.microsoft.com/office/drawing/2014/main" id="{B55C5562-21BF-4489-9AA5-DA0C9BC5BCAD}"/>
                  </a:ext>
                </a:extLst>
              </p:cNvPr>
              <p:cNvSpPr/>
              <p:nvPr/>
            </p:nvSpPr>
            <p:spPr>
              <a:xfrm>
                <a:off x="1670286" y="3624090"/>
                <a:ext cx="622825" cy="667830"/>
              </a:xfrm>
              <a:custGeom>
                <a:avLst/>
                <a:gdLst>
                  <a:gd name="connsiteX0" fmla="*/ 23725 w 622825"/>
                  <a:gd name="connsiteY0" fmla="*/ 44758 h 667830"/>
                  <a:gd name="connsiteX1" fmla="*/ 129698 w 622825"/>
                  <a:gd name="connsiteY1" fmla="*/ -157 h 667830"/>
                  <a:gd name="connsiteX2" fmla="*/ 159472 w 622825"/>
                  <a:gd name="connsiteY2" fmla="*/ 8959 h 667830"/>
                  <a:gd name="connsiteX3" fmla="*/ 158274 w 622825"/>
                  <a:gd name="connsiteY3" fmla="*/ 31461 h 667830"/>
                  <a:gd name="connsiteX4" fmla="*/ 192041 w 622825"/>
                  <a:gd name="connsiteY4" fmla="*/ 49022 h 667830"/>
                  <a:gd name="connsiteX5" fmla="*/ 212962 w 622825"/>
                  <a:gd name="connsiteY5" fmla="*/ 104750 h 667830"/>
                  <a:gd name="connsiteX6" fmla="*/ 255192 w 622825"/>
                  <a:gd name="connsiteY6" fmla="*/ 91299 h 667830"/>
                  <a:gd name="connsiteX7" fmla="*/ 266570 w 622825"/>
                  <a:gd name="connsiteY7" fmla="*/ 152581 h 667830"/>
                  <a:gd name="connsiteX8" fmla="*/ 281486 w 622825"/>
                  <a:gd name="connsiteY8" fmla="*/ 144036 h 667830"/>
                  <a:gd name="connsiteX9" fmla="*/ 299107 w 622825"/>
                  <a:gd name="connsiteY9" fmla="*/ 167487 h 667830"/>
                  <a:gd name="connsiteX10" fmla="*/ 326646 w 622825"/>
                  <a:gd name="connsiteY10" fmla="*/ 168041 h 667830"/>
                  <a:gd name="connsiteX11" fmla="*/ 336274 w 622825"/>
                  <a:gd name="connsiteY11" fmla="*/ 201626 h 667830"/>
                  <a:gd name="connsiteX12" fmla="*/ 373168 w 622825"/>
                  <a:gd name="connsiteY12" fmla="*/ 191565 h 667830"/>
                  <a:gd name="connsiteX13" fmla="*/ 413783 w 622825"/>
                  <a:gd name="connsiteY13" fmla="*/ 205175 h 667830"/>
                  <a:gd name="connsiteX14" fmla="*/ 425659 w 622825"/>
                  <a:gd name="connsiteY14" fmla="*/ 257873 h 667830"/>
                  <a:gd name="connsiteX15" fmla="*/ 476172 w 622825"/>
                  <a:gd name="connsiteY15" fmla="*/ 296861 h 667830"/>
                  <a:gd name="connsiteX16" fmla="*/ 499635 w 622825"/>
                  <a:gd name="connsiteY16" fmla="*/ 283500 h 667830"/>
                  <a:gd name="connsiteX17" fmla="*/ 498565 w 622825"/>
                  <a:gd name="connsiteY17" fmla="*/ 301532 h 667830"/>
                  <a:gd name="connsiteX18" fmla="*/ 524841 w 622825"/>
                  <a:gd name="connsiteY18" fmla="*/ 294549 h 667830"/>
                  <a:gd name="connsiteX19" fmla="*/ 550527 w 622825"/>
                  <a:gd name="connsiteY19" fmla="*/ 312508 h 667830"/>
                  <a:gd name="connsiteX20" fmla="*/ 528623 w 622825"/>
                  <a:gd name="connsiteY20" fmla="*/ 321178 h 667830"/>
                  <a:gd name="connsiteX21" fmla="*/ 550770 w 622825"/>
                  <a:gd name="connsiteY21" fmla="*/ 350579 h 667830"/>
                  <a:gd name="connsiteX22" fmla="*/ 539964 w 622825"/>
                  <a:gd name="connsiteY22" fmla="*/ 389374 h 667830"/>
                  <a:gd name="connsiteX23" fmla="*/ 575770 w 622825"/>
                  <a:gd name="connsiteY23" fmla="*/ 402711 h 667830"/>
                  <a:gd name="connsiteX24" fmla="*/ 566059 w 622825"/>
                  <a:gd name="connsiteY24" fmla="*/ 417577 h 667830"/>
                  <a:gd name="connsiteX25" fmla="*/ 571254 w 622825"/>
                  <a:gd name="connsiteY25" fmla="*/ 435357 h 667830"/>
                  <a:gd name="connsiteX26" fmla="*/ 587595 w 622825"/>
                  <a:gd name="connsiteY26" fmla="*/ 433994 h 667830"/>
                  <a:gd name="connsiteX27" fmla="*/ 580989 w 622825"/>
                  <a:gd name="connsiteY27" fmla="*/ 474511 h 667830"/>
                  <a:gd name="connsiteX28" fmla="*/ 607265 w 622825"/>
                  <a:gd name="connsiteY28" fmla="*/ 506141 h 667830"/>
                  <a:gd name="connsiteX29" fmla="*/ 590256 w 622825"/>
                  <a:gd name="connsiteY29" fmla="*/ 516067 h 667830"/>
                  <a:gd name="connsiteX30" fmla="*/ 622159 w 622825"/>
                  <a:gd name="connsiteY30" fmla="*/ 559134 h 667830"/>
                  <a:gd name="connsiteX31" fmla="*/ 603676 w 622825"/>
                  <a:gd name="connsiteY31" fmla="*/ 601525 h 667830"/>
                  <a:gd name="connsiteX32" fmla="*/ 584649 w 622825"/>
                  <a:gd name="connsiteY32" fmla="*/ 600518 h 667830"/>
                  <a:gd name="connsiteX33" fmla="*/ 584762 w 622825"/>
                  <a:gd name="connsiteY33" fmla="*/ 586311 h 667830"/>
                  <a:gd name="connsiteX34" fmla="*/ 564308 w 622825"/>
                  <a:gd name="connsiteY34" fmla="*/ 603897 h 667830"/>
                  <a:gd name="connsiteX35" fmla="*/ 523516 w 622825"/>
                  <a:gd name="connsiteY35" fmla="*/ 607498 h 667830"/>
                  <a:gd name="connsiteX36" fmla="*/ 471069 w 622825"/>
                  <a:gd name="connsiteY36" fmla="*/ 598078 h 667830"/>
                  <a:gd name="connsiteX37" fmla="*/ 440478 w 622825"/>
                  <a:gd name="connsiteY37" fmla="*/ 574841 h 667830"/>
                  <a:gd name="connsiteX38" fmla="*/ 417787 w 622825"/>
                  <a:gd name="connsiteY38" fmla="*/ 605181 h 667830"/>
                  <a:gd name="connsiteX39" fmla="*/ 347900 w 622825"/>
                  <a:gd name="connsiteY39" fmla="*/ 596232 h 667830"/>
                  <a:gd name="connsiteX40" fmla="*/ 333455 w 622825"/>
                  <a:gd name="connsiteY40" fmla="*/ 574834 h 667830"/>
                  <a:gd name="connsiteX41" fmla="*/ 293575 w 622825"/>
                  <a:gd name="connsiteY41" fmla="*/ 667674 h 667830"/>
                  <a:gd name="connsiteX42" fmla="*/ 236549 w 622825"/>
                  <a:gd name="connsiteY42" fmla="*/ 662415 h 667830"/>
                  <a:gd name="connsiteX43" fmla="*/ 227537 w 622825"/>
                  <a:gd name="connsiteY43" fmla="*/ 639965 h 667830"/>
                  <a:gd name="connsiteX44" fmla="*/ 245751 w 622825"/>
                  <a:gd name="connsiteY44" fmla="*/ 533070 h 667830"/>
                  <a:gd name="connsiteX45" fmla="*/ 207657 w 622825"/>
                  <a:gd name="connsiteY45" fmla="*/ 515391 h 667830"/>
                  <a:gd name="connsiteX46" fmla="*/ 220210 w 622825"/>
                  <a:gd name="connsiteY46" fmla="*/ 497678 h 667830"/>
                  <a:gd name="connsiteX47" fmla="*/ 196981 w 622825"/>
                  <a:gd name="connsiteY47" fmla="*/ 479877 h 667830"/>
                  <a:gd name="connsiteX48" fmla="*/ 207010 w 622825"/>
                  <a:gd name="connsiteY48" fmla="*/ 442090 h 667830"/>
                  <a:gd name="connsiteX49" fmla="*/ 155714 w 622825"/>
                  <a:gd name="connsiteY49" fmla="*/ 432300 h 667830"/>
                  <a:gd name="connsiteX50" fmla="*/ 140105 w 622825"/>
                  <a:gd name="connsiteY50" fmla="*/ 417539 h 667830"/>
                  <a:gd name="connsiteX51" fmla="*/ 157308 w 622825"/>
                  <a:gd name="connsiteY51" fmla="*/ 404077 h 667830"/>
                  <a:gd name="connsiteX52" fmla="*/ 149592 w 622825"/>
                  <a:gd name="connsiteY52" fmla="*/ 376749 h 667830"/>
                  <a:gd name="connsiteX53" fmla="*/ 118771 w 622825"/>
                  <a:gd name="connsiteY53" fmla="*/ 385965 h 667830"/>
                  <a:gd name="connsiteX54" fmla="*/ 85260 w 622825"/>
                  <a:gd name="connsiteY54" fmla="*/ 350683 h 667830"/>
                  <a:gd name="connsiteX55" fmla="*/ 126364 w 622825"/>
                  <a:gd name="connsiteY55" fmla="*/ 327285 h 667830"/>
                  <a:gd name="connsiteX56" fmla="*/ 133199 w 622825"/>
                  <a:gd name="connsiteY56" fmla="*/ 274977 h 667830"/>
                  <a:gd name="connsiteX57" fmla="*/ 86441 w 622825"/>
                  <a:gd name="connsiteY57" fmla="*/ 216129 h 667830"/>
                  <a:gd name="connsiteX58" fmla="*/ 71712 w 622825"/>
                  <a:gd name="connsiteY58" fmla="*/ 224629 h 667830"/>
                  <a:gd name="connsiteX59" fmla="*/ 61478 w 622825"/>
                  <a:gd name="connsiteY59" fmla="*/ 198824 h 667830"/>
                  <a:gd name="connsiteX60" fmla="*/ 4845 w 622825"/>
                  <a:gd name="connsiteY60" fmla="*/ 176575 h 667830"/>
                  <a:gd name="connsiteX61" fmla="*/ -666 w 622825"/>
                  <a:gd name="connsiteY61" fmla="*/ 117699 h 667830"/>
                  <a:gd name="connsiteX62" fmla="*/ 16519 w 622825"/>
                  <a:gd name="connsiteY62" fmla="*/ 98611 h 667830"/>
                  <a:gd name="connsiteX63" fmla="*/ 23724 w 622825"/>
                  <a:gd name="connsiteY63" fmla="*/ 44757 h 667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622825" h="667830">
                    <a:moveTo>
                      <a:pt x="23725" y="44758"/>
                    </a:moveTo>
                    <a:lnTo>
                      <a:pt x="129698" y="-157"/>
                    </a:lnTo>
                    <a:lnTo>
                      <a:pt x="159472" y="8959"/>
                    </a:lnTo>
                    <a:lnTo>
                      <a:pt x="158274" y="31461"/>
                    </a:lnTo>
                    <a:lnTo>
                      <a:pt x="192041" y="49022"/>
                    </a:lnTo>
                    <a:lnTo>
                      <a:pt x="212962" y="104750"/>
                    </a:lnTo>
                    <a:lnTo>
                      <a:pt x="255192" y="91299"/>
                    </a:lnTo>
                    <a:lnTo>
                      <a:pt x="266570" y="152581"/>
                    </a:lnTo>
                    <a:lnTo>
                      <a:pt x="281486" y="144036"/>
                    </a:lnTo>
                    <a:lnTo>
                      <a:pt x="299107" y="167487"/>
                    </a:lnTo>
                    <a:lnTo>
                      <a:pt x="326646" y="168041"/>
                    </a:lnTo>
                    <a:lnTo>
                      <a:pt x="336274" y="201626"/>
                    </a:lnTo>
                    <a:lnTo>
                      <a:pt x="373168" y="191565"/>
                    </a:lnTo>
                    <a:lnTo>
                      <a:pt x="413783" y="205175"/>
                    </a:lnTo>
                    <a:lnTo>
                      <a:pt x="425659" y="257873"/>
                    </a:lnTo>
                    <a:lnTo>
                      <a:pt x="476172" y="296861"/>
                    </a:lnTo>
                    <a:lnTo>
                      <a:pt x="499635" y="283500"/>
                    </a:lnTo>
                    <a:lnTo>
                      <a:pt x="498565" y="301532"/>
                    </a:lnTo>
                    <a:lnTo>
                      <a:pt x="524841" y="294549"/>
                    </a:lnTo>
                    <a:lnTo>
                      <a:pt x="550527" y="312508"/>
                    </a:lnTo>
                    <a:lnTo>
                      <a:pt x="528623" y="321178"/>
                    </a:lnTo>
                    <a:lnTo>
                      <a:pt x="550770" y="350579"/>
                    </a:lnTo>
                    <a:lnTo>
                      <a:pt x="539964" y="389374"/>
                    </a:lnTo>
                    <a:lnTo>
                      <a:pt x="575770" y="402711"/>
                    </a:lnTo>
                    <a:lnTo>
                      <a:pt x="566059" y="417577"/>
                    </a:lnTo>
                    <a:lnTo>
                      <a:pt x="571254" y="435357"/>
                    </a:lnTo>
                    <a:lnTo>
                      <a:pt x="587595" y="433994"/>
                    </a:lnTo>
                    <a:lnTo>
                      <a:pt x="580989" y="474511"/>
                    </a:lnTo>
                    <a:lnTo>
                      <a:pt x="607265" y="506141"/>
                    </a:lnTo>
                    <a:lnTo>
                      <a:pt x="590256" y="516067"/>
                    </a:lnTo>
                    <a:lnTo>
                      <a:pt x="622159" y="559134"/>
                    </a:lnTo>
                    <a:lnTo>
                      <a:pt x="603676" y="601525"/>
                    </a:lnTo>
                    <a:lnTo>
                      <a:pt x="584649" y="600518"/>
                    </a:lnTo>
                    <a:lnTo>
                      <a:pt x="584762" y="586311"/>
                    </a:lnTo>
                    <a:lnTo>
                      <a:pt x="564308" y="603897"/>
                    </a:lnTo>
                    <a:lnTo>
                      <a:pt x="523516" y="607498"/>
                    </a:lnTo>
                    <a:lnTo>
                      <a:pt x="471069" y="598078"/>
                    </a:lnTo>
                    <a:lnTo>
                      <a:pt x="440478" y="574841"/>
                    </a:lnTo>
                    <a:lnTo>
                      <a:pt x="417787" y="605181"/>
                    </a:lnTo>
                    <a:lnTo>
                      <a:pt x="347900" y="596232"/>
                    </a:lnTo>
                    <a:lnTo>
                      <a:pt x="333455" y="574834"/>
                    </a:lnTo>
                    <a:lnTo>
                      <a:pt x="293575" y="667674"/>
                    </a:lnTo>
                    <a:lnTo>
                      <a:pt x="236549" y="662415"/>
                    </a:lnTo>
                    <a:lnTo>
                      <a:pt x="227537" y="639965"/>
                    </a:lnTo>
                    <a:lnTo>
                      <a:pt x="245751" y="533070"/>
                    </a:lnTo>
                    <a:lnTo>
                      <a:pt x="207657" y="515391"/>
                    </a:lnTo>
                    <a:lnTo>
                      <a:pt x="220210" y="497678"/>
                    </a:lnTo>
                    <a:lnTo>
                      <a:pt x="196981" y="479877"/>
                    </a:lnTo>
                    <a:lnTo>
                      <a:pt x="207010" y="442090"/>
                    </a:lnTo>
                    <a:lnTo>
                      <a:pt x="155714" y="432300"/>
                    </a:lnTo>
                    <a:lnTo>
                      <a:pt x="140105" y="417539"/>
                    </a:lnTo>
                    <a:lnTo>
                      <a:pt x="157308" y="404077"/>
                    </a:lnTo>
                    <a:lnTo>
                      <a:pt x="149592" y="376749"/>
                    </a:lnTo>
                    <a:lnTo>
                      <a:pt x="118771" y="385965"/>
                    </a:lnTo>
                    <a:lnTo>
                      <a:pt x="85260" y="350683"/>
                    </a:lnTo>
                    <a:lnTo>
                      <a:pt x="126364" y="327285"/>
                    </a:lnTo>
                    <a:lnTo>
                      <a:pt x="133199" y="274977"/>
                    </a:lnTo>
                    <a:lnTo>
                      <a:pt x="86441" y="216129"/>
                    </a:lnTo>
                    <a:lnTo>
                      <a:pt x="71712" y="224629"/>
                    </a:lnTo>
                    <a:lnTo>
                      <a:pt x="61478" y="198824"/>
                    </a:lnTo>
                    <a:lnTo>
                      <a:pt x="4845" y="176575"/>
                    </a:lnTo>
                    <a:lnTo>
                      <a:pt x="-666" y="117699"/>
                    </a:lnTo>
                    <a:lnTo>
                      <a:pt x="16519" y="98611"/>
                    </a:lnTo>
                    <a:lnTo>
                      <a:pt x="23724" y="44757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" name="Ульяновская область">
                <a:extLst>
                  <a:ext uri="{FF2B5EF4-FFF2-40B4-BE49-F238E27FC236}">
                    <a16:creationId xmlns:a16="http://schemas.microsoft.com/office/drawing/2014/main" id="{14F10B14-CFDF-423E-AA8B-0D07691C5810}"/>
                  </a:ext>
                </a:extLst>
              </p:cNvPr>
              <p:cNvSpPr/>
              <p:nvPr/>
            </p:nvSpPr>
            <p:spPr>
              <a:xfrm>
                <a:off x="2087885" y="3591674"/>
                <a:ext cx="423122" cy="349167"/>
              </a:xfrm>
              <a:custGeom>
                <a:avLst/>
                <a:gdLst>
                  <a:gd name="connsiteX0" fmla="*/ 80702 w 423122"/>
                  <a:gd name="connsiteY0" fmla="*/ 45966 h 349167"/>
                  <a:gd name="connsiteX1" fmla="*/ 110152 w 423122"/>
                  <a:gd name="connsiteY1" fmla="*/ 38138 h 349167"/>
                  <a:gd name="connsiteX2" fmla="*/ 176976 w 423122"/>
                  <a:gd name="connsiteY2" fmla="*/ 65105 h 349167"/>
                  <a:gd name="connsiteX3" fmla="*/ 177416 w 423122"/>
                  <a:gd name="connsiteY3" fmla="*/ 32618 h 349167"/>
                  <a:gd name="connsiteX4" fmla="*/ 206743 w 423122"/>
                  <a:gd name="connsiteY4" fmla="*/ -157 h 349167"/>
                  <a:gd name="connsiteX5" fmla="*/ 217673 w 423122"/>
                  <a:gd name="connsiteY5" fmla="*/ 38193 h 349167"/>
                  <a:gd name="connsiteX6" fmla="*/ 254467 w 423122"/>
                  <a:gd name="connsiteY6" fmla="*/ 64903 h 349167"/>
                  <a:gd name="connsiteX7" fmla="*/ 240591 w 423122"/>
                  <a:gd name="connsiteY7" fmla="*/ 88802 h 349167"/>
                  <a:gd name="connsiteX8" fmla="*/ 258284 w 423122"/>
                  <a:gd name="connsiteY8" fmla="*/ 95954 h 349167"/>
                  <a:gd name="connsiteX9" fmla="*/ 287044 w 423122"/>
                  <a:gd name="connsiteY9" fmla="*/ 81202 h 349167"/>
                  <a:gd name="connsiteX10" fmla="*/ 283680 w 423122"/>
                  <a:gd name="connsiteY10" fmla="*/ 97897 h 349167"/>
                  <a:gd name="connsiteX11" fmla="*/ 315800 w 423122"/>
                  <a:gd name="connsiteY11" fmla="*/ 100989 h 349167"/>
                  <a:gd name="connsiteX12" fmla="*/ 324981 w 423122"/>
                  <a:gd name="connsiteY12" fmla="*/ 139127 h 349167"/>
                  <a:gd name="connsiteX13" fmla="*/ 352813 w 423122"/>
                  <a:gd name="connsiteY13" fmla="*/ 164181 h 349167"/>
                  <a:gd name="connsiteX14" fmla="*/ 370568 w 423122"/>
                  <a:gd name="connsiteY14" fmla="*/ 144342 h 349167"/>
                  <a:gd name="connsiteX15" fmla="*/ 407609 w 423122"/>
                  <a:gd name="connsiteY15" fmla="*/ 157386 h 349167"/>
                  <a:gd name="connsiteX16" fmla="*/ 392260 w 423122"/>
                  <a:gd name="connsiteY16" fmla="*/ 212051 h 349167"/>
                  <a:gd name="connsiteX17" fmla="*/ 422457 w 423122"/>
                  <a:gd name="connsiteY17" fmla="*/ 250034 h 349167"/>
                  <a:gd name="connsiteX18" fmla="*/ 410063 w 423122"/>
                  <a:gd name="connsiteY18" fmla="*/ 285175 h 349167"/>
                  <a:gd name="connsiteX19" fmla="*/ 379500 w 423122"/>
                  <a:gd name="connsiteY19" fmla="*/ 313175 h 349167"/>
                  <a:gd name="connsiteX20" fmla="*/ 350025 w 423122"/>
                  <a:gd name="connsiteY20" fmla="*/ 311291 h 349167"/>
                  <a:gd name="connsiteX21" fmla="*/ 348477 w 423122"/>
                  <a:gd name="connsiteY21" fmla="*/ 327713 h 349167"/>
                  <a:gd name="connsiteX22" fmla="*/ 290443 w 423122"/>
                  <a:gd name="connsiteY22" fmla="*/ 261994 h 349167"/>
                  <a:gd name="connsiteX23" fmla="*/ 265096 w 423122"/>
                  <a:gd name="connsiteY23" fmla="*/ 277805 h 349167"/>
                  <a:gd name="connsiteX24" fmla="*/ 237197 w 423122"/>
                  <a:gd name="connsiteY24" fmla="*/ 239319 h 349167"/>
                  <a:gd name="connsiteX25" fmla="*/ 197969 w 423122"/>
                  <a:gd name="connsiteY25" fmla="*/ 266200 h 349167"/>
                  <a:gd name="connsiteX26" fmla="*/ 174919 w 423122"/>
                  <a:gd name="connsiteY26" fmla="*/ 245706 h 349167"/>
                  <a:gd name="connsiteX27" fmla="*/ 156168 w 423122"/>
                  <a:gd name="connsiteY27" fmla="*/ 251704 h 349167"/>
                  <a:gd name="connsiteX28" fmla="*/ 158386 w 423122"/>
                  <a:gd name="connsiteY28" fmla="*/ 280944 h 349167"/>
                  <a:gd name="connsiteX29" fmla="*/ 136727 w 423122"/>
                  <a:gd name="connsiteY29" fmla="*/ 299437 h 349167"/>
                  <a:gd name="connsiteX30" fmla="*/ 152692 w 423122"/>
                  <a:gd name="connsiteY30" fmla="*/ 310237 h 349167"/>
                  <a:gd name="connsiteX31" fmla="*/ 150635 w 423122"/>
                  <a:gd name="connsiteY31" fmla="*/ 349011 h 349167"/>
                  <a:gd name="connsiteX32" fmla="*/ 107242 w 423122"/>
                  <a:gd name="connsiteY32" fmla="*/ 326965 h 349167"/>
                  <a:gd name="connsiteX33" fmla="*/ 80966 w 423122"/>
                  <a:gd name="connsiteY33" fmla="*/ 333949 h 349167"/>
                  <a:gd name="connsiteX34" fmla="*/ 84098 w 423122"/>
                  <a:gd name="connsiteY34" fmla="*/ 316358 h 349167"/>
                  <a:gd name="connsiteX35" fmla="*/ 57285 w 423122"/>
                  <a:gd name="connsiteY35" fmla="*/ 328273 h 349167"/>
                  <a:gd name="connsiteX36" fmla="*/ 7996 w 423122"/>
                  <a:gd name="connsiteY36" fmla="*/ 290265 h 349167"/>
                  <a:gd name="connsiteX37" fmla="*/ 14282 w 423122"/>
                  <a:gd name="connsiteY37" fmla="*/ 273684 h 349167"/>
                  <a:gd name="connsiteX38" fmla="*/ -666 w 423122"/>
                  <a:gd name="connsiteY38" fmla="*/ 264802 h 349167"/>
                  <a:gd name="connsiteX39" fmla="*/ 33915 w 423122"/>
                  <a:gd name="connsiteY39" fmla="*/ 252987 h 349167"/>
                  <a:gd name="connsiteX40" fmla="*/ 86986 w 423122"/>
                  <a:gd name="connsiteY40" fmla="*/ 186937 h 349167"/>
                  <a:gd name="connsiteX41" fmla="*/ 72493 w 423122"/>
                  <a:gd name="connsiteY41" fmla="*/ 140566 h 349167"/>
                  <a:gd name="connsiteX42" fmla="*/ 98259 w 423122"/>
                  <a:gd name="connsiteY42" fmla="*/ 65417 h 349167"/>
                  <a:gd name="connsiteX43" fmla="*/ 80702 w 423122"/>
                  <a:gd name="connsiteY43" fmla="*/ 45967 h 349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23122" h="349167">
                    <a:moveTo>
                      <a:pt x="80702" y="45966"/>
                    </a:moveTo>
                    <a:lnTo>
                      <a:pt x="110152" y="38138"/>
                    </a:lnTo>
                    <a:lnTo>
                      <a:pt x="176976" y="65105"/>
                    </a:lnTo>
                    <a:lnTo>
                      <a:pt x="177416" y="32618"/>
                    </a:lnTo>
                    <a:lnTo>
                      <a:pt x="206743" y="-157"/>
                    </a:lnTo>
                    <a:lnTo>
                      <a:pt x="217673" y="38193"/>
                    </a:lnTo>
                    <a:lnTo>
                      <a:pt x="254467" y="64903"/>
                    </a:lnTo>
                    <a:lnTo>
                      <a:pt x="240591" y="88802"/>
                    </a:lnTo>
                    <a:lnTo>
                      <a:pt x="258284" y="95954"/>
                    </a:lnTo>
                    <a:lnTo>
                      <a:pt x="287044" y="81202"/>
                    </a:lnTo>
                    <a:lnTo>
                      <a:pt x="283680" y="97897"/>
                    </a:lnTo>
                    <a:lnTo>
                      <a:pt x="315800" y="100989"/>
                    </a:lnTo>
                    <a:lnTo>
                      <a:pt x="324981" y="139127"/>
                    </a:lnTo>
                    <a:lnTo>
                      <a:pt x="352813" y="164181"/>
                    </a:lnTo>
                    <a:lnTo>
                      <a:pt x="370568" y="144342"/>
                    </a:lnTo>
                    <a:lnTo>
                      <a:pt x="407609" y="157386"/>
                    </a:lnTo>
                    <a:lnTo>
                      <a:pt x="392260" y="212051"/>
                    </a:lnTo>
                    <a:lnTo>
                      <a:pt x="422457" y="250034"/>
                    </a:lnTo>
                    <a:lnTo>
                      <a:pt x="410063" y="285175"/>
                    </a:lnTo>
                    <a:lnTo>
                      <a:pt x="379500" y="313175"/>
                    </a:lnTo>
                    <a:lnTo>
                      <a:pt x="350025" y="311291"/>
                    </a:lnTo>
                    <a:lnTo>
                      <a:pt x="348477" y="327713"/>
                    </a:lnTo>
                    <a:lnTo>
                      <a:pt x="290443" y="261994"/>
                    </a:lnTo>
                    <a:lnTo>
                      <a:pt x="265096" y="277805"/>
                    </a:lnTo>
                    <a:lnTo>
                      <a:pt x="237197" y="239319"/>
                    </a:lnTo>
                    <a:lnTo>
                      <a:pt x="197969" y="266200"/>
                    </a:lnTo>
                    <a:lnTo>
                      <a:pt x="174919" y="245706"/>
                    </a:lnTo>
                    <a:lnTo>
                      <a:pt x="156168" y="251704"/>
                    </a:lnTo>
                    <a:lnTo>
                      <a:pt x="158386" y="280944"/>
                    </a:lnTo>
                    <a:lnTo>
                      <a:pt x="136727" y="299437"/>
                    </a:lnTo>
                    <a:lnTo>
                      <a:pt x="152692" y="310237"/>
                    </a:lnTo>
                    <a:lnTo>
                      <a:pt x="150635" y="349011"/>
                    </a:lnTo>
                    <a:lnTo>
                      <a:pt x="107242" y="326965"/>
                    </a:lnTo>
                    <a:lnTo>
                      <a:pt x="80966" y="333949"/>
                    </a:lnTo>
                    <a:lnTo>
                      <a:pt x="84098" y="316358"/>
                    </a:lnTo>
                    <a:lnTo>
                      <a:pt x="57285" y="328273"/>
                    </a:lnTo>
                    <a:lnTo>
                      <a:pt x="7996" y="290265"/>
                    </a:lnTo>
                    <a:lnTo>
                      <a:pt x="14282" y="273684"/>
                    </a:lnTo>
                    <a:lnTo>
                      <a:pt x="-666" y="264802"/>
                    </a:lnTo>
                    <a:lnTo>
                      <a:pt x="33915" y="252987"/>
                    </a:lnTo>
                    <a:lnTo>
                      <a:pt x="86986" y="186937"/>
                    </a:lnTo>
                    <a:lnTo>
                      <a:pt x="72493" y="140566"/>
                    </a:lnTo>
                    <a:lnTo>
                      <a:pt x="98259" y="65417"/>
                    </a:lnTo>
                    <a:lnTo>
                      <a:pt x="80702" y="45967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" name="Республика Марий Эл">
                <a:extLst>
                  <a:ext uri="{FF2B5EF4-FFF2-40B4-BE49-F238E27FC236}">
                    <a16:creationId xmlns:a16="http://schemas.microsoft.com/office/drawing/2014/main" id="{6EB10C40-4E6A-4281-967C-E545F29A76F4}"/>
                  </a:ext>
                </a:extLst>
              </p:cNvPr>
              <p:cNvSpPr/>
              <p:nvPr/>
            </p:nvSpPr>
            <p:spPr>
              <a:xfrm>
                <a:off x="2411940" y="3327176"/>
                <a:ext cx="335196" cy="280838"/>
              </a:xfrm>
              <a:custGeom>
                <a:avLst/>
                <a:gdLst>
                  <a:gd name="connsiteX0" fmla="*/ 21415 w 335196"/>
                  <a:gd name="connsiteY0" fmla="*/ 18361 h 280838"/>
                  <a:gd name="connsiteX1" fmla="*/ 56521 w 335196"/>
                  <a:gd name="connsiteY1" fmla="*/ 22952 h 280838"/>
                  <a:gd name="connsiteX2" fmla="*/ 81843 w 335196"/>
                  <a:gd name="connsiteY2" fmla="*/ -157 h 280838"/>
                  <a:gd name="connsiteX3" fmla="*/ 137964 w 335196"/>
                  <a:gd name="connsiteY3" fmla="*/ 31872 h 280838"/>
                  <a:gd name="connsiteX4" fmla="*/ 154154 w 335196"/>
                  <a:gd name="connsiteY4" fmla="*/ 82408 h 280838"/>
                  <a:gd name="connsiteX5" fmla="*/ 209778 w 335196"/>
                  <a:gd name="connsiteY5" fmla="*/ 84741 h 280838"/>
                  <a:gd name="connsiteX6" fmla="*/ 212969 w 335196"/>
                  <a:gd name="connsiteY6" fmla="*/ 104964 h 280838"/>
                  <a:gd name="connsiteX7" fmla="*/ 234564 w 335196"/>
                  <a:gd name="connsiteY7" fmla="*/ 112961 h 280838"/>
                  <a:gd name="connsiteX8" fmla="*/ 258247 w 335196"/>
                  <a:gd name="connsiteY8" fmla="*/ 102360 h 280838"/>
                  <a:gd name="connsiteX9" fmla="*/ 288722 w 335196"/>
                  <a:gd name="connsiteY9" fmla="*/ 129212 h 280838"/>
                  <a:gd name="connsiteX10" fmla="*/ 288208 w 335196"/>
                  <a:gd name="connsiteY10" fmla="*/ 146999 h 280838"/>
                  <a:gd name="connsiteX11" fmla="*/ 329164 w 335196"/>
                  <a:gd name="connsiteY11" fmla="*/ 129019 h 280838"/>
                  <a:gd name="connsiteX12" fmla="*/ 303224 w 335196"/>
                  <a:gd name="connsiteY12" fmla="*/ 169121 h 280838"/>
                  <a:gd name="connsiteX13" fmla="*/ 333056 w 335196"/>
                  <a:gd name="connsiteY13" fmla="*/ 191669 h 280838"/>
                  <a:gd name="connsiteX14" fmla="*/ 318241 w 335196"/>
                  <a:gd name="connsiteY14" fmla="*/ 213193 h 280838"/>
                  <a:gd name="connsiteX15" fmla="*/ 334531 w 335196"/>
                  <a:gd name="connsiteY15" fmla="*/ 231854 h 280838"/>
                  <a:gd name="connsiteX16" fmla="*/ 309185 w 335196"/>
                  <a:gd name="connsiteY16" fmla="*/ 265516 h 280838"/>
                  <a:gd name="connsiteX17" fmla="*/ 317184 w 335196"/>
                  <a:gd name="connsiteY17" fmla="*/ 275802 h 280838"/>
                  <a:gd name="connsiteX18" fmla="*/ 286630 w 335196"/>
                  <a:gd name="connsiteY18" fmla="*/ 280682 h 280838"/>
                  <a:gd name="connsiteX19" fmla="*/ 283601 w 335196"/>
                  <a:gd name="connsiteY19" fmla="*/ 256183 h 280838"/>
                  <a:gd name="connsiteX20" fmla="*/ 256271 w 335196"/>
                  <a:gd name="connsiteY20" fmla="*/ 256008 h 280838"/>
                  <a:gd name="connsiteX21" fmla="*/ 256112 w 335196"/>
                  <a:gd name="connsiteY21" fmla="*/ 244339 h 280838"/>
                  <a:gd name="connsiteX22" fmla="*/ 235045 w 335196"/>
                  <a:gd name="connsiteY22" fmla="*/ 256546 h 280838"/>
                  <a:gd name="connsiteX23" fmla="*/ 218380 w 335196"/>
                  <a:gd name="connsiteY23" fmla="*/ 238676 h 280838"/>
                  <a:gd name="connsiteX24" fmla="*/ 200882 w 335196"/>
                  <a:gd name="connsiteY24" fmla="*/ 241575 h 280838"/>
                  <a:gd name="connsiteX25" fmla="*/ 202365 w 335196"/>
                  <a:gd name="connsiteY25" fmla="*/ 256665 h 280838"/>
                  <a:gd name="connsiteX26" fmla="*/ 165533 w 335196"/>
                  <a:gd name="connsiteY26" fmla="*/ 251130 h 280838"/>
                  <a:gd name="connsiteX27" fmla="*/ 151288 w 335196"/>
                  <a:gd name="connsiteY27" fmla="*/ 263627 h 280838"/>
                  <a:gd name="connsiteX28" fmla="*/ 132628 w 335196"/>
                  <a:gd name="connsiteY28" fmla="*/ 251787 h 280838"/>
                  <a:gd name="connsiteX29" fmla="*/ 126101 w 335196"/>
                  <a:gd name="connsiteY29" fmla="*/ 264636 h 280838"/>
                  <a:gd name="connsiteX30" fmla="*/ 111364 w 335196"/>
                  <a:gd name="connsiteY30" fmla="*/ 221772 h 280838"/>
                  <a:gd name="connsiteX31" fmla="*/ 121206 w 335196"/>
                  <a:gd name="connsiteY31" fmla="*/ 197686 h 280838"/>
                  <a:gd name="connsiteX32" fmla="*/ 94988 w 335196"/>
                  <a:gd name="connsiteY32" fmla="*/ 165853 h 280838"/>
                  <a:gd name="connsiteX33" fmla="*/ 110555 w 335196"/>
                  <a:gd name="connsiteY33" fmla="*/ 144955 h 280838"/>
                  <a:gd name="connsiteX34" fmla="*/ -666 w 335196"/>
                  <a:gd name="connsiteY34" fmla="*/ 105061 h 280838"/>
                  <a:gd name="connsiteX35" fmla="*/ 8063 w 335196"/>
                  <a:gd name="connsiteY35" fmla="*/ 61819 h 280838"/>
                  <a:gd name="connsiteX36" fmla="*/ 32963 w 335196"/>
                  <a:gd name="connsiteY36" fmla="*/ 48280 h 280838"/>
                  <a:gd name="connsiteX37" fmla="*/ 18088 w 335196"/>
                  <a:gd name="connsiteY37" fmla="*/ 38098 h 280838"/>
                  <a:gd name="connsiteX38" fmla="*/ 21420 w 335196"/>
                  <a:gd name="connsiteY38" fmla="*/ 18361 h 280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335196" h="280838">
                    <a:moveTo>
                      <a:pt x="21415" y="18361"/>
                    </a:moveTo>
                    <a:lnTo>
                      <a:pt x="56521" y="22952"/>
                    </a:lnTo>
                    <a:lnTo>
                      <a:pt x="81843" y="-157"/>
                    </a:lnTo>
                    <a:lnTo>
                      <a:pt x="137964" y="31872"/>
                    </a:lnTo>
                    <a:lnTo>
                      <a:pt x="154154" y="82408"/>
                    </a:lnTo>
                    <a:lnTo>
                      <a:pt x="209778" y="84741"/>
                    </a:lnTo>
                    <a:lnTo>
                      <a:pt x="212969" y="104964"/>
                    </a:lnTo>
                    <a:lnTo>
                      <a:pt x="234564" y="112961"/>
                    </a:lnTo>
                    <a:lnTo>
                      <a:pt x="258247" y="102360"/>
                    </a:lnTo>
                    <a:lnTo>
                      <a:pt x="288722" y="129212"/>
                    </a:lnTo>
                    <a:lnTo>
                      <a:pt x="288208" y="146999"/>
                    </a:lnTo>
                    <a:lnTo>
                      <a:pt x="329164" y="129019"/>
                    </a:lnTo>
                    <a:lnTo>
                      <a:pt x="303224" y="169121"/>
                    </a:lnTo>
                    <a:lnTo>
                      <a:pt x="333056" y="191669"/>
                    </a:lnTo>
                    <a:lnTo>
                      <a:pt x="318241" y="213193"/>
                    </a:lnTo>
                    <a:lnTo>
                      <a:pt x="334531" y="231854"/>
                    </a:lnTo>
                    <a:lnTo>
                      <a:pt x="309185" y="265516"/>
                    </a:lnTo>
                    <a:lnTo>
                      <a:pt x="317184" y="275802"/>
                    </a:lnTo>
                    <a:lnTo>
                      <a:pt x="286630" y="280682"/>
                    </a:lnTo>
                    <a:lnTo>
                      <a:pt x="283601" y="256183"/>
                    </a:lnTo>
                    <a:lnTo>
                      <a:pt x="256271" y="256008"/>
                    </a:lnTo>
                    <a:lnTo>
                      <a:pt x="256112" y="244339"/>
                    </a:lnTo>
                    <a:lnTo>
                      <a:pt x="235045" y="256546"/>
                    </a:lnTo>
                    <a:lnTo>
                      <a:pt x="218380" y="238676"/>
                    </a:lnTo>
                    <a:lnTo>
                      <a:pt x="200882" y="241575"/>
                    </a:lnTo>
                    <a:lnTo>
                      <a:pt x="202365" y="256665"/>
                    </a:lnTo>
                    <a:lnTo>
                      <a:pt x="165533" y="251130"/>
                    </a:lnTo>
                    <a:lnTo>
                      <a:pt x="151288" y="263627"/>
                    </a:lnTo>
                    <a:lnTo>
                      <a:pt x="132628" y="251787"/>
                    </a:lnTo>
                    <a:lnTo>
                      <a:pt x="126101" y="264636"/>
                    </a:lnTo>
                    <a:lnTo>
                      <a:pt x="111364" y="221772"/>
                    </a:lnTo>
                    <a:lnTo>
                      <a:pt x="121206" y="197686"/>
                    </a:lnTo>
                    <a:lnTo>
                      <a:pt x="94988" y="165853"/>
                    </a:lnTo>
                    <a:lnTo>
                      <a:pt x="110555" y="144955"/>
                    </a:lnTo>
                    <a:lnTo>
                      <a:pt x="-666" y="105061"/>
                    </a:lnTo>
                    <a:lnTo>
                      <a:pt x="8063" y="61819"/>
                    </a:lnTo>
                    <a:lnTo>
                      <a:pt x="32963" y="48280"/>
                    </a:lnTo>
                    <a:lnTo>
                      <a:pt x="18088" y="38098"/>
                    </a:lnTo>
                    <a:lnTo>
                      <a:pt x="21420" y="1836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" name="Кировская область">
                <a:extLst>
                  <a:ext uri="{FF2B5EF4-FFF2-40B4-BE49-F238E27FC236}">
                    <a16:creationId xmlns:a16="http://schemas.microsoft.com/office/drawing/2014/main" id="{41DF90A6-B2D6-4AE4-8940-096D01D3AF4B}"/>
                  </a:ext>
                </a:extLst>
              </p:cNvPr>
              <p:cNvSpPr/>
              <p:nvPr/>
            </p:nvSpPr>
            <p:spPr>
              <a:xfrm>
                <a:off x="2546397" y="2921523"/>
                <a:ext cx="748149" cy="806437"/>
              </a:xfrm>
              <a:custGeom>
                <a:avLst/>
                <a:gdLst>
                  <a:gd name="connsiteX0" fmla="*/ 329087 w 748149"/>
                  <a:gd name="connsiteY0" fmla="*/ 44577 h 806437"/>
                  <a:gd name="connsiteX1" fmla="*/ 356622 w 748149"/>
                  <a:gd name="connsiteY1" fmla="*/ 71695 h 806437"/>
                  <a:gd name="connsiteX2" fmla="*/ 469781 w 748149"/>
                  <a:gd name="connsiteY2" fmla="*/ -157 h 806437"/>
                  <a:gd name="connsiteX3" fmla="*/ 503400 w 748149"/>
                  <a:gd name="connsiteY3" fmla="*/ 41861 h 806437"/>
                  <a:gd name="connsiteX4" fmla="*/ 492748 w 748149"/>
                  <a:gd name="connsiteY4" fmla="*/ 61212 h 806437"/>
                  <a:gd name="connsiteX5" fmla="*/ 513785 w 748149"/>
                  <a:gd name="connsiteY5" fmla="*/ 89265 h 806437"/>
                  <a:gd name="connsiteX6" fmla="*/ 474388 w 748149"/>
                  <a:gd name="connsiteY6" fmla="*/ 145428 h 806437"/>
                  <a:gd name="connsiteX7" fmla="*/ 484247 w 748149"/>
                  <a:gd name="connsiteY7" fmla="*/ 163850 h 806437"/>
                  <a:gd name="connsiteX8" fmla="*/ 450734 w 748149"/>
                  <a:gd name="connsiteY8" fmla="*/ 167173 h 806437"/>
                  <a:gd name="connsiteX9" fmla="*/ 401477 w 748149"/>
                  <a:gd name="connsiteY9" fmla="*/ 225243 h 806437"/>
                  <a:gd name="connsiteX10" fmla="*/ 430640 w 748149"/>
                  <a:gd name="connsiteY10" fmla="*/ 260838 h 806437"/>
                  <a:gd name="connsiteX11" fmla="*/ 408415 w 748149"/>
                  <a:gd name="connsiteY11" fmla="*/ 278470 h 806437"/>
                  <a:gd name="connsiteX12" fmla="*/ 430511 w 748149"/>
                  <a:gd name="connsiteY12" fmla="*/ 316734 h 806437"/>
                  <a:gd name="connsiteX13" fmla="*/ 409458 w 748149"/>
                  <a:gd name="connsiteY13" fmla="*/ 334811 h 806437"/>
                  <a:gd name="connsiteX14" fmla="*/ 419957 w 748149"/>
                  <a:gd name="connsiteY14" fmla="*/ 347708 h 806437"/>
                  <a:gd name="connsiteX15" fmla="*/ 474759 w 748149"/>
                  <a:gd name="connsiteY15" fmla="*/ 300976 h 806437"/>
                  <a:gd name="connsiteX16" fmla="*/ 490721 w 748149"/>
                  <a:gd name="connsiteY16" fmla="*/ 309648 h 806437"/>
                  <a:gd name="connsiteX17" fmla="*/ 495009 w 748149"/>
                  <a:gd name="connsiteY17" fmla="*/ 293150 h 806437"/>
                  <a:gd name="connsiteX18" fmla="*/ 553737 w 748149"/>
                  <a:gd name="connsiteY18" fmla="*/ 326000 h 806437"/>
                  <a:gd name="connsiteX19" fmla="*/ 593138 w 748149"/>
                  <a:gd name="connsiteY19" fmla="*/ 321358 h 806437"/>
                  <a:gd name="connsiteX20" fmla="*/ 597085 w 748149"/>
                  <a:gd name="connsiteY20" fmla="*/ 351704 h 806437"/>
                  <a:gd name="connsiteX21" fmla="*/ 671886 w 748149"/>
                  <a:gd name="connsiteY21" fmla="*/ 333959 h 806437"/>
                  <a:gd name="connsiteX22" fmla="*/ 705927 w 748149"/>
                  <a:gd name="connsiteY22" fmla="*/ 391906 h 806437"/>
                  <a:gd name="connsiteX23" fmla="*/ 746422 w 748149"/>
                  <a:gd name="connsiteY23" fmla="*/ 410534 h 806437"/>
                  <a:gd name="connsiteX24" fmla="*/ 747483 w 748149"/>
                  <a:gd name="connsiteY24" fmla="*/ 432985 h 806437"/>
                  <a:gd name="connsiteX25" fmla="*/ 712131 w 748149"/>
                  <a:gd name="connsiteY25" fmla="*/ 478927 h 806437"/>
                  <a:gd name="connsiteX26" fmla="*/ 649900 w 748149"/>
                  <a:gd name="connsiteY26" fmla="*/ 506157 h 806437"/>
                  <a:gd name="connsiteX27" fmla="*/ 640150 w 748149"/>
                  <a:gd name="connsiteY27" fmla="*/ 539299 h 806437"/>
                  <a:gd name="connsiteX28" fmla="*/ 664346 w 748149"/>
                  <a:gd name="connsiteY28" fmla="*/ 552531 h 806437"/>
                  <a:gd name="connsiteX29" fmla="*/ 666543 w 748149"/>
                  <a:gd name="connsiteY29" fmla="*/ 572871 h 806437"/>
                  <a:gd name="connsiteX30" fmla="*/ 645432 w 748149"/>
                  <a:gd name="connsiteY30" fmla="*/ 580595 h 806437"/>
                  <a:gd name="connsiteX31" fmla="*/ 638514 w 748149"/>
                  <a:gd name="connsiteY31" fmla="*/ 612855 h 806437"/>
                  <a:gd name="connsiteX32" fmla="*/ 618359 w 748149"/>
                  <a:gd name="connsiteY32" fmla="*/ 613532 h 806437"/>
                  <a:gd name="connsiteX33" fmla="*/ 598808 w 748149"/>
                  <a:gd name="connsiteY33" fmla="*/ 644865 h 806437"/>
                  <a:gd name="connsiteX34" fmla="*/ 556929 w 748149"/>
                  <a:gd name="connsiteY34" fmla="*/ 622817 h 806437"/>
                  <a:gd name="connsiteX35" fmla="*/ 563575 w 748149"/>
                  <a:gd name="connsiteY35" fmla="*/ 599365 h 806437"/>
                  <a:gd name="connsiteX36" fmla="*/ 549475 w 748149"/>
                  <a:gd name="connsiteY36" fmla="*/ 590586 h 806437"/>
                  <a:gd name="connsiteX37" fmla="*/ 532445 w 748149"/>
                  <a:gd name="connsiteY37" fmla="*/ 605080 h 806437"/>
                  <a:gd name="connsiteX38" fmla="*/ 499840 w 748149"/>
                  <a:gd name="connsiteY38" fmla="*/ 559569 h 806437"/>
                  <a:gd name="connsiteX39" fmla="*/ 462935 w 748149"/>
                  <a:gd name="connsiteY39" fmla="*/ 554991 h 806437"/>
                  <a:gd name="connsiteX40" fmla="*/ 434773 w 748149"/>
                  <a:gd name="connsiteY40" fmla="*/ 574727 h 806437"/>
                  <a:gd name="connsiteX41" fmla="*/ 435508 w 748149"/>
                  <a:gd name="connsiteY41" fmla="*/ 605307 h 806437"/>
                  <a:gd name="connsiteX42" fmla="*/ 413308 w 748149"/>
                  <a:gd name="connsiteY42" fmla="*/ 618722 h 806437"/>
                  <a:gd name="connsiteX43" fmla="*/ 414114 w 748149"/>
                  <a:gd name="connsiteY43" fmla="*/ 635346 h 806437"/>
                  <a:gd name="connsiteX44" fmla="*/ 360567 w 748149"/>
                  <a:gd name="connsiteY44" fmla="*/ 652615 h 806437"/>
                  <a:gd name="connsiteX45" fmla="*/ 331278 w 748149"/>
                  <a:gd name="connsiteY45" fmla="*/ 632286 h 806437"/>
                  <a:gd name="connsiteX46" fmla="*/ 308866 w 748149"/>
                  <a:gd name="connsiteY46" fmla="*/ 653662 h 806437"/>
                  <a:gd name="connsiteX47" fmla="*/ 299865 w 748149"/>
                  <a:gd name="connsiteY47" fmla="*/ 718813 h 806437"/>
                  <a:gd name="connsiteX48" fmla="*/ 268760 w 748149"/>
                  <a:gd name="connsiteY48" fmla="*/ 737216 h 806437"/>
                  <a:gd name="connsiteX49" fmla="*/ 256594 w 748149"/>
                  <a:gd name="connsiteY49" fmla="*/ 723458 h 806437"/>
                  <a:gd name="connsiteX50" fmla="*/ 235839 w 748149"/>
                  <a:gd name="connsiteY50" fmla="*/ 741207 h 806437"/>
                  <a:gd name="connsiteX51" fmla="*/ 219665 w 748149"/>
                  <a:gd name="connsiteY51" fmla="*/ 790341 h 806437"/>
                  <a:gd name="connsiteX52" fmla="*/ 229802 w 748149"/>
                  <a:gd name="connsiteY52" fmla="*/ 798298 h 806437"/>
                  <a:gd name="connsiteX53" fmla="*/ 205918 w 748149"/>
                  <a:gd name="connsiteY53" fmla="*/ 806281 h 806437"/>
                  <a:gd name="connsiteX54" fmla="*/ 187616 w 748149"/>
                  <a:gd name="connsiteY54" fmla="*/ 765050 h 806437"/>
                  <a:gd name="connsiteX55" fmla="*/ 204439 w 748149"/>
                  <a:gd name="connsiteY55" fmla="*/ 738046 h 806437"/>
                  <a:gd name="connsiteX56" fmla="*/ 190789 w 748149"/>
                  <a:gd name="connsiteY56" fmla="*/ 743703 h 806437"/>
                  <a:gd name="connsiteX57" fmla="*/ 183560 w 748149"/>
                  <a:gd name="connsiteY57" fmla="*/ 730170 h 806437"/>
                  <a:gd name="connsiteX58" fmla="*/ 201257 w 748149"/>
                  <a:gd name="connsiteY58" fmla="*/ 678598 h 806437"/>
                  <a:gd name="connsiteX59" fmla="*/ 177698 w 748149"/>
                  <a:gd name="connsiteY59" fmla="*/ 671370 h 806437"/>
                  <a:gd name="connsiteX60" fmla="*/ 197636 w 748149"/>
                  <a:gd name="connsiteY60" fmla="*/ 651297 h 806437"/>
                  <a:gd name="connsiteX61" fmla="*/ 183756 w 748149"/>
                  <a:gd name="connsiteY61" fmla="*/ 619851 h 806437"/>
                  <a:gd name="connsiteX62" fmla="*/ 198598 w 748149"/>
                  <a:gd name="connsiteY62" fmla="*/ 597321 h 806437"/>
                  <a:gd name="connsiteX63" fmla="*/ 168557 w 748149"/>
                  <a:gd name="connsiteY63" fmla="*/ 574037 h 806437"/>
                  <a:gd name="connsiteX64" fmla="*/ 195157 w 748149"/>
                  <a:gd name="connsiteY64" fmla="*/ 535162 h 806437"/>
                  <a:gd name="connsiteX65" fmla="*/ 153748 w 748149"/>
                  <a:gd name="connsiteY65" fmla="*/ 552652 h 806437"/>
                  <a:gd name="connsiteX66" fmla="*/ 154262 w 748149"/>
                  <a:gd name="connsiteY66" fmla="*/ 534865 h 806437"/>
                  <a:gd name="connsiteX67" fmla="*/ 123787 w 748149"/>
                  <a:gd name="connsiteY67" fmla="*/ 508012 h 806437"/>
                  <a:gd name="connsiteX68" fmla="*/ 100106 w 748149"/>
                  <a:gd name="connsiteY68" fmla="*/ 518613 h 806437"/>
                  <a:gd name="connsiteX69" fmla="*/ 78510 w 748149"/>
                  <a:gd name="connsiteY69" fmla="*/ 510617 h 806437"/>
                  <a:gd name="connsiteX70" fmla="*/ 75318 w 748149"/>
                  <a:gd name="connsiteY70" fmla="*/ 490394 h 806437"/>
                  <a:gd name="connsiteX71" fmla="*/ 19803 w 748149"/>
                  <a:gd name="connsiteY71" fmla="*/ 488105 h 806437"/>
                  <a:gd name="connsiteX72" fmla="*/ 21909 w 748149"/>
                  <a:gd name="connsiteY72" fmla="*/ 464593 h 806437"/>
                  <a:gd name="connsiteX73" fmla="*/ -666 w 748149"/>
                  <a:gd name="connsiteY73" fmla="*/ 440189 h 806437"/>
                  <a:gd name="connsiteX74" fmla="*/ 38837 w 748149"/>
                  <a:gd name="connsiteY74" fmla="*/ 417359 h 806437"/>
                  <a:gd name="connsiteX75" fmla="*/ 41114 w 748149"/>
                  <a:gd name="connsiteY75" fmla="*/ 393836 h 806437"/>
                  <a:gd name="connsiteX76" fmla="*/ 64741 w 748149"/>
                  <a:gd name="connsiteY76" fmla="*/ 377472 h 806437"/>
                  <a:gd name="connsiteX77" fmla="*/ 108332 w 748149"/>
                  <a:gd name="connsiteY77" fmla="*/ 419854 h 806437"/>
                  <a:gd name="connsiteX78" fmla="*/ 143190 w 748149"/>
                  <a:gd name="connsiteY78" fmla="*/ 392583 h 806437"/>
                  <a:gd name="connsiteX79" fmla="*/ 165952 w 748149"/>
                  <a:gd name="connsiteY79" fmla="*/ 392863 h 806437"/>
                  <a:gd name="connsiteX80" fmla="*/ 156696 w 748149"/>
                  <a:gd name="connsiteY80" fmla="*/ 360173 h 806437"/>
                  <a:gd name="connsiteX81" fmla="*/ 97694 w 748149"/>
                  <a:gd name="connsiteY81" fmla="*/ 304824 h 806437"/>
                  <a:gd name="connsiteX82" fmla="*/ 99291 w 748149"/>
                  <a:gd name="connsiteY82" fmla="*/ 290632 h 806437"/>
                  <a:gd name="connsiteX83" fmla="*/ 173777 w 748149"/>
                  <a:gd name="connsiteY83" fmla="*/ 251662 h 806437"/>
                  <a:gd name="connsiteX84" fmla="*/ 198159 w 748149"/>
                  <a:gd name="connsiteY84" fmla="*/ 268326 h 806437"/>
                  <a:gd name="connsiteX85" fmla="*/ 220700 w 748149"/>
                  <a:gd name="connsiteY85" fmla="*/ 255132 h 806437"/>
                  <a:gd name="connsiteX86" fmla="*/ 234808 w 748149"/>
                  <a:gd name="connsiteY86" fmla="*/ 264599 h 806437"/>
                  <a:gd name="connsiteX87" fmla="*/ 246079 w 748149"/>
                  <a:gd name="connsiteY87" fmla="*/ 249044 h 806437"/>
                  <a:gd name="connsiteX88" fmla="*/ 266539 w 748149"/>
                  <a:gd name="connsiteY88" fmla="*/ 268640 h 806437"/>
                  <a:gd name="connsiteX89" fmla="*/ 282805 w 748149"/>
                  <a:gd name="connsiteY89" fmla="*/ 232202 h 806437"/>
                  <a:gd name="connsiteX90" fmla="*/ 271604 w 748149"/>
                  <a:gd name="connsiteY90" fmla="*/ 212753 h 806437"/>
                  <a:gd name="connsiteX91" fmla="*/ 289973 w 748149"/>
                  <a:gd name="connsiteY91" fmla="*/ 197626 h 806437"/>
                  <a:gd name="connsiteX92" fmla="*/ 280266 w 748149"/>
                  <a:gd name="connsiteY92" fmla="*/ 184927 h 806437"/>
                  <a:gd name="connsiteX93" fmla="*/ 360418 w 748149"/>
                  <a:gd name="connsiteY93" fmla="*/ 98325 h 806437"/>
                  <a:gd name="connsiteX94" fmla="*/ 329179 w 748149"/>
                  <a:gd name="connsiteY94" fmla="*/ 81965 h 806437"/>
                  <a:gd name="connsiteX95" fmla="*/ 329076 w 748149"/>
                  <a:gd name="connsiteY95" fmla="*/ 44577 h 806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748149" h="806437">
                    <a:moveTo>
                      <a:pt x="329087" y="44577"/>
                    </a:moveTo>
                    <a:lnTo>
                      <a:pt x="356622" y="71695"/>
                    </a:lnTo>
                    <a:lnTo>
                      <a:pt x="469781" y="-157"/>
                    </a:lnTo>
                    <a:lnTo>
                      <a:pt x="503400" y="41861"/>
                    </a:lnTo>
                    <a:lnTo>
                      <a:pt x="492748" y="61212"/>
                    </a:lnTo>
                    <a:lnTo>
                      <a:pt x="513785" y="89265"/>
                    </a:lnTo>
                    <a:lnTo>
                      <a:pt x="474388" y="145428"/>
                    </a:lnTo>
                    <a:lnTo>
                      <a:pt x="484247" y="163850"/>
                    </a:lnTo>
                    <a:lnTo>
                      <a:pt x="450734" y="167173"/>
                    </a:lnTo>
                    <a:lnTo>
                      <a:pt x="401477" y="225243"/>
                    </a:lnTo>
                    <a:lnTo>
                      <a:pt x="430640" y="260838"/>
                    </a:lnTo>
                    <a:lnTo>
                      <a:pt x="408415" y="278470"/>
                    </a:lnTo>
                    <a:lnTo>
                      <a:pt x="430511" y="316734"/>
                    </a:lnTo>
                    <a:lnTo>
                      <a:pt x="409458" y="334811"/>
                    </a:lnTo>
                    <a:lnTo>
                      <a:pt x="419957" y="347708"/>
                    </a:lnTo>
                    <a:lnTo>
                      <a:pt x="474759" y="300976"/>
                    </a:lnTo>
                    <a:lnTo>
                      <a:pt x="490721" y="309648"/>
                    </a:lnTo>
                    <a:lnTo>
                      <a:pt x="495009" y="293150"/>
                    </a:lnTo>
                    <a:lnTo>
                      <a:pt x="553737" y="326000"/>
                    </a:lnTo>
                    <a:lnTo>
                      <a:pt x="593138" y="321358"/>
                    </a:lnTo>
                    <a:lnTo>
                      <a:pt x="597085" y="351704"/>
                    </a:lnTo>
                    <a:lnTo>
                      <a:pt x="671886" y="333959"/>
                    </a:lnTo>
                    <a:lnTo>
                      <a:pt x="705927" y="391906"/>
                    </a:lnTo>
                    <a:lnTo>
                      <a:pt x="746422" y="410534"/>
                    </a:lnTo>
                    <a:lnTo>
                      <a:pt x="747483" y="432985"/>
                    </a:lnTo>
                    <a:lnTo>
                      <a:pt x="712131" y="478927"/>
                    </a:lnTo>
                    <a:lnTo>
                      <a:pt x="649900" y="506157"/>
                    </a:lnTo>
                    <a:lnTo>
                      <a:pt x="640150" y="539299"/>
                    </a:lnTo>
                    <a:lnTo>
                      <a:pt x="664346" y="552531"/>
                    </a:lnTo>
                    <a:lnTo>
                      <a:pt x="666543" y="572871"/>
                    </a:lnTo>
                    <a:lnTo>
                      <a:pt x="645432" y="580595"/>
                    </a:lnTo>
                    <a:lnTo>
                      <a:pt x="638514" y="612855"/>
                    </a:lnTo>
                    <a:lnTo>
                      <a:pt x="618359" y="613532"/>
                    </a:lnTo>
                    <a:lnTo>
                      <a:pt x="598808" y="644865"/>
                    </a:lnTo>
                    <a:lnTo>
                      <a:pt x="556929" y="622817"/>
                    </a:lnTo>
                    <a:lnTo>
                      <a:pt x="563575" y="599365"/>
                    </a:lnTo>
                    <a:lnTo>
                      <a:pt x="549475" y="590586"/>
                    </a:lnTo>
                    <a:lnTo>
                      <a:pt x="532445" y="605080"/>
                    </a:lnTo>
                    <a:lnTo>
                      <a:pt x="499840" y="559569"/>
                    </a:lnTo>
                    <a:lnTo>
                      <a:pt x="462935" y="554991"/>
                    </a:lnTo>
                    <a:lnTo>
                      <a:pt x="434773" y="574727"/>
                    </a:lnTo>
                    <a:lnTo>
                      <a:pt x="435508" y="605307"/>
                    </a:lnTo>
                    <a:lnTo>
                      <a:pt x="413308" y="618722"/>
                    </a:lnTo>
                    <a:lnTo>
                      <a:pt x="414114" y="635346"/>
                    </a:lnTo>
                    <a:lnTo>
                      <a:pt x="360567" y="652615"/>
                    </a:lnTo>
                    <a:lnTo>
                      <a:pt x="331278" y="632286"/>
                    </a:lnTo>
                    <a:lnTo>
                      <a:pt x="308866" y="653662"/>
                    </a:lnTo>
                    <a:lnTo>
                      <a:pt x="299865" y="718813"/>
                    </a:lnTo>
                    <a:lnTo>
                      <a:pt x="268760" y="737216"/>
                    </a:lnTo>
                    <a:lnTo>
                      <a:pt x="256594" y="723458"/>
                    </a:lnTo>
                    <a:lnTo>
                      <a:pt x="235839" y="741207"/>
                    </a:lnTo>
                    <a:lnTo>
                      <a:pt x="219665" y="790341"/>
                    </a:lnTo>
                    <a:lnTo>
                      <a:pt x="229802" y="798298"/>
                    </a:lnTo>
                    <a:lnTo>
                      <a:pt x="205918" y="806281"/>
                    </a:lnTo>
                    <a:lnTo>
                      <a:pt x="187616" y="765050"/>
                    </a:lnTo>
                    <a:lnTo>
                      <a:pt x="204439" y="738046"/>
                    </a:lnTo>
                    <a:lnTo>
                      <a:pt x="190789" y="743703"/>
                    </a:lnTo>
                    <a:lnTo>
                      <a:pt x="183560" y="730170"/>
                    </a:lnTo>
                    <a:lnTo>
                      <a:pt x="201257" y="678598"/>
                    </a:lnTo>
                    <a:lnTo>
                      <a:pt x="177698" y="671370"/>
                    </a:lnTo>
                    <a:lnTo>
                      <a:pt x="197636" y="651297"/>
                    </a:lnTo>
                    <a:lnTo>
                      <a:pt x="183756" y="619851"/>
                    </a:lnTo>
                    <a:lnTo>
                      <a:pt x="198598" y="597321"/>
                    </a:lnTo>
                    <a:lnTo>
                      <a:pt x="168557" y="574037"/>
                    </a:lnTo>
                    <a:lnTo>
                      <a:pt x="195157" y="535162"/>
                    </a:lnTo>
                    <a:lnTo>
                      <a:pt x="153748" y="552652"/>
                    </a:lnTo>
                    <a:lnTo>
                      <a:pt x="154262" y="534865"/>
                    </a:lnTo>
                    <a:lnTo>
                      <a:pt x="123787" y="508012"/>
                    </a:lnTo>
                    <a:lnTo>
                      <a:pt x="100106" y="518613"/>
                    </a:lnTo>
                    <a:lnTo>
                      <a:pt x="78510" y="510617"/>
                    </a:lnTo>
                    <a:lnTo>
                      <a:pt x="75318" y="490394"/>
                    </a:lnTo>
                    <a:lnTo>
                      <a:pt x="19803" y="488105"/>
                    </a:lnTo>
                    <a:lnTo>
                      <a:pt x="21909" y="464593"/>
                    </a:lnTo>
                    <a:lnTo>
                      <a:pt x="-666" y="440189"/>
                    </a:lnTo>
                    <a:lnTo>
                      <a:pt x="38837" y="417359"/>
                    </a:lnTo>
                    <a:lnTo>
                      <a:pt x="41114" y="393836"/>
                    </a:lnTo>
                    <a:lnTo>
                      <a:pt x="64741" y="377472"/>
                    </a:lnTo>
                    <a:lnTo>
                      <a:pt x="108332" y="419854"/>
                    </a:lnTo>
                    <a:lnTo>
                      <a:pt x="143190" y="392583"/>
                    </a:lnTo>
                    <a:lnTo>
                      <a:pt x="165952" y="392863"/>
                    </a:lnTo>
                    <a:lnTo>
                      <a:pt x="156696" y="360173"/>
                    </a:lnTo>
                    <a:lnTo>
                      <a:pt x="97694" y="304824"/>
                    </a:lnTo>
                    <a:lnTo>
                      <a:pt x="99291" y="290632"/>
                    </a:lnTo>
                    <a:lnTo>
                      <a:pt x="173777" y="251662"/>
                    </a:lnTo>
                    <a:lnTo>
                      <a:pt x="198159" y="268326"/>
                    </a:lnTo>
                    <a:lnTo>
                      <a:pt x="220700" y="255132"/>
                    </a:lnTo>
                    <a:lnTo>
                      <a:pt x="234808" y="264599"/>
                    </a:lnTo>
                    <a:lnTo>
                      <a:pt x="246079" y="249044"/>
                    </a:lnTo>
                    <a:lnTo>
                      <a:pt x="266539" y="268640"/>
                    </a:lnTo>
                    <a:lnTo>
                      <a:pt x="282805" y="232202"/>
                    </a:lnTo>
                    <a:lnTo>
                      <a:pt x="271604" y="212753"/>
                    </a:lnTo>
                    <a:lnTo>
                      <a:pt x="289973" y="197626"/>
                    </a:lnTo>
                    <a:lnTo>
                      <a:pt x="280266" y="184927"/>
                    </a:lnTo>
                    <a:lnTo>
                      <a:pt x="360418" y="98325"/>
                    </a:lnTo>
                    <a:lnTo>
                      <a:pt x="329179" y="81965"/>
                    </a:lnTo>
                    <a:lnTo>
                      <a:pt x="329076" y="44577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" name="Республика Татарстан">
                <a:extLst>
                  <a:ext uri="{FF2B5EF4-FFF2-40B4-BE49-F238E27FC236}">
                    <a16:creationId xmlns:a16="http://schemas.microsoft.com/office/drawing/2014/main" id="{45BD9E26-5D97-4EEE-A43E-CAB155A1457D}"/>
                  </a:ext>
                </a:extLst>
              </p:cNvPr>
              <p:cNvSpPr/>
              <p:nvPr/>
            </p:nvSpPr>
            <p:spPr>
              <a:xfrm>
                <a:off x="2329141" y="3566008"/>
                <a:ext cx="590433" cy="528936"/>
              </a:xfrm>
              <a:custGeom>
                <a:avLst/>
                <a:gdLst>
                  <a:gd name="connsiteX0" fmla="*/ 9536 w 590433"/>
                  <a:gd name="connsiteY0" fmla="*/ 85353 h 528936"/>
                  <a:gd name="connsiteX1" fmla="*/ 41544 w 590433"/>
                  <a:gd name="connsiteY1" fmla="*/ 69401 h 528936"/>
                  <a:gd name="connsiteX2" fmla="*/ 55654 w 590433"/>
                  <a:gd name="connsiteY2" fmla="*/ 99786 h 528936"/>
                  <a:gd name="connsiteX3" fmla="*/ 65377 w 590433"/>
                  <a:gd name="connsiteY3" fmla="*/ 88069 h 528936"/>
                  <a:gd name="connsiteX4" fmla="*/ 61334 w 590433"/>
                  <a:gd name="connsiteY4" fmla="*/ 105446 h 528936"/>
                  <a:gd name="connsiteX5" fmla="*/ 72677 w 590433"/>
                  <a:gd name="connsiteY5" fmla="*/ 84233 h 528936"/>
                  <a:gd name="connsiteX6" fmla="*/ 85780 w 590433"/>
                  <a:gd name="connsiteY6" fmla="*/ 97571 h 528936"/>
                  <a:gd name="connsiteX7" fmla="*/ 95418 w 590433"/>
                  <a:gd name="connsiteY7" fmla="*/ 77453 h 528936"/>
                  <a:gd name="connsiteX8" fmla="*/ 114739 w 590433"/>
                  <a:gd name="connsiteY8" fmla="*/ 83284 h 528936"/>
                  <a:gd name="connsiteX9" fmla="*/ 121260 w 590433"/>
                  <a:gd name="connsiteY9" fmla="*/ 51981 h 528936"/>
                  <a:gd name="connsiteX10" fmla="*/ 93399 w 590433"/>
                  <a:gd name="connsiteY10" fmla="*/ 49167 h 528936"/>
                  <a:gd name="connsiteX11" fmla="*/ 104641 w 590433"/>
                  <a:gd name="connsiteY11" fmla="*/ 33805 h 528936"/>
                  <a:gd name="connsiteX12" fmla="*/ 154549 w 590433"/>
                  <a:gd name="connsiteY12" fmla="*/ 39807 h 528936"/>
                  <a:gd name="connsiteX13" fmla="*/ 159436 w 590433"/>
                  <a:gd name="connsiteY13" fmla="*/ 22083 h 528936"/>
                  <a:gd name="connsiteX14" fmla="*/ 201522 w 590433"/>
                  <a:gd name="connsiteY14" fmla="*/ 27857 h 528936"/>
                  <a:gd name="connsiteX15" fmla="*/ 215423 w 590433"/>
                  <a:gd name="connsiteY15" fmla="*/ 12955 h 528936"/>
                  <a:gd name="connsiteX16" fmla="*/ 234083 w 590433"/>
                  <a:gd name="connsiteY16" fmla="*/ 24795 h 528936"/>
                  <a:gd name="connsiteX17" fmla="*/ 248327 w 590433"/>
                  <a:gd name="connsiteY17" fmla="*/ 12297 h 528936"/>
                  <a:gd name="connsiteX18" fmla="*/ 285159 w 590433"/>
                  <a:gd name="connsiteY18" fmla="*/ 17833 h 528936"/>
                  <a:gd name="connsiteX19" fmla="*/ 283677 w 590433"/>
                  <a:gd name="connsiteY19" fmla="*/ 2742 h 528936"/>
                  <a:gd name="connsiteX20" fmla="*/ 301174 w 590433"/>
                  <a:gd name="connsiteY20" fmla="*/ -157 h 528936"/>
                  <a:gd name="connsiteX21" fmla="*/ 317840 w 590433"/>
                  <a:gd name="connsiteY21" fmla="*/ 17713 h 528936"/>
                  <a:gd name="connsiteX22" fmla="*/ 338906 w 590433"/>
                  <a:gd name="connsiteY22" fmla="*/ 5506 h 528936"/>
                  <a:gd name="connsiteX23" fmla="*/ 339065 w 590433"/>
                  <a:gd name="connsiteY23" fmla="*/ 17175 h 528936"/>
                  <a:gd name="connsiteX24" fmla="*/ 366395 w 590433"/>
                  <a:gd name="connsiteY24" fmla="*/ 17350 h 528936"/>
                  <a:gd name="connsiteX25" fmla="*/ 369424 w 590433"/>
                  <a:gd name="connsiteY25" fmla="*/ 41849 h 528936"/>
                  <a:gd name="connsiteX26" fmla="*/ 397215 w 590433"/>
                  <a:gd name="connsiteY26" fmla="*/ 39964 h 528936"/>
                  <a:gd name="connsiteX27" fmla="*/ 393887 w 590433"/>
                  <a:gd name="connsiteY27" fmla="*/ 25559 h 528936"/>
                  <a:gd name="connsiteX28" fmla="*/ 417802 w 590433"/>
                  <a:gd name="connsiteY28" fmla="*/ 32756 h 528936"/>
                  <a:gd name="connsiteX29" fmla="*/ 400814 w 590433"/>
                  <a:gd name="connsiteY29" fmla="*/ 85685 h 528936"/>
                  <a:gd name="connsiteX30" fmla="*/ 423000 w 590433"/>
                  <a:gd name="connsiteY30" fmla="*/ 99927 h 528936"/>
                  <a:gd name="connsiteX31" fmla="*/ 406422 w 590433"/>
                  <a:gd name="connsiteY31" fmla="*/ 112683 h 528936"/>
                  <a:gd name="connsiteX32" fmla="*/ 408545 w 590433"/>
                  <a:gd name="connsiteY32" fmla="*/ 140524 h 528936"/>
                  <a:gd name="connsiteX33" fmla="*/ 449155 w 590433"/>
                  <a:gd name="connsiteY33" fmla="*/ 169769 h 528936"/>
                  <a:gd name="connsiteX34" fmla="*/ 420669 w 590433"/>
                  <a:gd name="connsiteY34" fmla="*/ 164314 h 528936"/>
                  <a:gd name="connsiteX35" fmla="*/ 416230 w 590433"/>
                  <a:gd name="connsiteY35" fmla="*/ 186758 h 528936"/>
                  <a:gd name="connsiteX36" fmla="*/ 440666 w 590433"/>
                  <a:gd name="connsiteY36" fmla="*/ 193890 h 528936"/>
                  <a:gd name="connsiteX37" fmla="*/ 434234 w 590433"/>
                  <a:gd name="connsiteY37" fmla="*/ 207746 h 528936"/>
                  <a:gd name="connsiteX38" fmla="*/ 455978 w 590433"/>
                  <a:gd name="connsiteY38" fmla="*/ 204765 h 528936"/>
                  <a:gd name="connsiteX39" fmla="*/ 461278 w 590433"/>
                  <a:gd name="connsiteY39" fmla="*/ 226285 h 528936"/>
                  <a:gd name="connsiteX40" fmla="*/ 486166 w 590433"/>
                  <a:gd name="connsiteY40" fmla="*/ 207612 h 528936"/>
                  <a:gd name="connsiteX41" fmla="*/ 510250 w 590433"/>
                  <a:gd name="connsiteY41" fmla="*/ 248741 h 528936"/>
                  <a:gd name="connsiteX42" fmla="*/ 520955 w 590433"/>
                  <a:gd name="connsiteY42" fmla="*/ 229233 h 528936"/>
                  <a:gd name="connsiteX43" fmla="*/ 525046 w 590433"/>
                  <a:gd name="connsiteY43" fmla="*/ 242493 h 528936"/>
                  <a:gd name="connsiteX44" fmla="*/ 535305 w 590433"/>
                  <a:gd name="connsiteY44" fmla="*/ 234781 h 528936"/>
                  <a:gd name="connsiteX45" fmla="*/ 521349 w 590433"/>
                  <a:gd name="connsiteY45" fmla="*/ 207033 h 528936"/>
                  <a:gd name="connsiteX46" fmla="*/ 566889 w 590433"/>
                  <a:gd name="connsiteY46" fmla="*/ 206416 h 528936"/>
                  <a:gd name="connsiteX47" fmla="*/ 576885 w 590433"/>
                  <a:gd name="connsiteY47" fmla="*/ 191676 h 528936"/>
                  <a:gd name="connsiteX48" fmla="*/ 588365 w 590433"/>
                  <a:gd name="connsiteY48" fmla="*/ 204294 h 528936"/>
                  <a:gd name="connsiteX49" fmla="*/ 551671 w 590433"/>
                  <a:gd name="connsiteY49" fmla="*/ 222797 h 528936"/>
                  <a:gd name="connsiteX50" fmla="*/ 544718 w 590433"/>
                  <a:gd name="connsiteY50" fmla="*/ 248240 h 528936"/>
                  <a:gd name="connsiteX51" fmla="*/ 556445 w 590433"/>
                  <a:gd name="connsiteY51" fmla="*/ 270943 h 528936"/>
                  <a:gd name="connsiteX52" fmla="*/ 567694 w 590433"/>
                  <a:gd name="connsiteY52" fmla="*/ 243435 h 528936"/>
                  <a:gd name="connsiteX53" fmla="*/ 589768 w 590433"/>
                  <a:gd name="connsiteY53" fmla="*/ 262426 h 528936"/>
                  <a:gd name="connsiteX54" fmla="*/ 531835 w 590433"/>
                  <a:gd name="connsiteY54" fmla="*/ 289245 h 528936"/>
                  <a:gd name="connsiteX55" fmla="*/ 569472 w 590433"/>
                  <a:gd name="connsiteY55" fmla="*/ 308008 h 528936"/>
                  <a:gd name="connsiteX56" fmla="*/ 586341 w 590433"/>
                  <a:gd name="connsiteY56" fmla="*/ 364928 h 528936"/>
                  <a:gd name="connsiteX57" fmla="*/ 494561 w 590433"/>
                  <a:gd name="connsiteY57" fmla="*/ 390312 h 528936"/>
                  <a:gd name="connsiteX58" fmla="*/ 457931 w 590433"/>
                  <a:gd name="connsiteY58" fmla="*/ 371185 h 528936"/>
                  <a:gd name="connsiteX59" fmla="*/ 467368 w 590433"/>
                  <a:gd name="connsiteY59" fmla="*/ 429928 h 528936"/>
                  <a:gd name="connsiteX60" fmla="*/ 418524 w 590433"/>
                  <a:gd name="connsiteY60" fmla="*/ 459437 h 528936"/>
                  <a:gd name="connsiteX61" fmla="*/ 375222 w 590433"/>
                  <a:gd name="connsiteY61" fmla="*/ 526153 h 528936"/>
                  <a:gd name="connsiteX62" fmla="*/ 357887 w 590433"/>
                  <a:gd name="connsiteY62" fmla="*/ 528780 h 528936"/>
                  <a:gd name="connsiteX63" fmla="*/ 361784 w 590433"/>
                  <a:gd name="connsiteY63" fmla="*/ 504292 h 528936"/>
                  <a:gd name="connsiteX64" fmla="*/ 344734 w 590433"/>
                  <a:gd name="connsiteY64" fmla="*/ 500309 h 528936"/>
                  <a:gd name="connsiteX65" fmla="*/ 352310 w 590433"/>
                  <a:gd name="connsiteY65" fmla="*/ 474222 h 528936"/>
                  <a:gd name="connsiteX66" fmla="*/ 367864 w 590433"/>
                  <a:gd name="connsiteY66" fmla="*/ 482475 h 528936"/>
                  <a:gd name="connsiteX67" fmla="*/ 372121 w 590433"/>
                  <a:gd name="connsiteY67" fmla="*/ 464866 h 528936"/>
                  <a:gd name="connsiteX68" fmla="*/ 353254 w 590433"/>
                  <a:gd name="connsiteY68" fmla="*/ 465947 h 528936"/>
                  <a:gd name="connsiteX69" fmla="*/ 339886 w 590433"/>
                  <a:gd name="connsiteY69" fmla="*/ 414842 h 528936"/>
                  <a:gd name="connsiteX70" fmla="*/ 301742 w 590433"/>
                  <a:gd name="connsiteY70" fmla="*/ 413167 h 528936"/>
                  <a:gd name="connsiteX71" fmla="*/ 296869 w 590433"/>
                  <a:gd name="connsiteY71" fmla="*/ 392223 h 528936"/>
                  <a:gd name="connsiteX72" fmla="*/ 310683 w 590433"/>
                  <a:gd name="connsiteY72" fmla="*/ 378856 h 528936"/>
                  <a:gd name="connsiteX73" fmla="*/ 294759 w 590433"/>
                  <a:gd name="connsiteY73" fmla="*/ 342308 h 528936"/>
                  <a:gd name="connsiteX74" fmla="*/ 278646 w 590433"/>
                  <a:gd name="connsiteY74" fmla="*/ 341631 h 528936"/>
                  <a:gd name="connsiteX75" fmla="*/ 287299 w 590433"/>
                  <a:gd name="connsiteY75" fmla="*/ 330848 h 528936"/>
                  <a:gd name="connsiteX76" fmla="*/ 248330 w 590433"/>
                  <a:gd name="connsiteY76" fmla="*/ 324169 h 528936"/>
                  <a:gd name="connsiteX77" fmla="*/ 223624 w 590433"/>
                  <a:gd name="connsiteY77" fmla="*/ 345500 h 528936"/>
                  <a:gd name="connsiteX78" fmla="*/ 215033 w 590433"/>
                  <a:gd name="connsiteY78" fmla="*/ 325567 h 528936"/>
                  <a:gd name="connsiteX79" fmla="*/ 192149 w 590433"/>
                  <a:gd name="connsiteY79" fmla="*/ 322420 h 528936"/>
                  <a:gd name="connsiteX80" fmla="*/ 199127 w 590433"/>
                  <a:gd name="connsiteY80" fmla="*/ 293821 h 528936"/>
                  <a:gd name="connsiteX81" fmla="*/ 150734 w 590433"/>
                  <a:gd name="connsiteY81" fmla="*/ 237637 h 528936"/>
                  <a:gd name="connsiteX82" fmla="*/ 166353 w 590433"/>
                  <a:gd name="connsiteY82" fmla="*/ 183051 h 528936"/>
                  <a:gd name="connsiteX83" fmla="*/ 129312 w 590433"/>
                  <a:gd name="connsiteY83" fmla="*/ 170007 h 528936"/>
                  <a:gd name="connsiteX84" fmla="*/ 111556 w 590433"/>
                  <a:gd name="connsiteY84" fmla="*/ 189846 h 528936"/>
                  <a:gd name="connsiteX85" fmla="*/ 83724 w 590433"/>
                  <a:gd name="connsiteY85" fmla="*/ 164792 h 528936"/>
                  <a:gd name="connsiteX86" fmla="*/ 74544 w 590433"/>
                  <a:gd name="connsiteY86" fmla="*/ 126654 h 528936"/>
                  <a:gd name="connsiteX87" fmla="*/ 42423 w 590433"/>
                  <a:gd name="connsiteY87" fmla="*/ 123562 h 528936"/>
                  <a:gd name="connsiteX88" fmla="*/ 45787 w 590433"/>
                  <a:gd name="connsiteY88" fmla="*/ 106867 h 528936"/>
                  <a:gd name="connsiteX89" fmla="*/ 17028 w 590433"/>
                  <a:gd name="connsiteY89" fmla="*/ 121619 h 528936"/>
                  <a:gd name="connsiteX90" fmla="*/ -666 w 590433"/>
                  <a:gd name="connsiteY90" fmla="*/ 114467 h 528936"/>
                  <a:gd name="connsiteX91" fmla="*/ 19059 w 590433"/>
                  <a:gd name="connsiteY91" fmla="*/ 89917 h 528936"/>
                  <a:gd name="connsiteX92" fmla="*/ 9535 w 590433"/>
                  <a:gd name="connsiteY92" fmla="*/ 85353 h 528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590433" h="528936">
                    <a:moveTo>
                      <a:pt x="9536" y="85353"/>
                    </a:moveTo>
                    <a:lnTo>
                      <a:pt x="41544" y="69401"/>
                    </a:lnTo>
                    <a:lnTo>
                      <a:pt x="55654" y="99786"/>
                    </a:lnTo>
                    <a:lnTo>
                      <a:pt x="65377" y="88069"/>
                    </a:lnTo>
                    <a:lnTo>
                      <a:pt x="61334" y="105446"/>
                    </a:lnTo>
                    <a:lnTo>
                      <a:pt x="72677" y="84233"/>
                    </a:lnTo>
                    <a:lnTo>
                      <a:pt x="85780" y="97571"/>
                    </a:lnTo>
                    <a:lnTo>
                      <a:pt x="95418" y="77453"/>
                    </a:lnTo>
                    <a:lnTo>
                      <a:pt x="114739" y="83284"/>
                    </a:lnTo>
                    <a:lnTo>
                      <a:pt x="121260" y="51981"/>
                    </a:lnTo>
                    <a:lnTo>
                      <a:pt x="93399" y="49167"/>
                    </a:lnTo>
                    <a:lnTo>
                      <a:pt x="104641" y="33805"/>
                    </a:lnTo>
                    <a:lnTo>
                      <a:pt x="154549" y="39807"/>
                    </a:lnTo>
                    <a:lnTo>
                      <a:pt x="159436" y="22083"/>
                    </a:lnTo>
                    <a:lnTo>
                      <a:pt x="201522" y="27857"/>
                    </a:lnTo>
                    <a:lnTo>
                      <a:pt x="215423" y="12955"/>
                    </a:lnTo>
                    <a:lnTo>
                      <a:pt x="234083" y="24795"/>
                    </a:lnTo>
                    <a:lnTo>
                      <a:pt x="248327" y="12297"/>
                    </a:lnTo>
                    <a:lnTo>
                      <a:pt x="285159" y="17833"/>
                    </a:lnTo>
                    <a:lnTo>
                      <a:pt x="283677" y="2742"/>
                    </a:lnTo>
                    <a:lnTo>
                      <a:pt x="301174" y="-157"/>
                    </a:lnTo>
                    <a:lnTo>
                      <a:pt x="317840" y="17713"/>
                    </a:lnTo>
                    <a:lnTo>
                      <a:pt x="338906" y="5506"/>
                    </a:lnTo>
                    <a:lnTo>
                      <a:pt x="339065" y="17175"/>
                    </a:lnTo>
                    <a:lnTo>
                      <a:pt x="366395" y="17350"/>
                    </a:lnTo>
                    <a:lnTo>
                      <a:pt x="369424" y="41849"/>
                    </a:lnTo>
                    <a:lnTo>
                      <a:pt x="397215" y="39964"/>
                    </a:lnTo>
                    <a:lnTo>
                      <a:pt x="393887" y="25559"/>
                    </a:lnTo>
                    <a:lnTo>
                      <a:pt x="417802" y="32756"/>
                    </a:lnTo>
                    <a:lnTo>
                      <a:pt x="400814" y="85685"/>
                    </a:lnTo>
                    <a:lnTo>
                      <a:pt x="423000" y="99927"/>
                    </a:lnTo>
                    <a:lnTo>
                      <a:pt x="406422" y="112683"/>
                    </a:lnTo>
                    <a:lnTo>
                      <a:pt x="408545" y="140524"/>
                    </a:lnTo>
                    <a:lnTo>
                      <a:pt x="449155" y="169769"/>
                    </a:lnTo>
                    <a:lnTo>
                      <a:pt x="420669" y="164314"/>
                    </a:lnTo>
                    <a:lnTo>
                      <a:pt x="416230" y="186758"/>
                    </a:lnTo>
                    <a:lnTo>
                      <a:pt x="440666" y="193890"/>
                    </a:lnTo>
                    <a:lnTo>
                      <a:pt x="434234" y="207746"/>
                    </a:lnTo>
                    <a:lnTo>
                      <a:pt x="455978" y="204765"/>
                    </a:lnTo>
                    <a:lnTo>
                      <a:pt x="461278" y="226285"/>
                    </a:lnTo>
                    <a:lnTo>
                      <a:pt x="486166" y="207612"/>
                    </a:lnTo>
                    <a:lnTo>
                      <a:pt x="510250" y="248741"/>
                    </a:lnTo>
                    <a:lnTo>
                      <a:pt x="520955" y="229233"/>
                    </a:lnTo>
                    <a:lnTo>
                      <a:pt x="525046" y="242493"/>
                    </a:lnTo>
                    <a:lnTo>
                      <a:pt x="535305" y="234781"/>
                    </a:lnTo>
                    <a:lnTo>
                      <a:pt x="521349" y="207033"/>
                    </a:lnTo>
                    <a:lnTo>
                      <a:pt x="566889" y="206416"/>
                    </a:lnTo>
                    <a:lnTo>
                      <a:pt x="576885" y="191676"/>
                    </a:lnTo>
                    <a:lnTo>
                      <a:pt x="588365" y="204294"/>
                    </a:lnTo>
                    <a:lnTo>
                      <a:pt x="551671" y="222797"/>
                    </a:lnTo>
                    <a:lnTo>
                      <a:pt x="544718" y="248240"/>
                    </a:lnTo>
                    <a:lnTo>
                      <a:pt x="556445" y="270943"/>
                    </a:lnTo>
                    <a:lnTo>
                      <a:pt x="567694" y="243435"/>
                    </a:lnTo>
                    <a:lnTo>
                      <a:pt x="589768" y="262426"/>
                    </a:lnTo>
                    <a:lnTo>
                      <a:pt x="531835" y="289245"/>
                    </a:lnTo>
                    <a:lnTo>
                      <a:pt x="569472" y="308008"/>
                    </a:lnTo>
                    <a:lnTo>
                      <a:pt x="586341" y="364928"/>
                    </a:lnTo>
                    <a:lnTo>
                      <a:pt x="494561" y="390312"/>
                    </a:lnTo>
                    <a:lnTo>
                      <a:pt x="457931" y="371185"/>
                    </a:lnTo>
                    <a:lnTo>
                      <a:pt x="467368" y="429928"/>
                    </a:lnTo>
                    <a:lnTo>
                      <a:pt x="418524" y="459437"/>
                    </a:lnTo>
                    <a:lnTo>
                      <a:pt x="375222" y="526153"/>
                    </a:lnTo>
                    <a:lnTo>
                      <a:pt x="357887" y="528780"/>
                    </a:lnTo>
                    <a:lnTo>
                      <a:pt x="361784" y="504292"/>
                    </a:lnTo>
                    <a:lnTo>
                      <a:pt x="344734" y="500309"/>
                    </a:lnTo>
                    <a:lnTo>
                      <a:pt x="352310" y="474222"/>
                    </a:lnTo>
                    <a:lnTo>
                      <a:pt x="367864" y="482475"/>
                    </a:lnTo>
                    <a:lnTo>
                      <a:pt x="372121" y="464866"/>
                    </a:lnTo>
                    <a:lnTo>
                      <a:pt x="353254" y="465947"/>
                    </a:lnTo>
                    <a:lnTo>
                      <a:pt x="339886" y="414842"/>
                    </a:lnTo>
                    <a:lnTo>
                      <a:pt x="301742" y="413167"/>
                    </a:lnTo>
                    <a:lnTo>
                      <a:pt x="296869" y="392223"/>
                    </a:lnTo>
                    <a:lnTo>
                      <a:pt x="310683" y="378856"/>
                    </a:lnTo>
                    <a:lnTo>
                      <a:pt x="294759" y="342308"/>
                    </a:lnTo>
                    <a:lnTo>
                      <a:pt x="278646" y="341631"/>
                    </a:lnTo>
                    <a:lnTo>
                      <a:pt x="287299" y="330848"/>
                    </a:lnTo>
                    <a:lnTo>
                      <a:pt x="248330" y="324169"/>
                    </a:lnTo>
                    <a:lnTo>
                      <a:pt x="223624" y="345500"/>
                    </a:lnTo>
                    <a:lnTo>
                      <a:pt x="215033" y="325567"/>
                    </a:lnTo>
                    <a:lnTo>
                      <a:pt x="192149" y="322420"/>
                    </a:lnTo>
                    <a:lnTo>
                      <a:pt x="199127" y="293821"/>
                    </a:lnTo>
                    <a:lnTo>
                      <a:pt x="150734" y="237637"/>
                    </a:lnTo>
                    <a:lnTo>
                      <a:pt x="166353" y="183051"/>
                    </a:lnTo>
                    <a:lnTo>
                      <a:pt x="129312" y="170007"/>
                    </a:lnTo>
                    <a:lnTo>
                      <a:pt x="111556" y="189846"/>
                    </a:lnTo>
                    <a:lnTo>
                      <a:pt x="83724" y="164792"/>
                    </a:lnTo>
                    <a:lnTo>
                      <a:pt x="74544" y="126654"/>
                    </a:lnTo>
                    <a:lnTo>
                      <a:pt x="42423" y="123562"/>
                    </a:lnTo>
                    <a:lnTo>
                      <a:pt x="45787" y="106867"/>
                    </a:lnTo>
                    <a:lnTo>
                      <a:pt x="17028" y="121619"/>
                    </a:lnTo>
                    <a:lnTo>
                      <a:pt x="-666" y="114467"/>
                    </a:lnTo>
                    <a:lnTo>
                      <a:pt x="19059" y="89917"/>
                    </a:lnTo>
                    <a:lnTo>
                      <a:pt x="9535" y="85353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" name="Самарская область">
                <a:extLst>
                  <a:ext uri="{FF2B5EF4-FFF2-40B4-BE49-F238E27FC236}">
                    <a16:creationId xmlns:a16="http://schemas.microsoft.com/office/drawing/2014/main" id="{666D3E17-6D39-4CE3-A2FA-C5ECC60EECBB}"/>
                  </a:ext>
                </a:extLst>
              </p:cNvPr>
              <p:cNvSpPr/>
              <p:nvPr/>
            </p:nvSpPr>
            <p:spPr>
              <a:xfrm>
                <a:off x="2199576" y="3831149"/>
                <a:ext cx="473573" cy="378455"/>
              </a:xfrm>
              <a:custGeom>
                <a:avLst/>
                <a:gdLst>
                  <a:gd name="connsiteX0" fmla="*/ 44478 w 473573"/>
                  <a:gd name="connsiteY0" fmla="*/ 12228 h 378455"/>
                  <a:gd name="connsiteX1" fmla="*/ 63229 w 473573"/>
                  <a:gd name="connsiteY1" fmla="*/ 6231 h 378455"/>
                  <a:gd name="connsiteX2" fmla="*/ 86279 w 473573"/>
                  <a:gd name="connsiteY2" fmla="*/ 26724 h 378455"/>
                  <a:gd name="connsiteX3" fmla="*/ 125506 w 473573"/>
                  <a:gd name="connsiteY3" fmla="*/ -157 h 378455"/>
                  <a:gd name="connsiteX4" fmla="*/ 153406 w 473573"/>
                  <a:gd name="connsiteY4" fmla="*/ 38330 h 378455"/>
                  <a:gd name="connsiteX5" fmla="*/ 178230 w 473573"/>
                  <a:gd name="connsiteY5" fmla="*/ 22282 h 378455"/>
                  <a:gd name="connsiteX6" fmla="*/ 236786 w 473573"/>
                  <a:gd name="connsiteY6" fmla="*/ 88237 h 378455"/>
                  <a:gd name="connsiteX7" fmla="*/ 238335 w 473573"/>
                  <a:gd name="connsiteY7" fmla="*/ 71815 h 378455"/>
                  <a:gd name="connsiteX8" fmla="*/ 267810 w 473573"/>
                  <a:gd name="connsiteY8" fmla="*/ 73700 h 378455"/>
                  <a:gd name="connsiteX9" fmla="*/ 291641 w 473573"/>
                  <a:gd name="connsiteY9" fmla="*/ 53548 h 378455"/>
                  <a:gd name="connsiteX10" fmla="*/ 310766 w 473573"/>
                  <a:gd name="connsiteY10" fmla="*/ 10558 h 378455"/>
                  <a:gd name="connsiteX11" fmla="*/ 328693 w 473573"/>
                  <a:gd name="connsiteY11" fmla="*/ 28680 h 378455"/>
                  <a:gd name="connsiteX12" fmla="*/ 320823 w 473573"/>
                  <a:gd name="connsiteY12" fmla="*/ 55849 h 378455"/>
                  <a:gd name="connsiteX13" fmla="*/ 344599 w 473573"/>
                  <a:gd name="connsiteY13" fmla="*/ 60426 h 378455"/>
                  <a:gd name="connsiteX14" fmla="*/ 353190 w 473573"/>
                  <a:gd name="connsiteY14" fmla="*/ 80360 h 378455"/>
                  <a:gd name="connsiteX15" fmla="*/ 377896 w 473573"/>
                  <a:gd name="connsiteY15" fmla="*/ 59028 h 378455"/>
                  <a:gd name="connsiteX16" fmla="*/ 416922 w 473573"/>
                  <a:gd name="connsiteY16" fmla="*/ 65761 h 378455"/>
                  <a:gd name="connsiteX17" fmla="*/ 407537 w 473573"/>
                  <a:gd name="connsiteY17" fmla="*/ 75982 h 378455"/>
                  <a:gd name="connsiteX18" fmla="*/ 424079 w 473573"/>
                  <a:gd name="connsiteY18" fmla="*/ 77150 h 378455"/>
                  <a:gd name="connsiteX19" fmla="*/ 440249 w 473573"/>
                  <a:gd name="connsiteY19" fmla="*/ 113716 h 378455"/>
                  <a:gd name="connsiteX20" fmla="*/ 426435 w 473573"/>
                  <a:gd name="connsiteY20" fmla="*/ 127083 h 378455"/>
                  <a:gd name="connsiteX21" fmla="*/ 431308 w 473573"/>
                  <a:gd name="connsiteY21" fmla="*/ 148027 h 378455"/>
                  <a:gd name="connsiteX22" fmla="*/ 472908 w 473573"/>
                  <a:gd name="connsiteY22" fmla="*/ 155511 h 378455"/>
                  <a:gd name="connsiteX23" fmla="*/ 465943 w 473573"/>
                  <a:gd name="connsiteY23" fmla="*/ 173701 h 378455"/>
                  <a:gd name="connsiteX24" fmla="*/ 445727 w 473573"/>
                  <a:gd name="connsiteY24" fmla="*/ 166614 h 378455"/>
                  <a:gd name="connsiteX25" fmla="*/ 428530 w 473573"/>
                  <a:gd name="connsiteY25" fmla="*/ 180467 h 378455"/>
                  <a:gd name="connsiteX26" fmla="*/ 432392 w 473573"/>
                  <a:gd name="connsiteY26" fmla="*/ 203864 h 378455"/>
                  <a:gd name="connsiteX27" fmla="*/ 348590 w 473573"/>
                  <a:gd name="connsiteY27" fmla="*/ 247399 h 378455"/>
                  <a:gd name="connsiteX28" fmla="*/ 346563 w 473573"/>
                  <a:gd name="connsiteY28" fmla="*/ 269454 h 378455"/>
                  <a:gd name="connsiteX29" fmla="*/ 314165 w 473573"/>
                  <a:gd name="connsiteY29" fmla="*/ 301987 h 378455"/>
                  <a:gd name="connsiteX30" fmla="*/ 260918 w 473573"/>
                  <a:gd name="connsiteY30" fmla="*/ 300966 h 378455"/>
                  <a:gd name="connsiteX31" fmla="*/ 239035 w 473573"/>
                  <a:gd name="connsiteY31" fmla="*/ 328264 h 378455"/>
                  <a:gd name="connsiteX32" fmla="*/ 218664 w 473573"/>
                  <a:gd name="connsiteY32" fmla="*/ 316138 h 378455"/>
                  <a:gd name="connsiteX33" fmla="*/ 204355 w 473573"/>
                  <a:gd name="connsiteY33" fmla="*/ 344701 h 378455"/>
                  <a:gd name="connsiteX34" fmla="*/ 185097 w 473573"/>
                  <a:gd name="connsiteY34" fmla="*/ 341614 h 378455"/>
                  <a:gd name="connsiteX35" fmla="*/ 157080 w 473573"/>
                  <a:gd name="connsiteY35" fmla="*/ 378299 h 378455"/>
                  <a:gd name="connsiteX36" fmla="*/ 81499 w 473573"/>
                  <a:gd name="connsiteY36" fmla="*/ 375195 h 378455"/>
                  <a:gd name="connsiteX37" fmla="*/ 92870 w 473573"/>
                  <a:gd name="connsiteY37" fmla="*/ 352074 h 378455"/>
                  <a:gd name="connsiteX38" fmla="*/ 61121 w 473573"/>
                  <a:gd name="connsiteY38" fmla="*/ 309306 h 378455"/>
                  <a:gd name="connsiteX39" fmla="*/ 77976 w 473573"/>
                  <a:gd name="connsiteY39" fmla="*/ 299081 h 378455"/>
                  <a:gd name="connsiteX40" fmla="*/ 51700 w 473573"/>
                  <a:gd name="connsiteY40" fmla="*/ 267452 h 378455"/>
                  <a:gd name="connsiteX41" fmla="*/ 58306 w 473573"/>
                  <a:gd name="connsiteY41" fmla="*/ 226935 h 378455"/>
                  <a:gd name="connsiteX42" fmla="*/ 41965 w 473573"/>
                  <a:gd name="connsiteY42" fmla="*/ 228298 h 378455"/>
                  <a:gd name="connsiteX43" fmla="*/ 40696 w 473573"/>
                  <a:gd name="connsiteY43" fmla="*/ 189819 h 378455"/>
                  <a:gd name="connsiteX44" fmla="*/ 10675 w 473573"/>
                  <a:gd name="connsiteY44" fmla="*/ 182315 h 378455"/>
                  <a:gd name="connsiteX45" fmla="*/ 21480 w 473573"/>
                  <a:gd name="connsiteY45" fmla="*/ 143519 h 378455"/>
                  <a:gd name="connsiteX46" fmla="*/ -666 w 473573"/>
                  <a:gd name="connsiteY46" fmla="*/ 114119 h 378455"/>
                  <a:gd name="connsiteX47" fmla="*/ 40959 w 473573"/>
                  <a:gd name="connsiteY47" fmla="*/ 107224 h 378455"/>
                  <a:gd name="connsiteX48" fmla="*/ 40999 w 473573"/>
                  <a:gd name="connsiteY48" fmla="*/ 70761 h 378455"/>
                  <a:gd name="connsiteX49" fmla="*/ 25035 w 473573"/>
                  <a:gd name="connsiteY49" fmla="*/ 59961 h 378455"/>
                  <a:gd name="connsiteX50" fmla="*/ 46694 w 473573"/>
                  <a:gd name="connsiteY50" fmla="*/ 41468 h 378455"/>
                  <a:gd name="connsiteX51" fmla="*/ 44475 w 473573"/>
                  <a:gd name="connsiteY51" fmla="*/ 12228 h 378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73573" h="378455">
                    <a:moveTo>
                      <a:pt x="44478" y="12228"/>
                    </a:moveTo>
                    <a:lnTo>
                      <a:pt x="63229" y="6231"/>
                    </a:lnTo>
                    <a:lnTo>
                      <a:pt x="86279" y="26724"/>
                    </a:lnTo>
                    <a:lnTo>
                      <a:pt x="125506" y="-157"/>
                    </a:lnTo>
                    <a:lnTo>
                      <a:pt x="153406" y="38330"/>
                    </a:lnTo>
                    <a:lnTo>
                      <a:pt x="178230" y="22282"/>
                    </a:lnTo>
                    <a:lnTo>
                      <a:pt x="236786" y="88237"/>
                    </a:lnTo>
                    <a:lnTo>
                      <a:pt x="238335" y="71815"/>
                    </a:lnTo>
                    <a:lnTo>
                      <a:pt x="267810" y="73700"/>
                    </a:lnTo>
                    <a:lnTo>
                      <a:pt x="291641" y="53548"/>
                    </a:lnTo>
                    <a:lnTo>
                      <a:pt x="310766" y="10558"/>
                    </a:lnTo>
                    <a:lnTo>
                      <a:pt x="328693" y="28680"/>
                    </a:lnTo>
                    <a:lnTo>
                      <a:pt x="320823" y="55849"/>
                    </a:lnTo>
                    <a:lnTo>
                      <a:pt x="344599" y="60426"/>
                    </a:lnTo>
                    <a:lnTo>
                      <a:pt x="353190" y="80360"/>
                    </a:lnTo>
                    <a:lnTo>
                      <a:pt x="377896" y="59028"/>
                    </a:lnTo>
                    <a:lnTo>
                      <a:pt x="416922" y="65761"/>
                    </a:lnTo>
                    <a:lnTo>
                      <a:pt x="407537" y="75982"/>
                    </a:lnTo>
                    <a:lnTo>
                      <a:pt x="424079" y="77150"/>
                    </a:lnTo>
                    <a:lnTo>
                      <a:pt x="440249" y="113716"/>
                    </a:lnTo>
                    <a:lnTo>
                      <a:pt x="426435" y="127083"/>
                    </a:lnTo>
                    <a:lnTo>
                      <a:pt x="431308" y="148027"/>
                    </a:lnTo>
                    <a:lnTo>
                      <a:pt x="472908" y="155511"/>
                    </a:lnTo>
                    <a:lnTo>
                      <a:pt x="465943" y="173701"/>
                    </a:lnTo>
                    <a:lnTo>
                      <a:pt x="445727" y="166614"/>
                    </a:lnTo>
                    <a:lnTo>
                      <a:pt x="428530" y="180467"/>
                    </a:lnTo>
                    <a:lnTo>
                      <a:pt x="432392" y="203864"/>
                    </a:lnTo>
                    <a:lnTo>
                      <a:pt x="348590" y="247399"/>
                    </a:lnTo>
                    <a:lnTo>
                      <a:pt x="346563" y="269454"/>
                    </a:lnTo>
                    <a:lnTo>
                      <a:pt x="314165" y="301987"/>
                    </a:lnTo>
                    <a:lnTo>
                      <a:pt x="260918" y="300966"/>
                    </a:lnTo>
                    <a:lnTo>
                      <a:pt x="239035" y="328264"/>
                    </a:lnTo>
                    <a:lnTo>
                      <a:pt x="218664" y="316138"/>
                    </a:lnTo>
                    <a:lnTo>
                      <a:pt x="204355" y="344701"/>
                    </a:lnTo>
                    <a:lnTo>
                      <a:pt x="185097" y="341614"/>
                    </a:lnTo>
                    <a:lnTo>
                      <a:pt x="157080" y="378299"/>
                    </a:lnTo>
                    <a:lnTo>
                      <a:pt x="81499" y="375195"/>
                    </a:lnTo>
                    <a:lnTo>
                      <a:pt x="92870" y="352074"/>
                    </a:lnTo>
                    <a:lnTo>
                      <a:pt x="61121" y="309306"/>
                    </a:lnTo>
                    <a:lnTo>
                      <a:pt x="77976" y="299081"/>
                    </a:lnTo>
                    <a:lnTo>
                      <a:pt x="51700" y="267452"/>
                    </a:lnTo>
                    <a:lnTo>
                      <a:pt x="58306" y="226935"/>
                    </a:lnTo>
                    <a:lnTo>
                      <a:pt x="41965" y="228298"/>
                    </a:lnTo>
                    <a:lnTo>
                      <a:pt x="40696" y="189819"/>
                    </a:lnTo>
                    <a:lnTo>
                      <a:pt x="10675" y="182315"/>
                    </a:lnTo>
                    <a:lnTo>
                      <a:pt x="21480" y="143519"/>
                    </a:lnTo>
                    <a:lnTo>
                      <a:pt x="-666" y="114119"/>
                    </a:lnTo>
                    <a:lnTo>
                      <a:pt x="40959" y="107224"/>
                    </a:lnTo>
                    <a:lnTo>
                      <a:pt x="40999" y="70761"/>
                    </a:lnTo>
                    <a:lnTo>
                      <a:pt x="25035" y="59961"/>
                    </a:lnTo>
                    <a:lnTo>
                      <a:pt x="46694" y="41468"/>
                    </a:lnTo>
                    <a:lnTo>
                      <a:pt x="44475" y="12228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" name="Оренбургская область">
                <a:extLst>
                  <a:ext uri="{FF2B5EF4-FFF2-40B4-BE49-F238E27FC236}">
                    <a16:creationId xmlns:a16="http://schemas.microsoft.com/office/drawing/2014/main" id="{EC853558-192B-491B-83C4-F9F9AD2534DE}"/>
                  </a:ext>
                </a:extLst>
              </p:cNvPr>
              <p:cNvSpPr/>
              <p:nvPr/>
            </p:nvSpPr>
            <p:spPr>
              <a:xfrm>
                <a:off x="2281741" y="3998901"/>
                <a:ext cx="809687" cy="938316"/>
              </a:xfrm>
              <a:custGeom>
                <a:avLst/>
                <a:gdLst>
                  <a:gd name="connsiteX0" fmla="*/ -666 w 809687"/>
                  <a:gd name="connsiteY0" fmla="*/ 207443 h 938316"/>
                  <a:gd name="connsiteX1" fmla="*/ 74915 w 809687"/>
                  <a:gd name="connsiteY1" fmla="*/ 210548 h 938316"/>
                  <a:gd name="connsiteX2" fmla="*/ 102932 w 809687"/>
                  <a:gd name="connsiteY2" fmla="*/ 173863 h 938316"/>
                  <a:gd name="connsiteX3" fmla="*/ 122190 w 809687"/>
                  <a:gd name="connsiteY3" fmla="*/ 176950 h 938316"/>
                  <a:gd name="connsiteX4" fmla="*/ 136499 w 809687"/>
                  <a:gd name="connsiteY4" fmla="*/ 148387 h 938316"/>
                  <a:gd name="connsiteX5" fmla="*/ 156870 w 809687"/>
                  <a:gd name="connsiteY5" fmla="*/ 160513 h 938316"/>
                  <a:gd name="connsiteX6" fmla="*/ 178753 w 809687"/>
                  <a:gd name="connsiteY6" fmla="*/ 133215 h 938316"/>
                  <a:gd name="connsiteX7" fmla="*/ 232000 w 809687"/>
                  <a:gd name="connsiteY7" fmla="*/ 134235 h 938316"/>
                  <a:gd name="connsiteX8" fmla="*/ 273666 w 809687"/>
                  <a:gd name="connsiteY8" fmla="*/ 73590 h 938316"/>
                  <a:gd name="connsiteX9" fmla="*/ 350227 w 809687"/>
                  <a:gd name="connsiteY9" fmla="*/ 36112 h 938316"/>
                  <a:gd name="connsiteX10" fmla="*/ 344787 w 809687"/>
                  <a:gd name="connsiteY10" fmla="*/ 16574 h 938316"/>
                  <a:gd name="connsiteX11" fmla="*/ 361059 w 809687"/>
                  <a:gd name="connsiteY11" fmla="*/ -157 h 938316"/>
                  <a:gd name="connsiteX12" fmla="*/ 388778 w 809687"/>
                  <a:gd name="connsiteY12" fmla="*/ 4938 h 938316"/>
                  <a:gd name="connsiteX13" fmla="*/ 404809 w 809687"/>
                  <a:gd name="connsiteY13" fmla="*/ 37538 h 938316"/>
                  <a:gd name="connsiteX14" fmla="*/ 419523 w 809687"/>
                  <a:gd name="connsiteY14" fmla="*/ 31974 h 938316"/>
                  <a:gd name="connsiteX15" fmla="*/ 415189 w 809687"/>
                  <a:gd name="connsiteY15" fmla="*/ 49590 h 938316"/>
                  <a:gd name="connsiteX16" fmla="*/ 399595 w 809687"/>
                  <a:gd name="connsiteY16" fmla="*/ 41526 h 938316"/>
                  <a:gd name="connsiteX17" fmla="*/ 392134 w 809687"/>
                  <a:gd name="connsiteY17" fmla="*/ 67417 h 938316"/>
                  <a:gd name="connsiteX18" fmla="*/ 409185 w 809687"/>
                  <a:gd name="connsiteY18" fmla="*/ 71400 h 938316"/>
                  <a:gd name="connsiteX19" fmla="*/ 405288 w 809687"/>
                  <a:gd name="connsiteY19" fmla="*/ 95889 h 938316"/>
                  <a:gd name="connsiteX20" fmla="*/ 423216 w 809687"/>
                  <a:gd name="connsiteY20" fmla="*/ 94175 h 938316"/>
                  <a:gd name="connsiteX21" fmla="*/ 403979 w 809687"/>
                  <a:gd name="connsiteY21" fmla="*/ 138545 h 938316"/>
                  <a:gd name="connsiteX22" fmla="*/ 406125 w 809687"/>
                  <a:gd name="connsiteY22" fmla="*/ 212226 h 938316"/>
                  <a:gd name="connsiteX23" fmla="*/ 446811 w 809687"/>
                  <a:gd name="connsiteY23" fmla="*/ 277702 h 938316"/>
                  <a:gd name="connsiteX24" fmla="*/ 425683 w 809687"/>
                  <a:gd name="connsiteY24" fmla="*/ 339117 h 938316"/>
                  <a:gd name="connsiteX25" fmla="*/ 446528 w 809687"/>
                  <a:gd name="connsiteY25" fmla="*/ 352131 h 938316"/>
                  <a:gd name="connsiteX26" fmla="*/ 430682 w 809687"/>
                  <a:gd name="connsiteY26" fmla="*/ 368322 h 938316"/>
                  <a:gd name="connsiteX27" fmla="*/ 422864 w 809687"/>
                  <a:gd name="connsiteY27" fmla="*/ 354996 h 938316"/>
                  <a:gd name="connsiteX28" fmla="*/ 435272 w 809687"/>
                  <a:gd name="connsiteY28" fmla="*/ 386994 h 938316"/>
                  <a:gd name="connsiteX29" fmla="*/ 415316 w 809687"/>
                  <a:gd name="connsiteY29" fmla="*/ 414234 h 938316"/>
                  <a:gd name="connsiteX30" fmla="*/ 436059 w 809687"/>
                  <a:gd name="connsiteY30" fmla="*/ 433819 h 938316"/>
                  <a:gd name="connsiteX31" fmla="*/ 478143 w 809687"/>
                  <a:gd name="connsiteY31" fmla="*/ 410067 h 938316"/>
                  <a:gd name="connsiteX32" fmla="*/ 486426 w 809687"/>
                  <a:gd name="connsiteY32" fmla="*/ 435528 h 938316"/>
                  <a:gd name="connsiteX33" fmla="*/ 504520 w 809687"/>
                  <a:gd name="connsiteY33" fmla="*/ 438819 h 938316"/>
                  <a:gd name="connsiteX34" fmla="*/ 478387 w 809687"/>
                  <a:gd name="connsiteY34" fmla="*/ 477510 h 938316"/>
                  <a:gd name="connsiteX35" fmla="*/ 444852 w 809687"/>
                  <a:gd name="connsiteY35" fmla="*/ 483089 h 938316"/>
                  <a:gd name="connsiteX36" fmla="*/ 471537 w 809687"/>
                  <a:gd name="connsiteY36" fmla="*/ 489060 h 938316"/>
                  <a:gd name="connsiteX37" fmla="*/ 461709 w 809687"/>
                  <a:gd name="connsiteY37" fmla="*/ 491859 h 938316"/>
                  <a:gd name="connsiteX38" fmla="*/ 476372 w 809687"/>
                  <a:gd name="connsiteY38" fmla="*/ 521452 h 938316"/>
                  <a:gd name="connsiteX39" fmla="*/ 448259 w 809687"/>
                  <a:gd name="connsiteY39" fmla="*/ 545092 h 938316"/>
                  <a:gd name="connsiteX40" fmla="*/ 454726 w 809687"/>
                  <a:gd name="connsiteY40" fmla="*/ 562735 h 938316"/>
                  <a:gd name="connsiteX41" fmla="*/ 435495 w 809687"/>
                  <a:gd name="connsiteY41" fmla="*/ 581996 h 938316"/>
                  <a:gd name="connsiteX42" fmla="*/ 450188 w 809687"/>
                  <a:gd name="connsiteY42" fmla="*/ 589558 h 938316"/>
                  <a:gd name="connsiteX43" fmla="*/ 458459 w 809687"/>
                  <a:gd name="connsiteY43" fmla="*/ 564443 h 938316"/>
                  <a:gd name="connsiteX44" fmla="*/ 472216 w 809687"/>
                  <a:gd name="connsiteY44" fmla="*/ 611764 h 938316"/>
                  <a:gd name="connsiteX45" fmla="*/ 522138 w 809687"/>
                  <a:gd name="connsiteY45" fmla="*/ 611693 h 938316"/>
                  <a:gd name="connsiteX46" fmla="*/ 533852 w 809687"/>
                  <a:gd name="connsiteY46" fmla="*/ 598144 h 938316"/>
                  <a:gd name="connsiteX47" fmla="*/ 560219 w 809687"/>
                  <a:gd name="connsiteY47" fmla="*/ 644517 h 938316"/>
                  <a:gd name="connsiteX48" fmla="*/ 598388 w 809687"/>
                  <a:gd name="connsiteY48" fmla="*/ 660427 h 938316"/>
                  <a:gd name="connsiteX49" fmla="*/ 651594 w 809687"/>
                  <a:gd name="connsiteY49" fmla="*/ 597472 h 938316"/>
                  <a:gd name="connsiteX50" fmla="*/ 672572 w 809687"/>
                  <a:gd name="connsiteY50" fmla="*/ 614389 h 938316"/>
                  <a:gd name="connsiteX51" fmla="*/ 679436 w 809687"/>
                  <a:gd name="connsiteY51" fmla="*/ 588046 h 938316"/>
                  <a:gd name="connsiteX52" fmla="*/ 689037 w 809687"/>
                  <a:gd name="connsiteY52" fmla="*/ 626252 h 938316"/>
                  <a:gd name="connsiteX53" fmla="*/ 714721 w 809687"/>
                  <a:gd name="connsiteY53" fmla="*/ 604458 h 938316"/>
                  <a:gd name="connsiteX54" fmla="*/ 726197 w 809687"/>
                  <a:gd name="connsiteY54" fmla="*/ 627802 h 938316"/>
                  <a:gd name="connsiteX55" fmla="*/ 758704 w 809687"/>
                  <a:gd name="connsiteY55" fmla="*/ 633844 h 938316"/>
                  <a:gd name="connsiteX56" fmla="*/ 778976 w 809687"/>
                  <a:gd name="connsiteY56" fmla="*/ 661683 h 938316"/>
                  <a:gd name="connsiteX57" fmla="*/ 768109 w 809687"/>
                  <a:gd name="connsiteY57" fmla="*/ 680605 h 938316"/>
                  <a:gd name="connsiteX58" fmla="*/ 731579 w 809687"/>
                  <a:gd name="connsiteY58" fmla="*/ 690133 h 938316"/>
                  <a:gd name="connsiteX59" fmla="*/ 726118 w 809687"/>
                  <a:gd name="connsiteY59" fmla="*/ 725949 h 938316"/>
                  <a:gd name="connsiteX60" fmla="*/ 757271 w 809687"/>
                  <a:gd name="connsiteY60" fmla="*/ 759106 h 938316"/>
                  <a:gd name="connsiteX61" fmla="*/ 736310 w 809687"/>
                  <a:gd name="connsiteY61" fmla="*/ 773674 h 938316"/>
                  <a:gd name="connsiteX62" fmla="*/ 776192 w 809687"/>
                  <a:gd name="connsiteY62" fmla="*/ 804565 h 938316"/>
                  <a:gd name="connsiteX63" fmla="*/ 767303 w 809687"/>
                  <a:gd name="connsiteY63" fmla="*/ 821953 h 938316"/>
                  <a:gd name="connsiteX64" fmla="*/ 805817 w 809687"/>
                  <a:gd name="connsiteY64" fmla="*/ 860672 h 938316"/>
                  <a:gd name="connsiteX65" fmla="*/ 809021 w 809687"/>
                  <a:gd name="connsiteY65" fmla="*/ 890679 h 938316"/>
                  <a:gd name="connsiteX66" fmla="*/ 797454 w 809687"/>
                  <a:gd name="connsiteY66" fmla="*/ 886898 h 938316"/>
                  <a:gd name="connsiteX67" fmla="*/ 752347 w 809687"/>
                  <a:gd name="connsiteY67" fmla="*/ 938159 h 938316"/>
                  <a:gd name="connsiteX68" fmla="*/ 655998 w 809687"/>
                  <a:gd name="connsiteY68" fmla="*/ 904940 h 938316"/>
                  <a:gd name="connsiteX69" fmla="*/ 637924 w 809687"/>
                  <a:gd name="connsiteY69" fmla="*/ 859108 h 938316"/>
                  <a:gd name="connsiteX70" fmla="*/ 593453 w 809687"/>
                  <a:gd name="connsiteY70" fmla="*/ 887318 h 938316"/>
                  <a:gd name="connsiteX71" fmla="*/ 564572 w 809687"/>
                  <a:gd name="connsiteY71" fmla="*/ 875733 h 938316"/>
                  <a:gd name="connsiteX72" fmla="*/ 574583 w 809687"/>
                  <a:gd name="connsiteY72" fmla="*/ 855409 h 938316"/>
                  <a:gd name="connsiteX73" fmla="*/ 521821 w 809687"/>
                  <a:gd name="connsiteY73" fmla="*/ 789408 h 938316"/>
                  <a:gd name="connsiteX74" fmla="*/ 537156 w 809687"/>
                  <a:gd name="connsiteY74" fmla="*/ 759588 h 938316"/>
                  <a:gd name="connsiteX75" fmla="*/ 525861 w 809687"/>
                  <a:gd name="connsiteY75" fmla="*/ 723687 h 938316"/>
                  <a:gd name="connsiteX76" fmla="*/ 504152 w 809687"/>
                  <a:gd name="connsiteY76" fmla="*/ 730155 h 938316"/>
                  <a:gd name="connsiteX77" fmla="*/ 478542 w 809687"/>
                  <a:gd name="connsiteY77" fmla="*/ 698256 h 938316"/>
                  <a:gd name="connsiteX78" fmla="*/ 458265 w 809687"/>
                  <a:gd name="connsiteY78" fmla="*/ 724276 h 938316"/>
                  <a:gd name="connsiteX79" fmla="*/ 434361 w 809687"/>
                  <a:gd name="connsiteY79" fmla="*/ 716539 h 938316"/>
                  <a:gd name="connsiteX80" fmla="*/ 429015 w 809687"/>
                  <a:gd name="connsiteY80" fmla="*/ 668380 h 938316"/>
                  <a:gd name="connsiteX81" fmla="*/ 387851 w 809687"/>
                  <a:gd name="connsiteY81" fmla="*/ 646051 h 938316"/>
                  <a:gd name="connsiteX82" fmla="*/ 380153 w 809687"/>
                  <a:gd name="connsiteY82" fmla="*/ 660849 h 938316"/>
                  <a:gd name="connsiteX83" fmla="*/ 373664 w 809687"/>
                  <a:gd name="connsiteY83" fmla="*/ 634336 h 938316"/>
                  <a:gd name="connsiteX84" fmla="*/ 260983 w 809687"/>
                  <a:gd name="connsiteY84" fmla="*/ 656137 h 938316"/>
                  <a:gd name="connsiteX85" fmla="*/ 233335 w 809687"/>
                  <a:gd name="connsiteY85" fmla="*/ 583974 h 938316"/>
                  <a:gd name="connsiteX86" fmla="*/ 244559 w 809687"/>
                  <a:gd name="connsiteY86" fmla="*/ 571969 h 938316"/>
                  <a:gd name="connsiteX87" fmla="*/ 217327 w 809687"/>
                  <a:gd name="connsiteY87" fmla="*/ 530250 h 938316"/>
                  <a:gd name="connsiteX88" fmla="*/ 188979 w 809687"/>
                  <a:gd name="connsiteY88" fmla="*/ 588422 h 938316"/>
                  <a:gd name="connsiteX89" fmla="*/ 163980 w 809687"/>
                  <a:gd name="connsiteY89" fmla="*/ 586035 h 938316"/>
                  <a:gd name="connsiteX90" fmla="*/ 164117 w 809687"/>
                  <a:gd name="connsiteY90" fmla="*/ 570159 h 938316"/>
                  <a:gd name="connsiteX91" fmla="*/ 195165 w 809687"/>
                  <a:gd name="connsiteY91" fmla="*/ 548536 h 938316"/>
                  <a:gd name="connsiteX92" fmla="*/ 181357 w 809687"/>
                  <a:gd name="connsiteY92" fmla="*/ 528145 h 938316"/>
                  <a:gd name="connsiteX93" fmla="*/ 185201 w 809687"/>
                  <a:gd name="connsiteY93" fmla="*/ 480251 h 938316"/>
                  <a:gd name="connsiteX94" fmla="*/ 164496 w 809687"/>
                  <a:gd name="connsiteY94" fmla="*/ 448540 h 938316"/>
                  <a:gd name="connsiteX95" fmla="*/ 176513 w 809687"/>
                  <a:gd name="connsiteY95" fmla="*/ 427910 h 938316"/>
                  <a:gd name="connsiteX96" fmla="*/ 166815 w 809687"/>
                  <a:gd name="connsiteY96" fmla="*/ 396727 h 938316"/>
                  <a:gd name="connsiteX97" fmla="*/ 101222 w 809687"/>
                  <a:gd name="connsiteY97" fmla="*/ 355909 h 938316"/>
                  <a:gd name="connsiteX98" fmla="*/ 117656 w 809687"/>
                  <a:gd name="connsiteY98" fmla="*/ 304778 h 938316"/>
                  <a:gd name="connsiteX99" fmla="*/ 70563 w 809687"/>
                  <a:gd name="connsiteY99" fmla="*/ 286927 h 938316"/>
                  <a:gd name="connsiteX100" fmla="*/ 32804 w 809687"/>
                  <a:gd name="connsiteY100" fmla="*/ 301246 h 938316"/>
                  <a:gd name="connsiteX101" fmla="*/ 39025 w 809687"/>
                  <a:gd name="connsiteY101" fmla="*/ 285837 h 938316"/>
                  <a:gd name="connsiteX102" fmla="*/ 10207 w 809687"/>
                  <a:gd name="connsiteY102" fmla="*/ 273351 h 938316"/>
                  <a:gd name="connsiteX103" fmla="*/ 30114 w 809687"/>
                  <a:gd name="connsiteY103" fmla="*/ 263545 h 938316"/>
                  <a:gd name="connsiteX104" fmla="*/ 28005 w 809687"/>
                  <a:gd name="connsiteY104" fmla="*/ 249165 h 938316"/>
                  <a:gd name="connsiteX105" fmla="*/ -666 w 809687"/>
                  <a:gd name="connsiteY105" fmla="*/ 207439 h 938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809687" h="938316">
                    <a:moveTo>
                      <a:pt x="-666" y="207443"/>
                    </a:moveTo>
                    <a:lnTo>
                      <a:pt x="74915" y="210548"/>
                    </a:lnTo>
                    <a:lnTo>
                      <a:pt x="102932" y="173863"/>
                    </a:lnTo>
                    <a:lnTo>
                      <a:pt x="122190" y="176950"/>
                    </a:lnTo>
                    <a:lnTo>
                      <a:pt x="136499" y="148387"/>
                    </a:lnTo>
                    <a:lnTo>
                      <a:pt x="156870" y="160513"/>
                    </a:lnTo>
                    <a:lnTo>
                      <a:pt x="178753" y="133215"/>
                    </a:lnTo>
                    <a:lnTo>
                      <a:pt x="232000" y="134235"/>
                    </a:lnTo>
                    <a:lnTo>
                      <a:pt x="273666" y="73590"/>
                    </a:lnTo>
                    <a:lnTo>
                      <a:pt x="350227" y="36112"/>
                    </a:lnTo>
                    <a:lnTo>
                      <a:pt x="344787" y="16574"/>
                    </a:lnTo>
                    <a:lnTo>
                      <a:pt x="361059" y="-157"/>
                    </a:lnTo>
                    <a:lnTo>
                      <a:pt x="388778" y="4938"/>
                    </a:lnTo>
                    <a:lnTo>
                      <a:pt x="404809" y="37538"/>
                    </a:lnTo>
                    <a:lnTo>
                      <a:pt x="419523" y="31974"/>
                    </a:lnTo>
                    <a:lnTo>
                      <a:pt x="415189" y="49590"/>
                    </a:lnTo>
                    <a:lnTo>
                      <a:pt x="399595" y="41526"/>
                    </a:lnTo>
                    <a:lnTo>
                      <a:pt x="392134" y="67417"/>
                    </a:lnTo>
                    <a:lnTo>
                      <a:pt x="409185" y="71400"/>
                    </a:lnTo>
                    <a:lnTo>
                      <a:pt x="405288" y="95889"/>
                    </a:lnTo>
                    <a:lnTo>
                      <a:pt x="423216" y="94175"/>
                    </a:lnTo>
                    <a:lnTo>
                      <a:pt x="403979" y="138545"/>
                    </a:lnTo>
                    <a:lnTo>
                      <a:pt x="406125" y="212226"/>
                    </a:lnTo>
                    <a:lnTo>
                      <a:pt x="446811" y="277702"/>
                    </a:lnTo>
                    <a:lnTo>
                      <a:pt x="425683" y="339117"/>
                    </a:lnTo>
                    <a:lnTo>
                      <a:pt x="446528" y="352131"/>
                    </a:lnTo>
                    <a:lnTo>
                      <a:pt x="430682" y="368322"/>
                    </a:lnTo>
                    <a:lnTo>
                      <a:pt x="422864" y="354996"/>
                    </a:lnTo>
                    <a:lnTo>
                      <a:pt x="435272" y="386994"/>
                    </a:lnTo>
                    <a:lnTo>
                      <a:pt x="415316" y="414234"/>
                    </a:lnTo>
                    <a:lnTo>
                      <a:pt x="436059" y="433819"/>
                    </a:lnTo>
                    <a:lnTo>
                      <a:pt x="478143" y="410067"/>
                    </a:lnTo>
                    <a:lnTo>
                      <a:pt x="486426" y="435528"/>
                    </a:lnTo>
                    <a:lnTo>
                      <a:pt x="504520" y="438819"/>
                    </a:lnTo>
                    <a:lnTo>
                      <a:pt x="478387" y="477510"/>
                    </a:lnTo>
                    <a:lnTo>
                      <a:pt x="444852" y="483089"/>
                    </a:lnTo>
                    <a:lnTo>
                      <a:pt x="471537" y="489060"/>
                    </a:lnTo>
                    <a:lnTo>
                      <a:pt x="461709" y="491859"/>
                    </a:lnTo>
                    <a:lnTo>
                      <a:pt x="476372" y="521452"/>
                    </a:lnTo>
                    <a:lnTo>
                      <a:pt x="448259" y="545092"/>
                    </a:lnTo>
                    <a:lnTo>
                      <a:pt x="454726" y="562735"/>
                    </a:lnTo>
                    <a:lnTo>
                      <a:pt x="435495" y="581996"/>
                    </a:lnTo>
                    <a:lnTo>
                      <a:pt x="450188" y="589558"/>
                    </a:lnTo>
                    <a:lnTo>
                      <a:pt x="458459" y="564443"/>
                    </a:lnTo>
                    <a:lnTo>
                      <a:pt x="472216" y="611764"/>
                    </a:lnTo>
                    <a:lnTo>
                      <a:pt x="522138" y="611693"/>
                    </a:lnTo>
                    <a:lnTo>
                      <a:pt x="533852" y="598144"/>
                    </a:lnTo>
                    <a:lnTo>
                      <a:pt x="560219" y="644517"/>
                    </a:lnTo>
                    <a:lnTo>
                      <a:pt x="598388" y="660427"/>
                    </a:lnTo>
                    <a:lnTo>
                      <a:pt x="651594" y="597472"/>
                    </a:lnTo>
                    <a:lnTo>
                      <a:pt x="672572" y="614389"/>
                    </a:lnTo>
                    <a:lnTo>
                      <a:pt x="679436" y="588046"/>
                    </a:lnTo>
                    <a:lnTo>
                      <a:pt x="689037" y="626252"/>
                    </a:lnTo>
                    <a:lnTo>
                      <a:pt x="714721" y="604458"/>
                    </a:lnTo>
                    <a:lnTo>
                      <a:pt x="726197" y="627802"/>
                    </a:lnTo>
                    <a:lnTo>
                      <a:pt x="758704" y="633844"/>
                    </a:lnTo>
                    <a:lnTo>
                      <a:pt x="778976" y="661683"/>
                    </a:lnTo>
                    <a:lnTo>
                      <a:pt x="768109" y="680605"/>
                    </a:lnTo>
                    <a:lnTo>
                      <a:pt x="731579" y="690133"/>
                    </a:lnTo>
                    <a:lnTo>
                      <a:pt x="726118" y="725949"/>
                    </a:lnTo>
                    <a:lnTo>
                      <a:pt x="757271" y="759106"/>
                    </a:lnTo>
                    <a:lnTo>
                      <a:pt x="736310" y="773674"/>
                    </a:lnTo>
                    <a:lnTo>
                      <a:pt x="776192" y="804565"/>
                    </a:lnTo>
                    <a:lnTo>
                      <a:pt x="767303" y="821953"/>
                    </a:lnTo>
                    <a:lnTo>
                      <a:pt x="805817" y="860672"/>
                    </a:lnTo>
                    <a:lnTo>
                      <a:pt x="809021" y="890679"/>
                    </a:lnTo>
                    <a:lnTo>
                      <a:pt x="797454" y="886898"/>
                    </a:lnTo>
                    <a:lnTo>
                      <a:pt x="752347" y="938159"/>
                    </a:lnTo>
                    <a:lnTo>
                      <a:pt x="655998" y="904940"/>
                    </a:lnTo>
                    <a:lnTo>
                      <a:pt x="637924" y="859108"/>
                    </a:lnTo>
                    <a:lnTo>
                      <a:pt x="593453" y="887318"/>
                    </a:lnTo>
                    <a:lnTo>
                      <a:pt x="564572" y="875733"/>
                    </a:lnTo>
                    <a:lnTo>
                      <a:pt x="574583" y="855409"/>
                    </a:lnTo>
                    <a:lnTo>
                      <a:pt x="521821" y="789408"/>
                    </a:lnTo>
                    <a:lnTo>
                      <a:pt x="537156" y="759588"/>
                    </a:lnTo>
                    <a:lnTo>
                      <a:pt x="525861" y="723687"/>
                    </a:lnTo>
                    <a:lnTo>
                      <a:pt x="504152" y="730155"/>
                    </a:lnTo>
                    <a:lnTo>
                      <a:pt x="478542" y="698256"/>
                    </a:lnTo>
                    <a:lnTo>
                      <a:pt x="458265" y="724276"/>
                    </a:lnTo>
                    <a:lnTo>
                      <a:pt x="434361" y="716539"/>
                    </a:lnTo>
                    <a:lnTo>
                      <a:pt x="429015" y="668380"/>
                    </a:lnTo>
                    <a:lnTo>
                      <a:pt x="387851" y="646051"/>
                    </a:lnTo>
                    <a:lnTo>
                      <a:pt x="380153" y="660849"/>
                    </a:lnTo>
                    <a:lnTo>
                      <a:pt x="373664" y="634336"/>
                    </a:lnTo>
                    <a:lnTo>
                      <a:pt x="260983" y="656137"/>
                    </a:lnTo>
                    <a:lnTo>
                      <a:pt x="233335" y="583974"/>
                    </a:lnTo>
                    <a:lnTo>
                      <a:pt x="244559" y="571969"/>
                    </a:lnTo>
                    <a:lnTo>
                      <a:pt x="217327" y="530250"/>
                    </a:lnTo>
                    <a:lnTo>
                      <a:pt x="188979" y="588422"/>
                    </a:lnTo>
                    <a:lnTo>
                      <a:pt x="163980" y="586035"/>
                    </a:lnTo>
                    <a:lnTo>
                      <a:pt x="164117" y="570159"/>
                    </a:lnTo>
                    <a:lnTo>
                      <a:pt x="195165" y="548536"/>
                    </a:lnTo>
                    <a:lnTo>
                      <a:pt x="181357" y="528145"/>
                    </a:lnTo>
                    <a:lnTo>
                      <a:pt x="185201" y="480251"/>
                    </a:lnTo>
                    <a:lnTo>
                      <a:pt x="164496" y="448540"/>
                    </a:lnTo>
                    <a:lnTo>
                      <a:pt x="176513" y="427910"/>
                    </a:lnTo>
                    <a:lnTo>
                      <a:pt x="166815" y="396727"/>
                    </a:lnTo>
                    <a:lnTo>
                      <a:pt x="101222" y="355909"/>
                    </a:lnTo>
                    <a:lnTo>
                      <a:pt x="117656" y="304778"/>
                    </a:lnTo>
                    <a:lnTo>
                      <a:pt x="70563" y="286927"/>
                    </a:lnTo>
                    <a:lnTo>
                      <a:pt x="32804" y="301246"/>
                    </a:lnTo>
                    <a:lnTo>
                      <a:pt x="39025" y="285837"/>
                    </a:lnTo>
                    <a:lnTo>
                      <a:pt x="10207" y="273351"/>
                    </a:lnTo>
                    <a:lnTo>
                      <a:pt x="30114" y="263545"/>
                    </a:lnTo>
                    <a:lnTo>
                      <a:pt x="28005" y="249165"/>
                    </a:lnTo>
                    <a:lnTo>
                      <a:pt x="-666" y="207439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" name="Удмуртская Республика">
                <a:extLst>
                  <a:ext uri="{FF2B5EF4-FFF2-40B4-BE49-F238E27FC236}">
                    <a16:creationId xmlns:a16="http://schemas.microsoft.com/office/drawing/2014/main" id="{CB38292F-AF06-468F-BCB6-C1E9C21B6FE7}"/>
                  </a:ext>
                </a:extLst>
              </p:cNvPr>
              <p:cNvSpPr/>
              <p:nvPr/>
            </p:nvSpPr>
            <p:spPr>
              <a:xfrm>
                <a:off x="2746271" y="3474502"/>
                <a:ext cx="399602" cy="405426"/>
              </a:xfrm>
              <a:custGeom>
                <a:avLst/>
                <a:gdLst>
                  <a:gd name="connsiteX0" fmla="*/ 108991 w 399602"/>
                  <a:gd name="connsiteY0" fmla="*/ 100683 h 405426"/>
                  <a:gd name="connsiteX1" fmla="*/ 131403 w 399602"/>
                  <a:gd name="connsiteY1" fmla="*/ 79307 h 405426"/>
                  <a:gd name="connsiteX2" fmla="*/ 187307 w 399602"/>
                  <a:gd name="connsiteY2" fmla="*/ 99227 h 405426"/>
                  <a:gd name="connsiteX3" fmla="*/ 235634 w 399602"/>
                  <a:gd name="connsiteY3" fmla="*/ 52329 h 405426"/>
                  <a:gd name="connsiteX4" fmla="*/ 234968 w 399602"/>
                  <a:gd name="connsiteY4" fmla="*/ 21692 h 405426"/>
                  <a:gd name="connsiteX5" fmla="*/ 282831 w 399602"/>
                  <a:gd name="connsiteY5" fmla="*/ -157 h 405426"/>
                  <a:gd name="connsiteX6" fmla="*/ 332574 w 399602"/>
                  <a:gd name="connsiteY6" fmla="*/ 52101 h 405426"/>
                  <a:gd name="connsiteX7" fmla="*/ 349403 w 399602"/>
                  <a:gd name="connsiteY7" fmla="*/ 37464 h 405426"/>
                  <a:gd name="connsiteX8" fmla="*/ 363702 w 399602"/>
                  <a:gd name="connsiteY8" fmla="*/ 46387 h 405426"/>
                  <a:gd name="connsiteX9" fmla="*/ 357057 w 399602"/>
                  <a:gd name="connsiteY9" fmla="*/ 69839 h 405426"/>
                  <a:gd name="connsiteX10" fmla="*/ 398936 w 399602"/>
                  <a:gd name="connsiteY10" fmla="*/ 91886 h 405426"/>
                  <a:gd name="connsiteX11" fmla="*/ 378009 w 399602"/>
                  <a:gd name="connsiteY11" fmla="*/ 118839 h 405426"/>
                  <a:gd name="connsiteX12" fmla="*/ 374303 w 399602"/>
                  <a:gd name="connsiteY12" fmla="*/ 170838 h 405426"/>
                  <a:gd name="connsiteX13" fmla="*/ 326906 w 399602"/>
                  <a:gd name="connsiteY13" fmla="*/ 212764 h 405426"/>
                  <a:gd name="connsiteX14" fmla="*/ 336263 w 399602"/>
                  <a:gd name="connsiteY14" fmla="*/ 239224 h 405426"/>
                  <a:gd name="connsiteX15" fmla="*/ 314101 w 399602"/>
                  <a:gd name="connsiteY15" fmla="*/ 248116 h 405426"/>
                  <a:gd name="connsiteX16" fmla="*/ 324057 w 399602"/>
                  <a:gd name="connsiteY16" fmla="*/ 260410 h 405426"/>
                  <a:gd name="connsiteX17" fmla="*/ 306808 w 399602"/>
                  <a:gd name="connsiteY17" fmla="*/ 300137 h 405426"/>
                  <a:gd name="connsiteX18" fmla="*/ 282693 w 399602"/>
                  <a:gd name="connsiteY18" fmla="*/ 292493 h 405426"/>
                  <a:gd name="connsiteX19" fmla="*/ 253369 w 399602"/>
                  <a:gd name="connsiteY19" fmla="*/ 313789 h 405426"/>
                  <a:gd name="connsiteX20" fmla="*/ 243604 w 399602"/>
                  <a:gd name="connsiteY20" fmla="*/ 294517 h 405426"/>
                  <a:gd name="connsiteX21" fmla="*/ 225078 w 399602"/>
                  <a:gd name="connsiteY21" fmla="*/ 323684 h 405426"/>
                  <a:gd name="connsiteX22" fmla="*/ 245092 w 399602"/>
                  <a:gd name="connsiteY22" fmla="*/ 331517 h 405426"/>
                  <a:gd name="connsiteX23" fmla="*/ 230485 w 399602"/>
                  <a:gd name="connsiteY23" fmla="*/ 394354 h 405426"/>
                  <a:gd name="connsiteX24" fmla="*/ 180969 w 399602"/>
                  <a:gd name="connsiteY24" fmla="*/ 405270 h 405426"/>
                  <a:gd name="connsiteX25" fmla="*/ 172699 w 399602"/>
                  <a:gd name="connsiteY25" fmla="*/ 391913 h 405426"/>
                  <a:gd name="connsiteX26" fmla="*/ 149250 w 399602"/>
                  <a:gd name="connsiteY26" fmla="*/ 399050 h 405426"/>
                  <a:gd name="connsiteX27" fmla="*/ 115620 w 399602"/>
                  <a:gd name="connsiteY27" fmla="*/ 383971 h 405426"/>
                  <a:gd name="connsiteX28" fmla="*/ 117129 w 399602"/>
                  <a:gd name="connsiteY28" fmla="*/ 371973 h 405426"/>
                  <a:gd name="connsiteX29" fmla="*/ 144284 w 399602"/>
                  <a:gd name="connsiteY29" fmla="*/ 374130 h 405426"/>
                  <a:gd name="connsiteX30" fmla="*/ 172640 w 399602"/>
                  <a:gd name="connsiteY30" fmla="*/ 353933 h 405426"/>
                  <a:gd name="connsiteX31" fmla="*/ 150566 w 399602"/>
                  <a:gd name="connsiteY31" fmla="*/ 334943 h 405426"/>
                  <a:gd name="connsiteX32" fmla="*/ 139318 w 399602"/>
                  <a:gd name="connsiteY32" fmla="*/ 362450 h 405426"/>
                  <a:gd name="connsiteX33" fmla="*/ 127590 w 399602"/>
                  <a:gd name="connsiteY33" fmla="*/ 339747 h 405426"/>
                  <a:gd name="connsiteX34" fmla="*/ 134299 w 399602"/>
                  <a:gd name="connsiteY34" fmla="*/ 314783 h 405426"/>
                  <a:gd name="connsiteX35" fmla="*/ 171238 w 399602"/>
                  <a:gd name="connsiteY35" fmla="*/ 295802 h 405426"/>
                  <a:gd name="connsiteX36" fmla="*/ 160301 w 399602"/>
                  <a:gd name="connsiteY36" fmla="*/ 283401 h 405426"/>
                  <a:gd name="connsiteX37" fmla="*/ 144397 w 399602"/>
                  <a:gd name="connsiteY37" fmla="*/ 299160 h 405426"/>
                  <a:gd name="connsiteX38" fmla="*/ 104223 w 399602"/>
                  <a:gd name="connsiteY38" fmla="*/ 298540 h 405426"/>
                  <a:gd name="connsiteX39" fmla="*/ 118178 w 399602"/>
                  <a:gd name="connsiteY39" fmla="*/ 326288 h 405426"/>
                  <a:gd name="connsiteX40" fmla="*/ 107919 w 399602"/>
                  <a:gd name="connsiteY40" fmla="*/ 333999 h 405426"/>
                  <a:gd name="connsiteX41" fmla="*/ 103828 w 399602"/>
                  <a:gd name="connsiteY41" fmla="*/ 320740 h 405426"/>
                  <a:gd name="connsiteX42" fmla="*/ 93122 w 399602"/>
                  <a:gd name="connsiteY42" fmla="*/ 340248 h 405426"/>
                  <a:gd name="connsiteX43" fmla="*/ 69038 w 399602"/>
                  <a:gd name="connsiteY43" fmla="*/ 299119 h 405426"/>
                  <a:gd name="connsiteX44" fmla="*/ 44151 w 399602"/>
                  <a:gd name="connsiteY44" fmla="*/ 317792 h 405426"/>
                  <a:gd name="connsiteX45" fmla="*/ 38851 w 399602"/>
                  <a:gd name="connsiteY45" fmla="*/ 296272 h 405426"/>
                  <a:gd name="connsiteX46" fmla="*/ 17106 w 399602"/>
                  <a:gd name="connsiteY46" fmla="*/ 299253 h 405426"/>
                  <a:gd name="connsiteX47" fmla="*/ 23952 w 399602"/>
                  <a:gd name="connsiteY47" fmla="*/ 285710 h 405426"/>
                  <a:gd name="connsiteX48" fmla="*/ -666 w 399602"/>
                  <a:gd name="connsiteY48" fmla="*/ 278283 h 405426"/>
                  <a:gd name="connsiteX49" fmla="*/ 3461 w 399602"/>
                  <a:gd name="connsiteY49" fmla="*/ 255796 h 405426"/>
                  <a:gd name="connsiteX50" fmla="*/ 32255 w 399602"/>
                  <a:gd name="connsiteY50" fmla="*/ 261571 h 405426"/>
                  <a:gd name="connsiteX51" fmla="*/ 18479 w 399602"/>
                  <a:gd name="connsiteY51" fmla="*/ 251685 h 405426"/>
                  <a:gd name="connsiteX52" fmla="*/ 35965 w 399602"/>
                  <a:gd name="connsiteY52" fmla="*/ 188228 h 405426"/>
                  <a:gd name="connsiteX53" fmla="*/ 56720 w 399602"/>
                  <a:gd name="connsiteY53" fmla="*/ 170479 h 405426"/>
                  <a:gd name="connsiteX54" fmla="*/ 68886 w 399602"/>
                  <a:gd name="connsiteY54" fmla="*/ 184237 h 405426"/>
                  <a:gd name="connsiteX55" fmla="*/ 99991 w 399602"/>
                  <a:gd name="connsiteY55" fmla="*/ 165834 h 405426"/>
                  <a:gd name="connsiteX56" fmla="*/ 108993 w 399602"/>
                  <a:gd name="connsiteY56" fmla="*/ 100683 h 405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99602" h="405426">
                    <a:moveTo>
                      <a:pt x="108991" y="100683"/>
                    </a:moveTo>
                    <a:lnTo>
                      <a:pt x="131403" y="79307"/>
                    </a:lnTo>
                    <a:lnTo>
                      <a:pt x="187307" y="99227"/>
                    </a:lnTo>
                    <a:lnTo>
                      <a:pt x="235634" y="52329"/>
                    </a:lnTo>
                    <a:lnTo>
                      <a:pt x="234968" y="21692"/>
                    </a:lnTo>
                    <a:lnTo>
                      <a:pt x="282831" y="-157"/>
                    </a:lnTo>
                    <a:lnTo>
                      <a:pt x="332574" y="52101"/>
                    </a:lnTo>
                    <a:lnTo>
                      <a:pt x="349403" y="37464"/>
                    </a:lnTo>
                    <a:lnTo>
                      <a:pt x="363702" y="46387"/>
                    </a:lnTo>
                    <a:lnTo>
                      <a:pt x="357057" y="69839"/>
                    </a:lnTo>
                    <a:lnTo>
                      <a:pt x="398936" y="91886"/>
                    </a:lnTo>
                    <a:lnTo>
                      <a:pt x="378009" y="118839"/>
                    </a:lnTo>
                    <a:lnTo>
                      <a:pt x="374303" y="170838"/>
                    </a:lnTo>
                    <a:lnTo>
                      <a:pt x="326906" y="212764"/>
                    </a:lnTo>
                    <a:lnTo>
                      <a:pt x="336263" y="239224"/>
                    </a:lnTo>
                    <a:lnTo>
                      <a:pt x="314101" y="248116"/>
                    </a:lnTo>
                    <a:lnTo>
                      <a:pt x="324057" y="260410"/>
                    </a:lnTo>
                    <a:lnTo>
                      <a:pt x="306808" y="300137"/>
                    </a:lnTo>
                    <a:lnTo>
                      <a:pt x="282693" y="292493"/>
                    </a:lnTo>
                    <a:lnTo>
                      <a:pt x="253369" y="313789"/>
                    </a:lnTo>
                    <a:lnTo>
                      <a:pt x="243604" y="294517"/>
                    </a:lnTo>
                    <a:lnTo>
                      <a:pt x="225078" y="323684"/>
                    </a:lnTo>
                    <a:lnTo>
                      <a:pt x="245092" y="331517"/>
                    </a:lnTo>
                    <a:lnTo>
                      <a:pt x="230485" y="394354"/>
                    </a:lnTo>
                    <a:lnTo>
                      <a:pt x="180969" y="405270"/>
                    </a:lnTo>
                    <a:lnTo>
                      <a:pt x="172699" y="391913"/>
                    </a:lnTo>
                    <a:lnTo>
                      <a:pt x="149250" y="399050"/>
                    </a:lnTo>
                    <a:lnTo>
                      <a:pt x="115620" y="383971"/>
                    </a:lnTo>
                    <a:lnTo>
                      <a:pt x="117129" y="371973"/>
                    </a:lnTo>
                    <a:lnTo>
                      <a:pt x="144284" y="374130"/>
                    </a:lnTo>
                    <a:lnTo>
                      <a:pt x="172640" y="353933"/>
                    </a:lnTo>
                    <a:lnTo>
                      <a:pt x="150566" y="334943"/>
                    </a:lnTo>
                    <a:lnTo>
                      <a:pt x="139318" y="362450"/>
                    </a:lnTo>
                    <a:lnTo>
                      <a:pt x="127590" y="339747"/>
                    </a:lnTo>
                    <a:lnTo>
                      <a:pt x="134299" y="314783"/>
                    </a:lnTo>
                    <a:lnTo>
                      <a:pt x="171238" y="295802"/>
                    </a:lnTo>
                    <a:lnTo>
                      <a:pt x="160301" y="283401"/>
                    </a:lnTo>
                    <a:lnTo>
                      <a:pt x="144397" y="299160"/>
                    </a:lnTo>
                    <a:lnTo>
                      <a:pt x="104223" y="298540"/>
                    </a:lnTo>
                    <a:lnTo>
                      <a:pt x="118178" y="326288"/>
                    </a:lnTo>
                    <a:lnTo>
                      <a:pt x="107919" y="333999"/>
                    </a:lnTo>
                    <a:lnTo>
                      <a:pt x="103828" y="320740"/>
                    </a:lnTo>
                    <a:lnTo>
                      <a:pt x="93122" y="340248"/>
                    </a:lnTo>
                    <a:lnTo>
                      <a:pt x="69038" y="299119"/>
                    </a:lnTo>
                    <a:lnTo>
                      <a:pt x="44151" y="317792"/>
                    </a:lnTo>
                    <a:lnTo>
                      <a:pt x="38851" y="296272"/>
                    </a:lnTo>
                    <a:lnTo>
                      <a:pt x="17106" y="299253"/>
                    </a:lnTo>
                    <a:lnTo>
                      <a:pt x="23952" y="285710"/>
                    </a:lnTo>
                    <a:lnTo>
                      <a:pt x="-666" y="278283"/>
                    </a:lnTo>
                    <a:lnTo>
                      <a:pt x="3461" y="255796"/>
                    </a:lnTo>
                    <a:lnTo>
                      <a:pt x="32255" y="261571"/>
                    </a:lnTo>
                    <a:lnTo>
                      <a:pt x="18479" y="251685"/>
                    </a:lnTo>
                    <a:lnTo>
                      <a:pt x="35965" y="188228"/>
                    </a:lnTo>
                    <a:lnTo>
                      <a:pt x="56720" y="170479"/>
                    </a:lnTo>
                    <a:lnTo>
                      <a:pt x="68886" y="184237"/>
                    </a:lnTo>
                    <a:lnTo>
                      <a:pt x="99991" y="165834"/>
                    </a:lnTo>
                    <a:lnTo>
                      <a:pt x="108993" y="100683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" name="Пермский край">
                <a:extLst>
                  <a:ext uri="{FF2B5EF4-FFF2-40B4-BE49-F238E27FC236}">
                    <a16:creationId xmlns:a16="http://schemas.microsoft.com/office/drawing/2014/main" id="{0E1B8262-80C7-4A7E-B9ED-86E352EC8EEE}"/>
                  </a:ext>
                </a:extLst>
              </p:cNvPr>
              <p:cNvSpPr/>
              <p:nvPr/>
            </p:nvSpPr>
            <p:spPr>
              <a:xfrm>
                <a:off x="2972012" y="3178162"/>
                <a:ext cx="816057" cy="845297"/>
              </a:xfrm>
              <a:custGeom>
                <a:avLst/>
                <a:gdLst>
                  <a:gd name="connsiteX0" fmla="*/ 255595 w 816057"/>
                  <a:gd name="connsiteY0" fmla="*/ 30266 h 845297"/>
                  <a:gd name="connsiteX1" fmla="*/ 292663 w 816057"/>
                  <a:gd name="connsiteY1" fmla="*/ -157 h 845297"/>
                  <a:gd name="connsiteX2" fmla="*/ 315029 w 816057"/>
                  <a:gd name="connsiteY2" fmla="*/ 28621 h 845297"/>
                  <a:gd name="connsiteX3" fmla="*/ 333617 w 816057"/>
                  <a:gd name="connsiteY3" fmla="*/ 14137 h 845297"/>
                  <a:gd name="connsiteX4" fmla="*/ 352009 w 816057"/>
                  <a:gd name="connsiteY4" fmla="*/ 36635 h 845297"/>
                  <a:gd name="connsiteX5" fmla="*/ 370622 w 816057"/>
                  <a:gd name="connsiteY5" fmla="*/ 21101 h 845297"/>
                  <a:gd name="connsiteX6" fmla="*/ 397324 w 816057"/>
                  <a:gd name="connsiteY6" fmla="*/ 53471 h 845297"/>
                  <a:gd name="connsiteX7" fmla="*/ 379324 w 816057"/>
                  <a:gd name="connsiteY7" fmla="*/ 69226 h 845297"/>
                  <a:gd name="connsiteX8" fmla="*/ 394399 w 816057"/>
                  <a:gd name="connsiteY8" fmla="*/ 88051 h 845297"/>
                  <a:gd name="connsiteX9" fmla="*/ 401915 w 816057"/>
                  <a:gd name="connsiteY9" fmla="*/ 96954 h 845297"/>
                  <a:gd name="connsiteX10" fmla="*/ 420052 w 816057"/>
                  <a:gd name="connsiteY10" fmla="*/ 81224 h 845297"/>
                  <a:gd name="connsiteX11" fmla="*/ 474935 w 816057"/>
                  <a:gd name="connsiteY11" fmla="*/ 147053 h 845297"/>
                  <a:gd name="connsiteX12" fmla="*/ 519989 w 816057"/>
                  <a:gd name="connsiteY12" fmla="*/ 124499 h 845297"/>
                  <a:gd name="connsiteX13" fmla="*/ 542738 w 816057"/>
                  <a:gd name="connsiteY13" fmla="*/ 151558 h 845297"/>
                  <a:gd name="connsiteX14" fmla="*/ 561610 w 816057"/>
                  <a:gd name="connsiteY14" fmla="*/ 136169 h 845297"/>
                  <a:gd name="connsiteX15" fmla="*/ 584674 w 816057"/>
                  <a:gd name="connsiteY15" fmla="*/ 163478 h 845297"/>
                  <a:gd name="connsiteX16" fmla="*/ 613861 w 816057"/>
                  <a:gd name="connsiteY16" fmla="*/ 136231 h 845297"/>
                  <a:gd name="connsiteX17" fmla="*/ 623101 w 816057"/>
                  <a:gd name="connsiteY17" fmla="*/ 147473 h 845297"/>
                  <a:gd name="connsiteX18" fmla="*/ 637905 w 816057"/>
                  <a:gd name="connsiteY18" fmla="*/ 137874 h 845297"/>
                  <a:gd name="connsiteX19" fmla="*/ 769841 w 816057"/>
                  <a:gd name="connsiteY19" fmla="*/ 234312 h 845297"/>
                  <a:gd name="connsiteX20" fmla="*/ 815391 w 816057"/>
                  <a:gd name="connsiteY20" fmla="*/ 240957 h 845297"/>
                  <a:gd name="connsiteX21" fmla="*/ 775137 w 816057"/>
                  <a:gd name="connsiteY21" fmla="*/ 281640 h 845297"/>
                  <a:gd name="connsiteX22" fmla="*/ 761282 w 816057"/>
                  <a:gd name="connsiteY22" fmla="*/ 333781 h 845297"/>
                  <a:gd name="connsiteX23" fmla="*/ 729257 w 816057"/>
                  <a:gd name="connsiteY23" fmla="*/ 373937 h 845297"/>
                  <a:gd name="connsiteX24" fmla="*/ 642098 w 816057"/>
                  <a:gd name="connsiteY24" fmla="*/ 446491 h 845297"/>
                  <a:gd name="connsiteX25" fmla="*/ 634486 w 816057"/>
                  <a:gd name="connsiteY25" fmla="*/ 436871 h 845297"/>
                  <a:gd name="connsiteX26" fmla="*/ 591921 w 816057"/>
                  <a:gd name="connsiteY26" fmla="*/ 449685 h 845297"/>
                  <a:gd name="connsiteX27" fmla="*/ 562793 w 816057"/>
                  <a:gd name="connsiteY27" fmla="*/ 476477 h 845297"/>
                  <a:gd name="connsiteX28" fmla="*/ 590439 w 816057"/>
                  <a:gd name="connsiteY28" fmla="*/ 554428 h 845297"/>
                  <a:gd name="connsiteX29" fmla="*/ 552299 w 816057"/>
                  <a:gd name="connsiteY29" fmla="*/ 598979 h 845297"/>
                  <a:gd name="connsiteX30" fmla="*/ 566415 w 816057"/>
                  <a:gd name="connsiteY30" fmla="*/ 620524 h 845297"/>
                  <a:gd name="connsiteX31" fmla="*/ 550521 w 816057"/>
                  <a:gd name="connsiteY31" fmla="*/ 652966 h 845297"/>
                  <a:gd name="connsiteX32" fmla="*/ 453828 w 816057"/>
                  <a:gd name="connsiteY32" fmla="*/ 670518 h 845297"/>
                  <a:gd name="connsiteX33" fmla="*/ 444376 w 816057"/>
                  <a:gd name="connsiteY33" fmla="*/ 723389 h 845297"/>
                  <a:gd name="connsiteX34" fmla="*/ 408908 w 816057"/>
                  <a:gd name="connsiteY34" fmla="*/ 729989 h 845297"/>
                  <a:gd name="connsiteX35" fmla="*/ 412246 w 816057"/>
                  <a:gd name="connsiteY35" fmla="*/ 711593 h 845297"/>
                  <a:gd name="connsiteX36" fmla="*/ 378108 w 816057"/>
                  <a:gd name="connsiteY36" fmla="*/ 700200 h 845297"/>
                  <a:gd name="connsiteX37" fmla="*/ 331423 w 816057"/>
                  <a:gd name="connsiteY37" fmla="*/ 774388 h 845297"/>
                  <a:gd name="connsiteX38" fmla="*/ 259638 w 816057"/>
                  <a:gd name="connsiteY38" fmla="*/ 755981 h 845297"/>
                  <a:gd name="connsiteX39" fmla="*/ 254434 w 816057"/>
                  <a:gd name="connsiteY39" fmla="*/ 791784 h 845297"/>
                  <a:gd name="connsiteX40" fmla="*/ 222964 w 816057"/>
                  <a:gd name="connsiteY40" fmla="*/ 832782 h 845297"/>
                  <a:gd name="connsiteX41" fmla="*/ 192563 w 816057"/>
                  <a:gd name="connsiteY41" fmla="*/ 845141 h 845297"/>
                  <a:gd name="connsiteX42" fmla="*/ 164646 w 816057"/>
                  <a:gd name="connsiteY42" fmla="*/ 835825 h 845297"/>
                  <a:gd name="connsiteX43" fmla="*/ 165837 w 816057"/>
                  <a:gd name="connsiteY43" fmla="*/ 782753 h 845297"/>
                  <a:gd name="connsiteX44" fmla="*/ 124263 w 816057"/>
                  <a:gd name="connsiteY44" fmla="*/ 773210 h 845297"/>
                  <a:gd name="connsiteX45" fmla="*/ 127765 w 816057"/>
                  <a:gd name="connsiteY45" fmla="*/ 743916 h 845297"/>
                  <a:gd name="connsiteX46" fmla="*/ 63735 w 816057"/>
                  <a:gd name="connsiteY46" fmla="*/ 726057 h 845297"/>
                  <a:gd name="connsiteX47" fmla="*/ 43491 w 816057"/>
                  <a:gd name="connsiteY47" fmla="*/ 666048 h 845297"/>
                  <a:gd name="connsiteX48" fmla="*/ 16609 w 816057"/>
                  <a:gd name="connsiteY48" fmla="*/ 682542 h 845297"/>
                  <a:gd name="connsiteX49" fmla="*/ 19249 w 816057"/>
                  <a:gd name="connsiteY49" fmla="*/ 627086 h 845297"/>
                  <a:gd name="connsiteX50" fmla="*/ -666 w 816057"/>
                  <a:gd name="connsiteY50" fmla="*/ 620024 h 845297"/>
                  <a:gd name="connsiteX51" fmla="*/ 17862 w 816057"/>
                  <a:gd name="connsiteY51" fmla="*/ 590857 h 845297"/>
                  <a:gd name="connsiteX52" fmla="*/ 27626 w 816057"/>
                  <a:gd name="connsiteY52" fmla="*/ 610129 h 845297"/>
                  <a:gd name="connsiteX53" fmla="*/ 56951 w 816057"/>
                  <a:gd name="connsiteY53" fmla="*/ 588833 h 845297"/>
                  <a:gd name="connsiteX54" fmla="*/ 81065 w 816057"/>
                  <a:gd name="connsiteY54" fmla="*/ 596477 h 845297"/>
                  <a:gd name="connsiteX55" fmla="*/ 98315 w 816057"/>
                  <a:gd name="connsiteY55" fmla="*/ 556749 h 845297"/>
                  <a:gd name="connsiteX56" fmla="*/ 88358 w 816057"/>
                  <a:gd name="connsiteY56" fmla="*/ 544455 h 845297"/>
                  <a:gd name="connsiteX57" fmla="*/ 110519 w 816057"/>
                  <a:gd name="connsiteY57" fmla="*/ 535562 h 845297"/>
                  <a:gd name="connsiteX58" fmla="*/ 101162 w 816057"/>
                  <a:gd name="connsiteY58" fmla="*/ 509103 h 845297"/>
                  <a:gd name="connsiteX59" fmla="*/ 148560 w 816057"/>
                  <a:gd name="connsiteY59" fmla="*/ 467177 h 845297"/>
                  <a:gd name="connsiteX60" fmla="*/ 152266 w 816057"/>
                  <a:gd name="connsiteY60" fmla="*/ 415178 h 845297"/>
                  <a:gd name="connsiteX61" fmla="*/ 181890 w 816057"/>
                  <a:gd name="connsiteY61" fmla="*/ 366050 h 845297"/>
                  <a:gd name="connsiteX62" fmla="*/ 212899 w 816057"/>
                  <a:gd name="connsiteY62" fmla="*/ 356216 h 845297"/>
                  <a:gd name="connsiteX63" fmla="*/ 219817 w 816057"/>
                  <a:gd name="connsiteY63" fmla="*/ 323956 h 845297"/>
                  <a:gd name="connsiteX64" fmla="*/ 240928 w 816057"/>
                  <a:gd name="connsiteY64" fmla="*/ 316232 h 845297"/>
                  <a:gd name="connsiteX65" fmla="*/ 238731 w 816057"/>
                  <a:gd name="connsiteY65" fmla="*/ 295892 h 845297"/>
                  <a:gd name="connsiteX66" fmla="*/ 214535 w 816057"/>
                  <a:gd name="connsiteY66" fmla="*/ 282659 h 845297"/>
                  <a:gd name="connsiteX67" fmla="*/ 221770 w 816057"/>
                  <a:gd name="connsiteY67" fmla="*/ 253130 h 845297"/>
                  <a:gd name="connsiteX68" fmla="*/ 315615 w 816057"/>
                  <a:gd name="connsiteY68" fmla="*/ 192102 h 845297"/>
                  <a:gd name="connsiteX69" fmla="*/ 320807 w 816057"/>
                  <a:gd name="connsiteY69" fmla="*/ 153895 h 845297"/>
                  <a:gd name="connsiteX70" fmla="*/ 310373 w 816057"/>
                  <a:gd name="connsiteY70" fmla="*/ 159163 h 845297"/>
                  <a:gd name="connsiteX71" fmla="*/ 256956 w 816057"/>
                  <a:gd name="connsiteY71" fmla="*/ 110426 h 845297"/>
                  <a:gd name="connsiteX72" fmla="*/ 276337 w 816057"/>
                  <a:gd name="connsiteY72" fmla="*/ 75723 h 845297"/>
                  <a:gd name="connsiteX73" fmla="*/ 255595 w 816057"/>
                  <a:gd name="connsiteY73" fmla="*/ 30266 h 845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816057" h="845297">
                    <a:moveTo>
                      <a:pt x="255595" y="30266"/>
                    </a:moveTo>
                    <a:lnTo>
                      <a:pt x="292663" y="-157"/>
                    </a:lnTo>
                    <a:lnTo>
                      <a:pt x="315029" y="28621"/>
                    </a:lnTo>
                    <a:lnTo>
                      <a:pt x="333617" y="14137"/>
                    </a:lnTo>
                    <a:lnTo>
                      <a:pt x="352009" y="36635"/>
                    </a:lnTo>
                    <a:lnTo>
                      <a:pt x="370622" y="21101"/>
                    </a:lnTo>
                    <a:lnTo>
                      <a:pt x="397324" y="53471"/>
                    </a:lnTo>
                    <a:lnTo>
                      <a:pt x="379324" y="69226"/>
                    </a:lnTo>
                    <a:lnTo>
                      <a:pt x="394399" y="88051"/>
                    </a:lnTo>
                    <a:lnTo>
                      <a:pt x="401915" y="96954"/>
                    </a:lnTo>
                    <a:lnTo>
                      <a:pt x="420052" y="81224"/>
                    </a:lnTo>
                    <a:lnTo>
                      <a:pt x="474935" y="147053"/>
                    </a:lnTo>
                    <a:lnTo>
                      <a:pt x="519989" y="124499"/>
                    </a:lnTo>
                    <a:lnTo>
                      <a:pt x="542738" y="151558"/>
                    </a:lnTo>
                    <a:lnTo>
                      <a:pt x="561610" y="136169"/>
                    </a:lnTo>
                    <a:lnTo>
                      <a:pt x="584674" y="163478"/>
                    </a:lnTo>
                    <a:lnTo>
                      <a:pt x="613861" y="136231"/>
                    </a:lnTo>
                    <a:lnTo>
                      <a:pt x="623101" y="147473"/>
                    </a:lnTo>
                    <a:lnTo>
                      <a:pt x="637905" y="137874"/>
                    </a:lnTo>
                    <a:lnTo>
                      <a:pt x="769841" y="234312"/>
                    </a:lnTo>
                    <a:lnTo>
                      <a:pt x="815391" y="240957"/>
                    </a:lnTo>
                    <a:lnTo>
                      <a:pt x="775137" y="281640"/>
                    </a:lnTo>
                    <a:lnTo>
                      <a:pt x="761282" y="333781"/>
                    </a:lnTo>
                    <a:lnTo>
                      <a:pt x="729257" y="373937"/>
                    </a:lnTo>
                    <a:lnTo>
                      <a:pt x="642098" y="446491"/>
                    </a:lnTo>
                    <a:lnTo>
                      <a:pt x="634486" y="436871"/>
                    </a:lnTo>
                    <a:lnTo>
                      <a:pt x="591921" y="449685"/>
                    </a:lnTo>
                    <a:lnTo>
                      <a:pt x="562793" y="476477"/>
                    </a:lnTo>
                    <a:lnTo>
                      <a:pt x="590439" y="554428"/>
                    </a:lnTo>
                    <a:lnTo>
                      <a:pt x="552299" y="598979"/>
                    </a:lnTo>
                    <a:lnTo>
                      <a:pt x="566415" y="620524"/>
                    </a:lnTo>
                    <a:lnTo>
                      <a:pt x="550521" y="652966"/>
                    </a:lnTo>
                    <a:lnTo>
                      <a:pt x="453828" y="670518"/>
                    </a:lnTo>
                    <a:lnTo>
                      <a:pt x="444376" y="723389"/>
                    </a:lnTo>
                    <a:lnTo>
                      <a:pt x="408908" y="729989"/>
                    </a:lnTo>
                    <a:lnTo>
                      <a:pt x="412246" y="711593"/>
                    </a:lnTo>
                    <a:lnTo>
                      <a:pt x="378108" y="700200"/>
                    </a:lnTo>
                    <a:lnTo>
                      <a:pt x="331423" y="774388"/>
                    </a:lnTo>
                    <a:lnTo>
                      <a:pt x="259638" y="755981"/>
                    </a:lnTo>
                    <a:lnTo>
                      <a:pt x="254434" y="791784"/>
                    </a:lnTo>
                    <a:lnTo>
                      <a:pt x="222964" y="832782"/>
                    </a:lnTo>
                    <a:lnTo>
                      <a:pt x="192563" y="845141"/>
                    </a:lnTo>
                    <a:lnTo>
                      <a:pt x="164646" y="835825"/>
                    </a:lnTo>
                    <a:lnTo>
                      <a:pt x="165837" y="782753"/>
                    </a:lnTo>
                    <a:lnTo>
                      <a:pt x="124263" y="773210"/>
                    </a:lnTo>
                    <a:lnTo>
                      <a:pt x="127765" y="743916"/>
                    </a:lnTo>
                    <a:lnTo>
                      <a:pt x="63735" y="726057"/>
                    </a:lnTo>
                    <a:lnTo>
                      <a:pt x="43491" y="666048"/>
                    </a:lnTo>
                    <a:lnTo>
                      <a:pt x="16609" y="682542"/>
                    </a:lnTo>
                    <a:lnTo>
                      <a:pt x="19249" y="627086"/>
                    </a:lnTo>
                    <a:lnTo>
                      <a:pt x="-666" y="620024"/>
                    </a:lnTo>
                    <a:lnTo>
                      <a:pt x="17862" y="590857"/>
                    </a:lnTo>
                    <a:lnTo>
                      <a:pt x="27626" y="610129"/>
                    </a:lnTo>
                    <a:lnTo>
                      <a:pt x="56951" y="588833"/>
                    </a:lnTo>
                    <a:lnTo>
                      <a:pt x="81065" y="596477"/>
                    </a:lnTo>
                    <a:lnTo>
                      <a:pt x="98315" y="556749"/>
                    </a:lnTo>
                    <a:lnTo>
                      <a:pt x="88358" y="544455"/>
                    </a:lnTo>
                    <a:lnTo>
                      <a:pt x="110519" y="535562"/>
                    </a:lnTo>
                    <a:lnTo>
                      <a:pt x="101162" y="509103"/>
                    </a:lnTo>
                    <a:lnTo>
                      <a:pt x="148560" y="467177"/>
                    </a:lnTo>
                    <a:lnTo>
                      <a:pt x="152266" y="415178"/>
                    </a:lnTo>
                    <a:lnTo>
                      <a:pt x="181890" y="366050"/>
                    </a:lnTo>
                    <a:lnTo>
                      <a:pt x="212899" y="356216"/>
                    </a:lnTo>
                    <a:lnTo>
                      <a:pt x="219817" y="323956"/>
                    </a:lnTo>
                    <a:lnTo>
                      <a:pt x="240928" y="316232"/>
                    </a:lnTo>
                    <a:lnTo>
                      <a:pt x="238731" y="295892"/>
                    </a:lnTo>
                    <a:lnTo>
                      <a:pt x="214535" y="282659"/>
                    </a:lnTo>
                    <a:lnTo>
                      <a:pt x="221770" y="253130"/>
                    </a:lnTo>
                    <a:lnTo>
                      <a:pt x="315615" y="192102"/>
                    </a:lnTo>
                    <a:lnTo>
                      <a:pt x="320807" y="153895"/>
                    </a:lnTo>
                    <a:lnTo>
                      <a:pt x="310373" y="159163"/>
                    </a:lnTo>
                    <a:lnTo>
                      <a:pt x="256956" y="110426"/>
                    </a:lnTo>
                    <a:lnTo>
                      <a:pt x="276337" y="75723"/>
                    </a:lnTo>
                    <a:lnTo>
                      <a:pt x="255595" y="30266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" name="Республика Башкортостан">
                <a:extLst>
                  <a:ext uri="{FF2B5EF4-FFF2-40B4-BE49-F238E27FC236}">
                    <a16:creationId xmlns:a16="http://schemas.microsoft.com/office/drawing/2014/main" id="{38054FBA-17A6-4432-973C-8ADC9F8987BA}"/>
                  </a:ext>
                </a:extLst>
              </p:cNvPr>
              <p:cNvSpPr/>
              <p:nvPr/>
            </p:nvSpPr>
            <p:spPr>
              <a:xfrm>
                <a:off x="2686389" y="3844367"/>
                <a:ext cx="630497" cy="815121"/>
              </a:xfrm>
              <a:custGeom>
                <a:avLst/>
                <a:gdLst>
                  <a:gd name="connsiteX0" fmla="*/ 97462 w 630497"/>
                  <a:gd name="connsiteY0" fmla="*/ 96793 h 815121"/>
                  <a:gd name="connsiteX1" fmla="*/ 137314 w 630497"/>
                  <a:gd name="connsiteY1" fmla="*/ 111954 h 815121"/>
                  <a:gd name="connsiteX2" fmla="*/ 226970 w 630497"/>
                  <a:gd name="connsiteY2" fmla="*/ 88389 h 815121"/>
                  <a:gd name="connsiteX3" fmla="*/ 215563 w 630497"/>
                  <a:gd name="connsiteY3" fmla="*/ 24326 h 815121"/>
                  <a:gd name="connsiteX4" fmla="*/ 243485 w 630497"/>
                  <a:gd name="connsiteY4" fmla="*/ 34956 h 815121"/>
                  <a:gd name="connsiteX5" fmla="*/ 329113 w 630497"/>
                  <a:gd name="connsiteY5" fmla="*/ -157 h 815121"/>
                  <a:gd name="connsiteX6" fmla="*/ 349357 w 630497"/>
                  <a:gd name="connsiteY6" fmla="*/ 59852 h 815121"/>
                  <a:gd name="connsiteX7" fmla="*/ 411405 w 630497"/>
                  <a:gd name="connsiteY7" fmla="*/ 76163 h 815121"/>
                  <a:gd name="connsiteX8" fmla="*/ 410203 w 630497"/>
                  <a:gd name="connsiteY8" fmla="*/ 107344 h 815121"/>
                  <a:gd name="connsiteX9" fmla="*/ 451460 w 630497"/>
                  <a:gd name="connsiteY9" fmla="*/ 116548 h 815121"/>
                  <a:gd name="connsiteX10" fmla="*/ 452325 w 630497"/>
                  <a:gd name="connsiteY10" fmla="*/ 173217 h 815121"/>
                  <a:gd name="connsiteX11" fmla="*/ 507969 w 630497"/>
                  <a:gd name="connsiteY11" fmla="*/ 166788 h 815121"/>
                  <a:gd name="connsiteX12" fmla="*/ 498732 w 630497"/>
                  <a:gd name="connsiteY12" fmla="*/ 209225 h 815121"/>
                  <a:gd name="connsiteX13" fmla="*/ 523061 w 630497"/>
                  <a:gd name="connsiteY13" fmla="*/ 214041 h 815121"/>
                  <a:gd name="connsiteX14" fmla="*/ 554642 w 630497"/>
                  <a:gd name="connsiteY14" fmla="*/ 248106 h 815121"/>
                  <a:gd name="connsiteX15" fmla="*/ 575127 w 630497"/>
                  <a:gd name="connsiteY15" fmla="*/ 244834 h 815121"/>
                  <a:gd name="connsiteX16" fmla="*/ 589314 w 630497"/>
                  <a:gd name="connsiteY16" fmla="*/ 276706 h 815121"/>
                  <a:gd name="connsiteX17" fmla="*/ 609448 w 630497"/>
                  <a:gd name="connsiteY17" fmla="*/ 268530 h 815121"/>
                  <a:gd name="connsiteX18" fmla="*/ 629831 w 630497"/>
                  <a:gd name="connsiteY18" fmla="*/ 283294 h 815121"/>
                  <a:gd name="connsiteX19" fmla="*/ 583670 w 630497"/>
                  <a:gd name="connsiteY19" fmla="*/ 322276 h 815121"/>
                  <a:gd name="connsiteX20" fmla="*/ 595078 w 630497"/>
                  <a:gd name="connsiteY20" fmla="*/ 333959 h 815121"/>
                  <a:gd name="connsiteX21" fmla="*/ 574155 w 630497"/>
                  <a:gd name="connsiteY21" fmla="*/ 354837 h 815121"/>
                  <a:gd name="connsiteX22" fmla="*/ 595205 w 630497"/>
                  <a:gd name="connsiteY22" fmla="*/ 357083 h 815121"/>
                  <a:gd name="connsiteX23" fmla="*/ 601006 w 630497"/>
                  <a:gd name="connsiteY23" fmla="*/ 376842 h 815121"/>
                  <a:gd name="connsiteX24" fmla="*/ 559592 w 630497"/>
                  <a:gd name="connsiteY24" fmla="*/ 366340 h 815121"/>
                  <a:gd name="connsiteX25" fmla="*/ 526086 w 630497"/>
                  <a:gd name="connsiteY25" fmla="*/ 385371 h 815121"/>
                  <a:gd name="connsiteX26" fmla="*/ 527388 w 630497"/>
                  <a:gd name="connsiteY26" fmla="*/ 371570 h 815121"/>
                  <a:gd name="connsiteX27" fmla="*/ 508493 w 630497"/>
                  <a:gd name="connsiteY27" fmla="*/ 367723 h 815121"/>
                  <a:gd name="connsiteX28" fmla="*/ 501836 w 630497"/>
                  <a:gd name="connsiteY28" fmla="*/ 385011 h 815121"/>
                  <a:gd name="connsiteX29" fmla="*/ 488322 w 630497"/>
                  <a:gd name="connsiteY29" fmla="*/ 376476 h 815121"/>
                  <a:gd name="connsiteX30" fmla="*/ 497445 w 630497"/>
                  <a:gd name="connsiteY30" fmla="*/ 403403 h 815121"/>
                  <a:gd name="connsiteX31" fmla="*/ 482781 w 630497"/>
                  <a:gd name="connsiteY31" fmla="*/ 408993 h 815121"/>
                  <a:gd name="connsiteX32" fmla="*/ 465035 w 630497"/>
                  <a:gd name="connsiteY32" fmla="*/ 391660 h 815121"/>
                  <a:gd name="connsiteX33" fmla="*/ 464837 w 630497"/>
                  <a:gd name="connsiteY33" fmla="*/ 358901 h 815121"/>
                  <a:gd name="connsiteX34" fmla="*/ 424046 w 630497"/>
                  <a:gd name="connsiteY34" fmla="*/ 380892 h 815121"/>
                  <a:gd name="connsiteX35" fmla="*/ 444657 w 630497"/>
                  <a:gd name="connsiteY35" fmla="*/ 347878 h 815121"/>
                  <a:gd name="connsiteX36" fmla="*/ 460496 w 630497"/>
                  <a:gd name="connsiteY36" fmla="*/ 348219 h 815121"/>
                  <a:gd name="connsiteX37" fmla="*/ 427398 w 630497"/>
                  <a:gd name="connsiteY37" fmla="*/ 301664 h 815121"/>
                  <a:gd name="connsiteX38" fmla="*/ 400486 w 630497"/>
                  <a:gd name="connsiteY38" fmla="*/ 296401 h 815121"/>
                  <a:gd name="connsiteX39" fmla="*/ 375950 w 630497"/>
                  <a:gd name="connsiteY39" fmla="*/ 313652 h 815121"/>
                  <a:gd name="connsiteX40" fmla="*/ 373711 w 630497"/>
                  <a:gd name="connsiteY40" fmla="*/ 336925 h 815121"/>
                  <a:gd name="connsiteX41" fmla="*/ 355837 w 630497"/>
                  <a:gd name="connsiteY41" fmla="*/ 343827 h 815121"/>
                  <a:gd name="connsiteX42" fmla="*/ 377602 w 630497"/>
                  <a:gd name="connsiteY42" fmla="*/ 445391 h 815121"/>
                  <a:gd name="connsiteX43" fmla="*/ 421919 w 630497"/>
                  <a:gd name="connsiteY43" fmla="*/ 444659 h 815121"/>
                  <a:gd name="connsiteX44" fmla="*/ 429841 w 630497"/>
                  <a:gd name="connsiteY44" fmla="*/ 468932 h 815121"/>
                  <a:gd name="connsiteX45" fmla="*/ 480524 w 630497"/>
                  <a:gd name="connsiteY45" fmla="*/ 467051 h 815121"/>
                  <a:gd name="connsiteX46" fmla="*/ 492326 w 630497"/>
                  <a:gd name="connsiteY46" fmla="*/ 481958 h 815121"/>
                  <a:gd name="connsiteX47" fmla="*/ 543827 w 630497"/>
                  <a:gd name="connsiteY47" fmla="*/ 460775 h 815121"/>
                  <a:gd name="connsiteX48" fmla="*/ 569066 w 630497"/>
                  <a:gd name="connsiteY48" fmla="*/ 484880 h 815121"/>
                  <a:gd name="connsiteX49" fmla="*/ 510118 w 630497"/>
                  <a:gd name="connsiteY49" fmla="*/ 517326 h 815121"/>
                  <a:gd name="connsiteX50" fmla="*/ 485734 w 630497"/>
                  <a:gd name="connsiteY50" fmla="*/ 565120 h 815121"/>
                  <a:gd name="connsiteX51" fmla="*/ 460552 w 630497"/>
                  <a:gd name="connsiteY51" fmla="*/ 540103 h 815121"/>
                  <a:gd name="connsiteX52" fmla="*/ 428130 w 630497"/>
                  <a:gd name="connsiteY52" fmla="*/ 559459 h 815121"/>
                  <a:gd name="connsiteX53" fmla="*/ 406735 w 630497"/>
                  <a:gd name="connsiteY53" fmla="*/ 552938 h 815121"/>
                  <a:gd name="connsiteX54" fmla="*/ 366536 w 630497"/>
                  <a:gd name="connsiteY54" fmla="*/ 597158 h 815121"/>
                  <a:gd name="connsiteX55" fmla="*/ 336100 w 630497"/>
                  <a:gd name="connsiteY55" fmla="*/ 672987 h 815121"/>
                  <a:gd name="connsiteX56" fmla="*/ 323104 w 630497"/>
                  <a:gd name="connsiteY56" fmla="*/ 666670 h 815121"/>
                  <a:gd name="connsiteX57" fmla="*/ 280495 w 630497"/>
                  <a:gd name="connsiteY57" fmla="*/ 715624 h 815121"/>
                  <a:gd name="connsiteX58" fmla="*/ 267926 w 630497"/>
                  <a:gd name="connsiteY58" fmla="*/ 768928 h 815121"/>
                  <a:gd name="connsiteX59" fmla="*/ 246948 w 630497"/>
                  <a:gd name="connsiteY59" fmla="*/ 752011 h 815121"/>
                  <a:gd name="connsiteX60" fmla="*/ 193742 w 630497"/>
                  <a:gd name="connsiteY60" fmla="*/ 814965 h 815121"/>
                  <a:gd name="connsiteX61" fmla="*/ 155916 w 630497"/>
                  <a:gd name="connsiteY61" fmla="*/ 799466 h 815121"/>
                  <a:gd name="connsiteX62" fmla="*/ 129206 w 630497"/>
                  <a:gd name="connsiteY62" fmla="*/ 752683 h 815121"/>
                  <a:gd name="connsiteX63" fmla="*/ 117493 w 630497"/>
                  <a:gd name="connsiteY63" fmla="*/ 766231 h 815121"/>
                  <a:gd name="connsiteX64" fmla="*/ 67571 w 630497"/>
                  <a:gd name="connsiteY64" fmla="*/ 766302 h 815121"/>
                  <a:gd name="connsiteX65" fmla="*/ 53814 w 630497"/>
                  <a:gd name="connsiteY65" fmla="*/ 718982 h 815121"/>
                  <a:gd name="connsiteX66" fmla="*/ 45542 w 630497"/>
                  <a:gd name="connsiteY66" fmla="*/ 744097 h 815121"/>
                  <a:gd name="connsiteX67" fmla="*/ 30850 w 630497"/>
                  <a:gd name="connsiteY67" fmla="*/ 736535 h 815121"/>
                  <a:gd name="connsiteX68" fmla="*/ 50081 w 630497"/>
                  <a:gd name="connsiteY68" fmla="*/ 717274 h 815121"/>
                  <a:gd name="connsiteX69" fmla="*/ 43614 w 630497"/>
                  <a:gd name="connsiteY69" fmla="*/ 699631 h 815121"/>
                  <a:gd name="connsiteX70" fmla="*/ 71727 w 630497"/>
                  <a:gd name="connsiteY70" fmla="*/ 675990 h 815121"/>
                  <a:gd name="connsiteX71" fmla="*/ 57064 w 630497"/>
                  <a:gd name="connsiteY71" fmla="*/ 646397 h 815121"/>
                  <a:gd name="connsiteX72" fmla="*/ 66892 w 630497"/>
                  <a:gd name="connsiteY72" fmla="*/ 643598 h 815121"/>
                  <a:gd name="connsiteX73" fmla="*/ 40206 w 630497"/>
                  <a:gd name="connsiteY73" fmla="*/ 637627 h 815121"/>
                  <a:gd name="connsiteX74" fmla="*/ 73742 w 630497"/>
                  <a:gd name="connsiteY74" fmla="*/ 632049 h 815121"/>
                  <a:gd name="connsiteX75" fmla="*/ 99874 w 630497"/>
                  <a:gd name="connsiteY75" fmla="*/ 593357 h 815121"/>
                  <a:gd name="connsiteX76" fmla="*/ 81781 w 630497"/>
                  <a:gd name="connsiteY76" fmla="*/ 590066 h 815121"/>
                  <a:gd name="connsiteX77" fmla="*/ 73498 w 630497"/>
                  <a:gd name="connsiteY77" fmla="*/ 564606 h 815121"/>
                  <a:gd name="connsiteX78" fmla="*/ 31414 w 630497"/>
                  <a:gd name="connsiteY78" fmla="*/ 588358 h 815121"/>
                  <a:gd name="connsiteX79" fmla="*/ 10671 w 630497"/>
                  <a:gd name="connsiteY79" fmla="*/ 568773 h 815121"/>
                  <a:gd name="connsiteX80" fmla="*/ 30627 w 630497"/>
                  <a:gd name="connsiteY80" fmla="*/ 541532 h 815121"/>
                  <a:gd name="connsiteX81" fmla="*/ 18219 w 630497"/>
                  <a:gd name="connsiteY81" fmla="*/ 509534 h 815121"/>
                  <a:gd name="connsiteX82" fmla="*/ 26037 w 630497"/>
                  <a:gd name="connsiteY82" fmla="*/ 522860 h 815121"/>
                  <a:gd name="connsiteX83" fmla="*/ 41883 w 630497"/>
                  <a:gd name="connsiteY83" fmla="*/ 506669 h 815121"/>
                  <a:gd name="connsiteX84" fmla="*/ 21037 w 630497"/>
                  <a:gd name="connsiteY84" fmla="*/ 493656 h 815121"/>
                  <a:gd name="connsiteX85" fmla="*/ 42165 w 630497"/>
                  <a:gd name="connsiteY85" fmla="*/ 432240 h 815121"/>
                  <a:gd name="connsiteX86" fmla="*/ 1480 w 630497"/>
                  <a:gd name="connsiteY86" fmla="*/ 366765 h 815121"/>
                  <a:gd name="connsiteX87" fmla="*/ -666 w 630497"/>
                  <a:gd name="connsiteY87" fmla="*/ 293084 h 815121"/>
                  <a:gd name="connsiteX88" fmla="*/ 40170 w 630497"/>
                  <a:gd name="connsiteY88" fmla="*/ 202007 h 815121"/>
                  <a:gd name="connsiteX89" fmla="*/ 110124 w 630497"/>
                  <a:gd name="connsiteY89" fmla="*/ 151575 h 815121"/>
                  <a:gd name="connsiteX90" fmla="*/ 97467 w 630497"/>
                  <a:gd name="connsiteY90" fmla="*/ 96798 h 815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630497" h="815121">
                    <a:moveTo>
                      <a:pt x="97462" y="96793"/>
                    </a:moveTo>
                    <a:lnTo>
                      <a:pt x="137314" y="111954"/>
                    </a:lnTo>
                    <a:lnTo>
                      <a:pt x="226970" y="88389"/>
                    </a:lnTo>
                    <a:lnTo>
                      <a:pt x="215563" y="24326"/>
                    </a:lnTo>
                    <a:lnTo>
                      <a:pt x="243485" y="34956"/>
                    </a:lnTo>
                    <a:lnTo>
                      <a:pt x="329113" y="-157"/>
                    </a:lnTo>
                    <a:lnTo>
                      <a:pt x="349357" y="59852"/>
                    </a:lnTo>
                    <a:lnTo>
                      <a:pt x="411405" y="76163"/>
                    </a:lnTo>
                    <a:lnTo>
                      <a:pt x="410203" y="107344"/>
                    </a:lnTo>
                    <a:lnTo>
                      <a:pt x="451460" y="116548"/>
                    </a:lnTo>
                    <a:lnTo>
                      <a:pt x="452325" y="173217"/>
                    </a:lnTo>
                    <a:lnTo>
                      <a:pt x="507969" y="166788"/>
                    </a:lnTo>
                    <a:lnTo>
                      <a:pt x="498732" y="209225"/>
                    </a:lnTo>
                    <a:lnTo>
                      <a:pt x="523061" y="214041"/>
                    </a:lnTo>
                    <a:lnTo>
                      <a:pt x="554642" y="248106"/>
                    </a:lnTo>
                    <a:lnTo>
                      <a:pt x="575127" y="244834"/>
                    </a:lnTo>
                    <a:lnTo>
                      <a:pt x="589314" y="276706"/>
                    </a:lnTo>
                    <a:lnTo>
                      <a:pt x="609448" y="268530"/>
                    </a:lnTo>
                    <a:lnTo>
                      <a:pt x="629831" y="283294"/>
                    </a:lnTo>
                    <a:lnTo>
                      <a:pt x="583670" y="322276"/>
                    </a:lnTo>
                    <a:lnTo>
                      <a:pt x="595078" y="333959"/>
                    </a:lnTo>
                    <a:lnTo>
                      <a:pt x="574155" y="354837"/>
                    </a:lnTo>
                    <a:lnTo>
                      <a:pt x="595205" y="357083"/>
                    </a:lnTo>
                    <a:lnTo>
                      <a:pt x="601006" y="376842"/>
                    </a:lnTo>
                    <a:lnTo>
                      <a:pt x="559592" y="366340"/>
                    </a:lnTo>
                    <a:lnTo>
                      <a:pt x="526086" y="385371"/>
                    </a:lnTo>
                    <a:lnTo>
                      <a:pt x="527388" y="371570"/>
                    </a:lnTo>
                    <a:lnTo>
                      <a:pt x="508493" y="367723"/>
                    </a:lnTo>
                    <a:lnTo>
                      <a:pt x="501836" y="385011"/>
                    </a:lnTo>
                    <a:lnTo>
                      <a:pt x="488322" y="376476"/>
                    </a:lnTo>
                    <a:lnTo>
                      <a:pt x="497445" y="403403"/>
                    </a:lnTo>
                    <a:lnTo>
                      <a:pt x="482781" y="408993"/>
                    </a:lnTo>
                    <a:lnTo>
                      <a:pt x="465035" y="391660"/>
                    </a:lnTo>
                    <a:lnTo>
                      <a:pt x="464837" y="358901"/>
                    </a:lnTo>
                    <a:lnTo>
                      <a:pt x="424046" y="380892"/>
                    </a:lnTo>
                    <a:lnTo>
                      <a:pt x="444657" y="347878"/>
                    </a:lnTo>
                    <a:lnTo>
                      <a:pt x="460496" y="348219"/>
                    </a:lnTo>
                    <a:lnTo>
                      <a:pt x="427398" y="301664"/>
                    </a:lnTo>
                    <a:lnTo>
                      <a:pt x="400486" y="296401"/>
                    </a:lnTo>
                    <a:lnTo>
                      <a:pt x="375950" y="313652"/>
                    </a:lnTo>
                    <a:lnTo>
                      <a:pt x="373711" y="336925"/>
                    </a:lnTo>
                    <a:lnTo>
                      <a:pt x="355837" y="343827"/>
                    </a:lnTo>
                    <a:lnTo>
                      <a:pt x="377602" y="445391"/>
                    </a:lnTo>
                    <a:lnTo>
                      <a:pt x="421919" y="444659"/>
                    </a:lnTo>
                    <a:lnTo>
                      <a:pt x="429841" y="468932"/>
                    </a:lnTo>
                    <a:lnTo>
                      <a:pt x="480524" y="467051"/>
                    </a:lnTo>
                    <a:lnTo>
                      <a:pt x="492326" y="481958"/>
                    </a:lnTo>
                    <a:lnTo>
                      <a:pt x="543827" y="460775"/>
                    </a:lnTo>
                    <a:lnTo>
                      <a:pt x="569066" y="484880"/>
                    </a:lnTo>
                    <a:lnTo>
                      <a:pt x="510118" y="517326"/>
                    </a:lnTo>
                    <a:lnTo>
                      <a:pt x="485734" y="565120"/>
                    </a:lnTo>
                    <a:lnTo>
                      <a:pt x="460552" y="540103"/>
                    </a:lnTo>
                    <a:lnTo>
                      <a:pt x="428130" y="559459"/>
                    </a:lnTo>
                    <a:lnTo>
                      <a:pt x="406735" y="552938"/>
                    </a:lnTo>
                    <a:lnTo>
                      <a:pt x="366536" y="597158"/>
                    </a:lnTo>
                    <a:lnTo>
                      <a:pt x="336100" y="672987"/>
                    </a:lnTo>
                    <a:lnTo>
                      <a:pt x="323104" y="666670"/>
                    </a:lnTo>
                    <a:lnTo>
                      <a:pt x="280495" y="715624"/>
                    </a:lnTo>
                    <a:lnTo>
                      <a:pt x="267926" y="768928"/>
                    </a:lnTo>
                    <a:lnTo>
                      <a:pt x="246948" y="752011"/>
                    </a:lnTo>
                    <a:lnTo>
                      <a:pt x="193742" y="814965"/>
                    </a:lnTo>
                    <a:lnTo>
                      <a:pt x="155916" y="799466"/>
                    </a:lnTo>
                    <a:lnTo>
                      <a:pt x="129206" y="752683"/>
                    </a:lnTo>
                    <a:lnTo>
                      <a:pt x="117493" y="766231"/>
                    </a:lnTo>
                    <a:lnTo>
                      <a:pt x="67571" y="766302"/>
                    </a:lnTo>
                    <a:lnTo>
                      <a:pt x="53814" y="718982"/>
                    </a:lnTo>
                    <a:lnTo>
                      <a:pt x="45542" y="744097"/>
                    </a:lnTo>
                    <a:lnTo>
                      <a:pt x="30850" y="736535"/>
                    </a:lnTo>
                    <a:lnTo>
                      <a:pt x="50081" y="717274"/>
                    </a:lnTo>
                    <a:lnTo>
                      <a:pt x="43614" y="699631"/>
                    </a:lnTo>
                    <a:lnTo>
                      <a:pt x="71727" y="675990"/>
                    </a:lnTo>
                    <a:lnTo>
                      <a:pt x="57064" y="646397"/>
                    </a:lnTo>
                    <a:lnTo>
                      <a:pt x="66892" y="643598"/>
                    </a:lnTo>
                    <a:lnTo>
                      <a:pt x="40206" y="637627"/>
                    </a:lnTo>
                    <a:lnTo>
                      <a:pt x="73742" y="632049"/>
                    </a:lnTo>
                    <a:lnTo>
                      <a:pt x="99874" y="593357"/>
                    </a:lnTo>
                    <a:lnTo>
                      <a:pt x="81781" y="590066"/>
                    </a:lnTo>
                    <a:lnTo>
                      <a:pt x="73498" y="564606"/>
                    </a:lnTo>
                    <a:lnTo>
                      <a:pt x="31414" y="588358"/>
                    </a:lnTo>
                    <a:lnTo>
                      <a:pt x="10671" y="568773"/>
                    </a:lnTo>
                    <a:lnTo>
                      <a:pt x="30627" y="541532"/>
                    </a:lnTo>
                    <a:lnTo>
                      <a:pt x="18219" y="509534"/>
                    </a:lnTo>
                    <a:lnTo>
                      <a:pt x="26037" y="522860"/>
                    </a:lnTo>
                    <a:lnTo>
                      <a:pt x="41883" y="506669"/>
                    </a:lnTo>
                    <a:lnTo>
                      <a:pt x="21037" y="493656"/>
                    </a:lnTo>
                    <a:lnTo>
                      <a:pt x="42165" y="432240"/>
                    </a:lnTo>
                    <a:lnTo>
                      <a:pt x="1480" y="366765"/>
                    </a:lnTo>
                    <a:lnTo>
                      <a:pt x="-666" y="293084"/>
                    </a:lnTo>
                    <a:lnTo>
                      <a:pt x="40170" y="202007"/>
                    </a:lnTo>
                    <a:lnTo>
                      <a:pt x="110124" y="151575"/>
                    </a:lnTo>
                    <a:lnTo>
                      <a:pt x="97467" y="96798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760" name="Уральский федеральный округ">
              <a:extLst>
                <a:ext uri="{FF2B5EF4-FFF2-40B4-BE49-F238E27FC236}">
                  <a16:creationId xmlns:a16="http://schemas.microsoft.com/office/drawing/2014/main" id="{8582CF12-06F3-4C8F-932A-9C08147EC68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55581" y="2103768"/>
              <a:ext cx="2736953" cy="2621714"/>
              <a:chOff x="2955581" y="2103768"/>
              <a:chExt cx="2736953" cy="2621714"/>
            </a:xfrm>
            <a:solidFill>
              <a:srgbClr val="93CDFC"/>
            </a:solidFill>
          </p:grpSpPr>
          <p:sp>
            <p:nvSpPr>
              <p:cNvPr id="88" name="Курганская область">
                <a:extLst>
                  <a:ext uri="{FF2B5EF4-FFF2-40B4-BE49-F238E27FC236}">
                    <a16:creationId xmlns:a16="http://schemas.microsoft.com/office/drawing/2014/main" id="{68C2515C-30A8-45A9-95DD-F110BAA0005B}"/>
                  </a:ext>
                </a:extLst>
              </p:cNvPr>
              <p:cNvSpPr/>
              <p:nvPr/>
            </p:nvSpPr>
            <p:spPr>
              <a:xfrm>
                <a:off x="3398511" y="4219667"/>
                <a:ext cx="569476" cy="455500"/>
              </a:xfrm>
              <a:custGeom>
                <a:avLst/>
                <a:gdLst>
                  <a:gd name="connsiteX0" fmla="*/ 19314 w 569476"/>
                  <a:gd name="connsiteY0" fmla="*/ 180214 h 455500"/>
                  <a:gd name="connsiteX1" fmla="*/ 33459 w 569476"/>
                  <a:gd name="connsiteY1" fmla="*/ 196018 h 455500"/>
                  <a:gd name="connsiteX2" fmla="*/ 47448 w 569476"/>
                  <a:gd name="connsiteY2" fmla="*/ 188401 h 455500"/>
                  <a:gd name="connsiteX3" fmla="*/ 43693 w 569476"/>
                  <a:gd name="connsiteY3" fmla="*/ 153005 h 455500"/>
                  <a:gd name="connsiteX4" fmla="*/ 65093 w 569476"/>
                  <a:gd name="connsiteY4" fmla="*/ 151923 h 455500"/>
                  <a:gd name="connsiteX5" fmla="*/ 69508 w 569476"/>
                  <a:gd name="connsiteY5" fmla="*/ 134900 h 455500"/>
                  <a:gd name="connsiteX6" fmla="*/ 105769 w 569476"/>
                  <a:gd name="connsiteY6" fmla="*/ 148293 h 455500"/>
                  <a:gd name="connsiteX7" fmla="*/ 100145 w 569476"/>
                  <a:gd name="connsiteY7" fmla="*/ 131728 h 455500"/>
                  <a:gd name="connsiteX8" fmla="*/ 120838 w 569476"/>
                  <a:gd name="connsiteY8" fmla="*/ 106621 h 455500"/>
                  <a:gd name="connsiteX9" fmla="*/ 114985 w 569476"/>
                  <a:gd name="connsiteY9" fmla="*/ 37605 h 455500"/>
                  <a:gd name="connsiteX10" fmla="*/ 128935 w 569476"/>
                  <a:gd name="connsiteY10" fmla="*/ 15892 h 455500"/>
                  <a:gd name="connsiteX11" fmla="*/ 183105 w 569476"/>
                  <a:gd name="connsiteY11" fmla="*/ -157 h 455500"/>
                  <a:gd name="connsiteX12" fmla="*/ 187045 w 569476"/>
                  <a:gd name="connsiteY12" fmla="*/ 16016 h 455500"/>
                  <a:gd name="connsiteX13" fmla="*/ 234318 w 569476"/>
                  <a:gd name="connsiteY13" fmla="*/ 25583 h 455500"/>
                  <a:gd name="connsiteX14" fmla="*/ 239755 w 569476"/>
                  <a:gd name="connsiteY14" fmla="*/ 45962 h 455500"/>
                  <a:gd name="connsiteX15" fmla="*/ 259239 w 569476"/>
                  <a:gd name="connsiteY15" fmla="*/ 35229 h 455500"/>
                  <a:gd name="connsiteX16" fmla="*/ 298590 w 569476"/>
                  <a:gd name="connsiteY16" fmla="*/ 84881 h 455500"/>
                  <a:gd name="connsiteX17" fmla="*/ 329462 w 569476"/>
                  <a:gd name="connsiteY17" fmla="*/ 51462 h 455500"/>
                  <a:gd name="connsiteX18" fmla="*/ 376107 w 569476"/>
                  <a:gd name="connsiteY18" fmla="*/ 59889 h 455500"/>
                  <a:gd name="connsiteX19" fmla="*/ 369158 w 569476"/>
                  <a:gd name="connsiteY19" fmla="*/ 140977 h 455500"/>
                  <a:gd name="connsiteX20" fmla="*/ 358027 w 569476"/>
                  <a:gd name="connsiteY20" fmla="*/ 144984 h 455500"/>
                  <a:gd name="connsiteX21" fmla="*/ 397806 w 569476"/>
                  <a:gd name="connsiteY21" fmla="*/ 173117 h 455500"/>
                  <a:gd name="connsiteX22" fmla="*/ 403479 w 569476"/>
                  <a:gd name="connsiteY22" fmla="*/ 224828 h 455500"/>
                  <a:gd name="connsiteX23" fmla="*/ 419693 w 569476"/>
                  <a:gd name="connsiteY23" fmla="*/ 220153 h 455500"/>
                  <a:gd name="connsiteX24" fmla="*/ 435595 w 569476"/>
                  <a:gd name="connsiteY24" fmla="*/ 248227 h 455500"/>
                  <a:gd name="connsiteX25" fmla="*/ 461070 w 569476"/>
                  <a:gd name="connsiteY25" fmla="*/ 246230 h 455500"/>
                  <a:gd name="connsiteX26" fmla="*/ 500288 w 569476"/>
                  <a:gd name="connsiteY26" fmla="*/ 280123 h 455500"/>
                  <a:gd name="connsiteX27" fmla="*/ 491678 w 569476"/>
                  <a:gd name="connsiteY27" fmla="*/ 316801 h 455500"/>
                  <a:gd name="connsiteX28" fmla="*/ 502167 w 569476"/>
                  <a:gd name="connsiteY28" fmla="*/ 329228 h 455500"/>
                  <a:gd name="connsiteX29" fmla="*/ 550869 w 569476"/>
                  <a:gd name="connsiteY29" fmla="*/ 346740 h 455500"/>
                  <a:gd name="connsiteX30" fmla="*/ 543687 w 569476"/>
                  <a:gd name="connsiteY30" fmla="*/ 366686 h 455500"/>
                  <a:gd name="connsiteX31" fmla="*/ 568811 w 569476"/>
                  <a:gd name="connsiteY31" fmla="*/ 422691 h 455500"/>
                  <a:gd name="connsiteX32" fmla="*/ 551365 w 569476"/>
                  <a:gd name="connsiteY32" fmla="*/ 438097 h 455500"/>
                  <a:gd name="connsiteX33" fmla="*/ 516098 w 569476"/>
                  <a:gd name="connsiteY33" fmla="*/ 420902 h 455500"/>
                  <a:gd name="connsiteX34" fmla="*/ 504998 w 569476"/>
                  <a:gd name="connsiteY34" fmla="*/ 455344 h 455500"/>
                  <a:gd name="connsiteX35" fmla="*/ 302233 w 569476"/>
                  <a:gd name="connsiteY35" fmla="*/ 412564 h 455500"/>
                  <a:gd name="connsiteX36" fmla="*/ 307579 w 569476"/>
                  <a:gd name="connsiteY36" fmla="*/ 399191 h 455500"/>
                  <a:gd name="connsiteX37" fmla="*/ 280970 w 569476"/>
                  <a:gd name="connsiteY37" fmla="*/ 404424 h 455500"/>
                  <a:gd name="connsiteX38" fmla="*/ 264076 w 569476"/>
                  <a:gd name="connsiteY38" fmla="*/ 386889 h 455500"/>
                  <a:gd name="connsiteX39" fmla="*/ 258969 w 569476"/>
                  <a:gd name="connsiteY39" fmla="*/ 399117 h 455500"/>
                  <a:gd name="connsiteX40" fmla="*/ 233851 w 569476"/>
                  <a:gd name="connsiteY40" fmla="*/ 390797 h 455500"/>
                  <a:gd name="connsiteX41" fmla="*/ 219065 w 569476"/>
                  <a:gd name="connsiteY41" fmla="*/ 419500 h 455500"/>
                  <a:gd name="connsiteX42" fmla="*/ 175793 w 569476"/>
                  <a:gd name="connsiteY42" fmla="*/ 384887 h 455500"/>
                  <a:gd name="connsiteX43" fmla="*/ 118686 w 569476"/>
                  <a:gd name="connsiteY43" fmla="*/ 369844 h 455500"/>
                  <a:gd name="connsiteX44" fmla="*/ 108942 w 569476"/>
                  <a:gd name="connsiteY44" fmla="*/ 382400 h 455500"/>
                  <a:gd name="connsiteX45" fmla="*/ 101102 w 569476"/>
                  <a:gd name="connsiteY45" fmla="*/ 365205 h 455500"/>
                  <a:gd name="connsiteX46" fmla="*/ 60943 w 569476"/>
                  <a:gd name="connsiteY46" fmla="*/ 356899 h 455500"/>
                  <a:gd name="connsiteX47" fmla="*/ 51149 w 569476"/>
                  <a:gd name="connsiteY47" fmla="*/ 326763 h 455500"/>
                  <a:gd name="connsiteX48" fmla="*/ 83157 w 569476"/>
                  <a:gd name="connsiteY48" fmla="*/ 305998 h 455500"/>
                  <a:gd name="connsiteX49" fmla="*/ 87899 w 569476"/>
                  <a:gd name="connsiteY49" fmla="*/ 280776 h 455500"/>
                  <a:gd name="connsiteX50" fmla="*/ 41051 w 569476"/>
                  <a:gd name="connsiteY50" fmla="*/ 266931 h 455500"/>
                  <a:gd name="connsiteX51" fmla="*/ 40885 w 569476"/>
                  <a:gd name="connsiteY51" fmla="*/ 247937 h 455500"/>
                  <a:gd name="connsiteX52" fmla="*/ -666 w 569476"/>
                  <a:gd name="connsiteY52" fmla="*/ 232718 h 455500"/>
                  <a:gd name="connsiteX53" fmla="*/ 19315 w 569476"/>
                  <a:gd name="connsiteY53" fmla="*/ 180214 h 45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569476" h="455500">
                    <a:moveTo>
                      <a:pt x="19314" y="180214"/>
                    </a:moveTo>
                    <a:lnTo>
                      <a:pt x="33459" y="196018"/>
                    </a:lnTo>
                    <a:lnTo>
                      <a:pt x="47448" y="188401"/>
                    </a:lnTo>
                    <a:lnTo>
                      <a:pt x="43693" y="153005"/>
                    </a:lnTo>
                    <a:lnTo>
                      <a:pt x="65093" y="151923"/>
                    </a:lnTo>
                    <a:lnTo>
                      <a:pt x="69508" y="134900"/>
                    </a:lnTo>
                    <a:lnTo>
                      <a:pt x="105769" y="148293"/>
                    </a:lnTo>
                    <a:lnTo>
                      <a:pt x="100145" y="131728"/>
                    </a:lnTo>
                    <a:lnTo>
                      <a:pt x="120838" y="106621"/>
                    </a:lnTo>
                    <a:lnTo>
                      <a:pt x="114985" y="37605"/>
                    </a:lnTo>
                    <a:lnTo>
                      <a:pt x="128935" y="15892"/>
                    </a:lnTo>
                    <a:lnTo>
                      <a:pt x="183105" y="-157"/>
                    </a:lnTo>
                    <a:lnTo>
                      <a:pt x="187045" y="16016"/>
                    </a:lnTo>
                    <a:lnTo>
                      <a:pt x="234318" y="25583"/>
                    </a:lnTo>
                    <a:lnTo>
                      <a:pt x="239755" y="45962"/>
                    </a:lnTo>
                    <a:lnTo>
                      <a:pt x="259239" y="35229"/>
                    </a:lnTo>
                    <a:lnTo>
                      <a:pt x="298590" y="84881"/>
                    </a:lnTo>
                    <a:lnTo>
                      <a:pt x="329462" y="51462"/>
                    </a:lnTo>
                    <a:lnTo>
                      <a:pt x="376107" y="59889"/>
                    </a:lnTo>
                    <a:lnTo>
                      <a:pt x="369158" y="140977"/>
                    </a:lnTo>
                    <a:lnTo>
                      <a:pt x="358027" y="144984"/>
                    </a:lnTo>
                    <a:lnTo>
                      <a:pt x="397806" y="173117"/>
                    </a:lnTo>
                    <a:lnTo>
                      <a:pt x="403479" y="224828"/>
                    </a:lnTo>
                    <a:lnTo>
                      <a:pt x="419693" y="220153"/>
                    </a:lnTo>
                    <a:lnTo>
                      <a:pt x="435595" y="248227"/>
                    </a:lnTo>
                    <a:lnTo>
                      <a:pt x="461070" y="246230"/>
                    </a:lnTo>
                    <a:lnTo>
                      <a:pt x="500288" y="280123"/>
                    </a:lnTo>
                    <a:lnTo>
                      <a:pt x="491678" y="316801"/>
                    </a:lnTo>
                    <a:lnTo>
                      <a:pt x="502167" y="329228"/>
                    </a:lnTo>
                    <a:lnTo>
                      <a:pt x="550869" y="346740"/>
                    </a:lnTo>
                    <a:lnTo>
                      <a:pt x="543687" y="366686"/>
                    </a:lnTo>
                    <a:lnTo>
                      <a:pt x="568811" y="422691"/>
                    </a:lnTo>
                    <a:lnTo>
                      <a:pt x="551365" y="438097"/>
                    </a:lnTo>
                    <a:lnTo>
                      <a:pt x="516098" y="420902"/>
                    </a:lnTo>
                    <a:lnTo>
                      <a:pt x="504998" y="455344"/>
                    </a:lnTo>
                    <a:lnTo>
                      <a:pt x="302233" y="412564"/>
                    </a:lnTo>
                    <a:lnTo>
                      <a:pt x="307579" y="399191"/>
                    </a:lnTo>
                    <a:lnTo>
                      <a:pt x="280970" y="404424"/>
                    </a:lnTo>
                    <a:lnTo>
                      <a:pt x="264076" y="386889"/>
                    </a:lnTo>
                    <a:lnTo>
                      <a:pt x="258969" y="399117"/>
                    </a:lnTo>
                    <a:lnTo>
                      <a:pt x="233851" y="390797"/>
                    </a:lnTo>
                    <a:lnTo>
                      <a:pt x="219065" y="419500"/>
                    </a:lnTo>
                    <a:lnTo>
                      <a:pt x="175793" y="384887"/>
                    </a:lnTo>
                    <a:lnTo>
                      <a:pt x="118686" y="369844"/>
                    </a:lnTo>
                    <a:lnTo>
                      <a:pt x="108942" y="382400"/>
                    </a:lnTo>
                    <a:lnTo>
                      <a:pt x="101102" y="365205"/>
                    </a:lnTo>
                    <a:lnTo>
                      <a:pt x="60943" y="356899"/>
                    </a:lnTo>
                    <a:lnTo>
                      <a:pt x="51149" y="326763"/>
                    </a:lnTo>
                    <a:lnTo>
                      <a:pt x="83157" y="305998"/>
                    </a:lnTo>
                    <a:lnTo>
                      <a:pt x="87899" y="280776"/>
                    </a:lnTo>
                    <a:lnTo>
                      <a:pt x="41051" y="266931"/>
                    </a:lnTo>
                    <a:lnTo>
                      <a:pt x="40885" y="247937"/>
                    </a:lnTo>
                    <a:lnTo>
                      <a:pt x="-666" y="232718"/>
                    </a:lnTo>
                    <a:lnTo>
                      <a:pt x="19315" y="180214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" name="Челябинская область">
                <a:extLst>
                  <a:ext uri="{FF2B5EF4-FFF2-40B4-BE49-F238E27FC236}">
                    <a16:creationId xmlns:a16="http://schemas.microsoft.com/office/drawing/2014/main" id="{B6356F5E-D6E2-4F42-ACA8-EDC92B5C489E}"/>
                  </a:ext>
                </a:extLst>
              </p:cNvPr>
              <p:cNvSpPr/>
              <p:nvPr/>
            </p:nvSpPr>
            <p:spPr>
              <a:xfrm>
                <a:off x="2955581" y="4095693"/>
                <a:ext cx="563951" cy="625371"/>
              </a:xfrm>
              <a:custGeom>
                <a:avLst/>
                <a:gdLst>
                  <a:gd name="connsiteX0" fmla="*/ 106756 w 563951"/>
                  <a:gd name="connsiteY0" fmla="*/ 62326 h 625371"/>
                  <a:gd name="connsiteX1" fmla="*/ 131291 w 563951"/>
                  <a:gd name="connsiteY1" fmla="*/ 45075 h 625371"/>
                  <a:gd name="connsiteX2" fmla="*/ 158202 w 563951"/>
                  <a:gd name="connsiteY2" fmla="*/ 50338 h 625371"/>
                  <a:gd name="connsiteX3" fmla="*/ 191302 w 563951"/>
                  <a:gd name="connsiteY3" fmla="*/ 96892 h 625371"/>
                  <a:gd name="connsiteX4" fmla="*/ 175390 w 563951"/>
                  <a:gd name="connsiteY4" fmla="*/ 96675 h 625371"/>
                  <a:gd name="connsiteX5" fmla="*/ 154850 w 563951"/>
                  <a:gd name="connsiteY5" fmla="*/ 129565 h 625371"/>
                  <a:gd name="connsiteX6" fmla="*/ 197731 w 563951"/>
                  <a:gd name="connsiteY6" fmla="*/ 108727 h 625371"/>
                  <a:gd name="connsiteX7" fmla="*/ 195843 w 563951"/>
                  <a:gd name="connsiteY7" fmla="*/ 140334 h 625371"/>
                  <a:gd name="connsiteX8" fmla="*/ 213589 w 563951"/>
                  <a:gd name="connsiteY8" fmla="*/ 157667 h 625371"/>
                  <a:gd name="connsiteX9" fmla="*/ 228253 w 563951"/>
                  <a:gd name="connsiteY9" fmla="*/ 152076 h 625371"/>
                  <a:gd name="connsiteX10" fmla="*/ 219130 w 563951"/>
                  <a:gd name="connsiteY10" fmla="*/ 125149 h 625371"/>
                  <a:gd name="connsiteX11" fmla="*/ 232644 w 563951"/>
                  <a:gd name="connsiteY11" fmla="*/ 133685 h 625371"/>
                  <a:gd name="connsiteX12" fmla="*/ 239303 w 563951"/>
                  <a:gd name="connsiteY12" fmla="*/ 116397 h 625371"/>
                  <a:gd name="connsiteX13" fmla="*/ 258197 w 563951"/>
                  <a:gd name="connsiteY13" fmla="*/ 120244 h 625371"/>
                  <a:gd name="connsiteX14" fmla="*/ 256895 w 563951"/>
                  <a:gd name="connsiteY14" fmla="*/ 134044 h 625371"/>
                  <a:gd name="connsiteX15" fmla="*/ 290402 w 563951"/>
                  <a:gd name="connsiteY15" fmla="*/ 115014 h 625371"/>
                  <a:gd name="connsiteX16" fmla="*/ 335623 w 563951"/>
                  <a:gd name="connsiteY16" fmla="*/ 121609 h 625371"/>
                  <a:gd name="connsiteX17" fmla="*/ 304964 w 563951"/>
                  <a:gd name="connsiteY17" fmla="*/ 103511 h 625371"/>
                  <a:gd name="connsiteX18" fmla="*/ 325887 w 563951"/>
                  <a:gd name="connsiteY18" fmla="*/ 82633 h 625371"/>
                  <a:gd name="connsiteX19" fmla="*/ 316933 w 563951"/>
                  <a:gd name="connsiteY19" fmla="*/ 66868 h 625371"/>
                  <a:gd name="connsiteX20" fmla="*/ 360641 w 563951"/>
                  <a:gd name="connsiteY20" fmla="*/ 31968 h 625371"/>
                  <a:gd name="connsiteX21" fmla="*/ 341137 w 563951"/>
                  <a:gd name="connsiteY21" fmla="*/ 12261 h 625371"/>
                  <a:gd name="connsiteX22" fmla="*/ 351984 w 563951"/>
                  <a:gd name="connsiteY22" fmla="*/ 19282 h 625371"/>
                  <a:gd name="connsiteX23" fmla="*/ 364254 w 563951"/>
                  <a:gd name="connsiteY23" fmla="*/ -157 h 625371"/>
                  <a:gd name="connsiteX24" fmla="*/ 429726 w 563951"/>
                  <a:gd name="connsiteY24" fmla="*/ 69468 h 625371"/>
                  <a:gd name="connsiteX25" fmla="*/ 470985 w 563951"/>
                  <a:gd name="connsiteY25" fmla="*/ 75285 h 625371"/>
                  <a:gd name="connsiteX26" fmla="*/ 461312 w 563951"/>
                  <a:gd name="connsiteY26" fmla="*/ 86716 h 625371"/>
                  <a:gd name="connsiteX27" fmla="*/ 491369 w 563951"/>
                  <a:gd name="connsiteY27" fmla="*/ 111663 h 625371"/>
                  <a:gd name="connsiteX28" fmla="*/ 506660 w 563951"/>
                  <a:gd name="connsiteY28" fmla="*/ 89698 h 625371"/>
                  <a:gd name="connsiteX29" fmla="*/ 530422 w 563951"/>
                  <a:gd name="connsiteY29" fmla="*/ 104301 h 625371"/>
                  <a:gd name="connsiteX30" fmla="*/ 563285 w 563951"/>
                  <a:gd name="connsiteY30" fmla="*/ 167549 h 625371"/>
                  <a:gd name="connsiteX31" fmla="*/ 548699 w 563951"/>
                  <a:gd name="connsiteY31" fmla="*/ 272267 h 625371"/>
                  <a:gd name="connsiteX32" fmla="*/ 512438 w 563951"/>
                  <a:gd name="connsiteY32" fmla="*/ 258873 h 625371"/>
                  <a:gd name="connsiteX33" fmla="*/ 508023 w 563951"/>
                  <a:gd name="connsiteY33" fmla="*/ 275896 h 625371"/>
                  <a:gd name="connsiteX34" fmla="*/ 491840 w 563951"/>
                  <a:gd name="connsiteY34" fmla="*/ 272286 h 625371"/>
                  <a:gd name="connsiteX35" fmla="*/ 490378 w 563951"/>
                  <a:gd name="connsiteY35" fmla="*/ 312373 h 625371"/>
                  <a:gd name="connsiteX36" fmla="*/ 476389 w 563951"/>
                  <a:gd name="connsiteY36" fmla="*/ 319991 h 625371"/>
                  <a:gd name="connsiteX37" fmla="*/ 462244 w 563951"/>
                  <a:gd name="connsiteY37" fmla="*/ 304186 h 625371"/>
                  <a:gd name="connsiteX38" fmla="*/ 456530 w 563951"/>
                  <a:gd name="connsiteY38" fmla="*/ 340074 h 625371"/>
                  <a:gd name="connsiteX39" fmla="*/ 441462 w 563951"/>
                  <a:gd name="connsiteY39" fmla="*/ 347427 h 625371"/>
                  <a:gd name="connsiteX40" fmla="*/ 483813 w 563951"/>
                  <a:gd name="connsiteY40" fmla="*/ 371910 h 625371"/>
                  <a:gd name="connsiteX41" fmla="*/ 483980 w 563951"/>
                  <a:gd name="connsiteY41" fmla="*/ 390904 h 625371"/>
                  <a:gd name="connsiteX42" fmla="*/ 530828 w 563951"/>
                  <a:gd name="connsiteY42" fmla="*/ 404749 h 625371"/>
                  <a:gd name="connsiteX43" fmla="*/ 526085 w 563951"/>
                  <a:gd name="connsiteY43" fmla="*/ 429971 h 625371"/>
                  <a:gd name="connsiteX44" fmla="*/ 494236 w 563951"/>
                  <a:gd name="connsiteY44" fmla="*/ 449392 h 625371"/>
                  <a:gd name="connsiteX45" fmla="*/ 503784 w 563951"/>
                  <a:gd name="connsiteY45" fmla="*/ 478705 h 625371"/>
                  <a:gd name="connsiteX46" fmla="*/ 434376 w 563951"/>
                  <a:gd name="connsiteY46" fmla="*/ 461292 h 625371"/>
                  <a:gd name="connsiteX47" fmla="*/ 415500 w 563951"/>
                  <a:gd name="connsiteY47" fmla="*/ 479056 h 625371"/>
                  <a:gd name="connsiteX48" fmla="*/ 418494 w 563951"/>
                  <a:gd name="connsiteY48" fmla="*/ 456601 h 625371"/>
                  <a:gd name="connsiteX49" fmla="*/ 386144 w 563951"/>
                  <a:gd name="connsiteY49" fmla="*/ 438568 h 625371"/>
                  <a:gd name="connsiteX50" fmla="*/ 372570 w 563951"/>
                  <a:gd name="connsiteY50" fmla="*/ 446691 h 625371"/>
                  <a:gd name="connsiteX51" fmla="*/ 372419 w 563951"/>
                  <a:gd name="connsiteY51" fmla="*/ 431758 h 625371"/>
                  <a:gd name="connsiteX52" fmla="*/ 345928 w 563951"/>
                  <a:gd name="connsiteY52" fmla="*/ 427168 h 625371"/>
                  <a:gd name="connsiteX53" fmla="*/ 342725 w 563951"/>
                  <a:gd name="connsiteY53" fmla="*/ 403618 h 625371"/>
                  <a:gd name="connsiteX54" fmla="*/ 326253 w 563951"/>
                  <a:gd name="connsiteY54" fmla="*/ 402401 h 625371"/>
                  <a:gd name="connsiteX55" fmla="*/ 319959 w 563951"/>
                  <a:gd name="connsiteY55" fmla="*/ 418468 h 625371"/>
                  <a:gd name="connsiteX56" fmla="*/ 298579 w 563951"/>
                  <a:gd name="connsiteY56" fmla="*/ 403903 h 625371"/>
                  <a:gd name="connsiteX57" fmla="*/ 304941 w 563951"/>
                  <a:gd name="connsiteY57" fmla="*/ 433592 h 625371"/>
                  <a:gd name="connsiteX58" fmla="*/ 265618 w 563951"/>
                  <a:gd name="connsiteY58" fmla="*/ 439964 h 625371"/>
                  <a:gd name="connsiteX59" fmla="*/ 311567 w 563951"/>
                  <a:gd name="connsiteY59" fmla="*/ 486997 h 625371"/>
                  <a:gd name="connsiteX60" fmla="*/ 283842 w 563951"/>
                  <a:gd name="connsiteY60" fmla="*/ 473254 h 625371"/>
                  <a:gd name="connsiteX61" fmla="*/ 261262 w 563951"/>
                  <a:gd name="connsiteY61" fmla="*/ 495406 h 625371"/>
                  <a:gd name="connsiteX62" fmla="*/ 296840 w 563951"/>
                  <a:gd name="connsiteY62" fmla="*/ 525500 h 625371"/>
                  <a:gd name="connsiteX63" fmla="*/ 319924 w 563951"/>
                  <a:gd name="connsiteY63" fmla="*/ 567508 h 625371"/>
                  <a:gd name="connsiteX64" fmla="*/ 310999 w 563951"/>
                  <a:gd name="connsiteY64" fmla="*/ 584438 h 625371"/>
                  <a:gd name="connsiteX65" fmla="*/ 220528 w 563951"/>
                  <a:gd name="connsiteY65" fmla="*/ 531150 h 625371"/>
                  <a:gd name="connsiteX66" fmla="*/ 171107 w 563951"/>
                  <a:gd name="connsiteY66" fmla="*/ 558273 h 625371"/>
                  <a:gd name="connsiteX67" fmla="*/ 173371 w 563951"/>
                  <a:gd name="connsiteY67" fmla="*/ 617581 h 625371"/>
                  <a:gd name="connsiteX68" fmla="*/ 129246 w 563951"/>
                  <a:gd name="connsiteY68" fmla="*/ 625215 h 625371"/>
                  <a:gd name="connsiteX69" fmla="*/ 57971 w 563951"/>
                  <a:gd name="connsiteY69" fmla="*/ 609984 h 625371"/>
                  <a:gd name="connsiteX70" fmla="*/ 57734 w 563951"/>
                  <a:gd name="connsiteY70" fmla="*/ 593344 h 625371"/>
                  <a:gd name="connsiteX71" fmla="*/ 94264 w 563951"/>
                  <a:gd name="connsiteY71" fmla="*/ 583817 h 625371"/>
                  <a:gd name="connsiteX72" fmla="*/ 105130 w 563951"/>
                  <a:gd name="connsiteY72" fmla="*/ 564895 h 625371"/>
                  <a:gd name="connsiteX73" fmla="*/ 40771 w 563951"/>
                  <a:gd name="connsiteY73" fmla="*/ 507601 h 625371"/>
                  <a:gd name="connsiteX74" fmla="*/ 15192 w 563951"/>
                  <a:gd name="connsiteY74" fmla="*/ 529463 h 625371"/>
                  <a:gd name="connsiteX75" fmla="*/ 14955 w 563951"/>
                  <a:gd name="connsiteY75" fmla="*/ 501624 h 625371"/>
                  <a:gd name="connsiteX76" fmla="*/ -666 w 563951"/>
                  <a:gd name="connsiteY76" fmla="*/ 489899 h 625371"/>
                  <a:gd name="connsiteX77" fmla="*/ 11295 w 563951"/>
                  <a:gd name="connsiteY77" fmla="*/ 464296 h 625371"/>
                  <a:gd name="connsiteX78" fmla="*/ 53904 w 563951"/>
                  <a:gd name="connsiteY78" fmla="*/ 415342 h 625371"/>
                  <a:gd name="connsiteX79" fmla="*/ 66900 w 563951"/>
                  <a:gd name="connsiteY79" fmla="*/ 421660 h 625371"/>
                  <a:gd name="connsiteX80" fmla="*/ 97335 w 563951"/>
                  <a:gd name="connsiteY80" fmla="*/ 345831 h 625371"/>
                  <a:gd name="connsiteX81" fmla="*/ 137535 w 563951"/>
                  <a:gd name="connsiteY81" fmla="*/ 301611 h 625371"/>
                  <a:gd name="connsiteX82" fmla="*/ 158931 w 563951"/>
                  <a:gd name="connsiteY82" fmla="*/ 308132 h 625371"/>
                  <a:gd name="connsiteX83" fmla="*/ 191352 w 563951"/>
                  <a:gd name="connsiteY83" fmla="*/ 288776 h 625371"/>
                  <a:gd name="connsiteX84" fmla="*/ 216534 w 563951"/>
                  <a:gd name="connsiteY84" fmla="*/ 313793 h 625371"/>
                  <a:gd name="connsiteX85" fmla="*/ 240917 w 563951"/>
                  <a:gd name="connsiteY85" fmla="*/ 265999 h 625371"/>
                  <a:gd name="connsiteX86" fmla="*/ 299865 w 563951"/>
                  <a:gd name="connsiteY86" fmla="*/ 233552 h 625371"/>
                  <a:gd name="connsiteX87" fmla="*/ 274627 w 563951"/>
                  <a:gd name="connsiteY87" fmla="*/ 209448 h 625371"/>
                  <a:gd name="connsiteX88" fmla="*/ 223127 w 563951"/>
                  <a:gd name="connsiteY88" fmla="*/ 230631 h 625371"/>
                  <a:gd name="connsiteX89" fmla="*/ 211324 w 563951"/>
                  <a:gd name="connsiteY89" fmla="*/ 215723 h 625371"/>
                  <a:gd name="connsiteX90" fmla="*/ 160642 w 563951"/>
                  <a:gd name="connsiteY90" fmla="*/ 217605 h 625371"/>
                  <a:gd name="connsiteX91" fmla="*/ 152719 w 563951"/>
                  <a:gd name="connsiteY91" fmla="*/ 193332 h 625371"/>
                  <a:gd name="connsiteX92" fmla="*/ 108402 w 563951"/>
                  <a:gd name="connsiteY92" fmla="*/ 194063 h 625371"/>
                  <a:gd name="connsiteX93" fmla="*/ 86637 w 563951"/>
                  <a:gd name="connsiteY93" fmla="*/ 92499 h 625371"/>
                  <a:gd name="connsiteX94" fmla="*/ 104510 w 563951"/>
                  <a:gd name="connsiteY94" fmla="*/ 85597 h 625371"/>
                  <a:gd name="connsiteX95" fmla="*/ 106750 w 563951"/>
                  <a:gd name="connsiteY95" fmla="*/ 62325 h 625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563951" h="625371">
                    <a:moveTo>
                      <a:pt x="106756" y="62326"/>
                    </a:moveTo>
                    <a:lnTo>
                      <a:pt x="131291" y="45075"/>
                    </a:lnTo>
                    <a:lnTo>
                      <a:pt x="158202" y="50338"/>
                    </a:lnTo>
                    <a:lnTo>
                      <a:pt x="191302" y="96892"/>
                    </a:lnTo>
                    <a:lnTo>
                      <a:pt x="175390" y="96675"/>
                    </a:lnTo>
                    <a:lnTo>
                      <a:pt x="154850" y="129565"/>
                    </a:lnTo>
                    <a:lnTo>
                      <a:pt x="197731" y="108727"/>
                    </a:lnTo>
                    <a:lnTo>
                      <a:pt x="195843" y="140334"/>
                    </a:lnTo>
                    <a:lnTo>
                      <a:pt x="213589" y="157667"/>
                    </a:lnTo>
                    <a:lnTo>
                      <a:pt x="228253" y="152076"/>
                    </a:lnTo>
                    <a:lnTo>
                      <a:pt x="219130" y="125149"/>
                    </a:lnTo>
                    <a:lnTo>
                      <a:pt x="232644" y="133685"/>
                    </a:lnTo>
                    <a:lnTo>
                      <a:pt x="239303" y="116397"/>
                    </a:lnTo>
                    <a:lnTo>
                      <a:pt x="258197" y="120244"/>
                    </a:lnTo>
                    <a:lnTo>
                      <a:pt x="256895" y="134044"/>
                    </a:lnTo>
                    <a:lnTo>
                      <a:pt x="290402" y="115014"/>
                    </a:lnTo>
                    <a:lnTo>
                      <a:pt x="335623" y="121609"/>
                    </a:lnTo>
                    <a:lnTo>
                      <a:pt x="304964" y="103511"/>
                    </a:lnTo>
                    <a:lnTo>
                      <a:pt x="325887" y="82633"/>
                    </a:lnTo>
                    <a:lnTo>
                      <a:pt x="316933" y="66868"/>
                    </a:lnTo>
                    <a:lnTo>
                      <a:pt x="360641" y="31968"/>
                    </a:lnTo>
                    <a:lnTo>
                      <a:pt x="341137" y="12261"/>
                    </a:lnTo>
                    <a:lnTo>
                      <a:pt x="351984" y="19282"/>
                    </a:lnTo>
                    <a:lnTo>
                      <a:pt x="364254" y="-157"/>
                    </a:lnTo>
                    <a:lnTo>
                      <a:pt x="429726" y="69468"/>
                    </a:lnTo>
                    <a:lnTo>
                      <a:pt x="470985" y="75285"/>
                    </a:lnTo>
                    <a:lnTo>
                      <a:pt x="461312" y="86716"/>
                    </a:lnTo>
                    <a:lnTo>
                      <a:pt x="491369" y="111663"/>
                    </a:lnTo>
                    <a:lnTo>
                      <a:pt x="506660" y="89698"/>
                    </a:lnTo>
                    <a:lnTo>
                      <a:pt x="530422" y="104301"/>
                    </a:lnTo>
                    <a:lnTo>
                      <a:pt x="563285" y="167549"/>
                    </a:lnTo>
                    <a:lnTo>
                      <a:pt x="548699" y="272267"/>
                    </a:lnTo>
                    <a:lnTo>
                      <a:pt x="512438" y="258873"/>
                    </a:lnTo>
                    <a:lnTo>
                      <a:pt x="508023" y="275896"/>
                    </a:lnTo>
                    <a:lnTo>
                      <a:pt x="491840" y="272286"/>
                    </a:lnTo>
                    <a:lnTo>
                      <a:pt x="490378" y="312373"/>
                    </a:lnTo>
                    <a:lnTo>
                      <a:pt x="476389" y="319991"/>
                    </a:lnTo>
                    <a:lnTo>
                      <a:pt x="462244" y="304186"/>
                    </a:lnTo>
                    <a:lnTo>
                      <a:pt x="456530" y="340074"/>
                    </a:lnTo>
                    <a:lnTo>
                      <a:pt x="441462" y="347427"/>
                    </a:lnTo>
                    <a:lnTo>
                      <a:pt x="483813" y="371910"/>
                    </a:lnTo>
                    <a:lnTo>
                      <a:pt x="483980" y="390904"/>
                    </a:lnTo>
                    <a:lnTo>
                      <a:pt x="530828" y="404749"/>
                    </a:lnTo>
                    <a:lnTo>
                      <a:pt x="526085" y="429971"/>
                    </a:lnTo>
                    <a:lnTo>
                      <a:pt x="494236" y="449392"/>
                    </a:lnTo>
                    <a:lnTo>
                      <a:pt x="503784" y="478705"/>
                    </a:lnTo>
                    <a:lnTo>
                      <a:pt x="434376" y="461292"/>
                    </a:lnTo>
                    <a:lnTo>
                      <a:pt x="415500" y="479056"/>
                    </a:lnTo>
                    <a:lnTo>
                      <a:pt x="418494" y="456601"/>
                    </a:lnTo>
                    <a:lnTo>
                      <a:pt x="386144" y="438568"/>
                    </a:lnTo>
                    <a:lnTo>
                      <a:pt x="372570" y="446691"/>
                    </a:lnTo>
                    <a:lnTo>
                      <a:pt x="372419" y="431758"/>
                    </a:lnTo>
                    <a:lnTo>
                      <a:pt x="345928" y="427168"/>
                    </a:lnTo>
                    <a:lnTo>
                      <a:pt x="342725" y="403618"/>
                    </a:lnTo>
                    <a:lnTo>
                      <a:pt x="326253" y="402401"/>
                    </a:lnTo>
                    <a:lnTo>
                      <a:pt x="319959" y="418468"/>
                    </a:lnTo>
                    <a:lnTo>
                      <a:pt x="298579" y="403903"/>
                    </a:lnTo>
                    <a:lnTo>
                      <a:pt x="304941" y="433592"/>
                    </a:lnTo>
                    <a:lnTo>
                      <a:pt x="265618" y="439964"/>
                    </a:lnTo>
                    <a:lnTo>
                      <a:pt x="311567" y="486997"/>
                    </a:lnTo>
                    <a:lnTo>
                      <a:pt x="283842" y="473254"/>
                    </a:lnTo>
                    <a:lnTo>
                      <a:pt x="261262" y="495406"/>
                    </a:lnTo>
                    <a:lnTo>
                      <a:pt x="296840" y="525500"/>
                    </a:lnTo>
                    <a:lnTo>
                      <a:pt x="319924" y="567508"/>
                    </a:lnTo>
                    <a:lnTo>
                      <a:pt x="310999" y="584438"/>
                    </a:lnTo>
                    <a:lnTo>
                      <a:pt x="220528" y="531150"/>
                    </a:lnTo>
                    <a:lnTo>
                      <a:pt x="171107" y="558273"/>
                    </a:lnTo>
                    <a:lnTo>
                      <a:pt x="173371" y="617581"/>
                    </a:lnTo>
                    <a:lnTo>
                      <a:pt x="129246" y="625215"/>
                    </a:lnTo>
                    <a:lnTo>
                      <a:pt x="57971" y="609984"/>
                    </a:lnTo>
                    <a:lnTo>
                      <a:pt x="57734" y="593344"/>
                    </a:lnTo>
                    <a:lnTo>
                      <a:pt x="94264" y="583817"/>
                    </a:lnTo>
                    <a:lnTo>
                      <a:pt x="105130" y="564895"/>
                    </a:lnTo>
                    <a:lnTo>
                      <a:pt x="40771" y="507601"/>
                    </a:lnTo>
                    <a:lnTo>
                      <a:pt x="15192" y="529463"/>
                    </a:lnTo>
                    <a:lnTo>
                      <a:pt x="14955" y="501624"/>
                    </a:lnTo>
                    <a:lnTo>
                      <a:pt x="-666" y="489899"/>
                    </a:lnTo>
                    <a:lnTo>
                      <a:pt x="11295" y="464296"/>
                    </a:lnTo>
                    <a:lnTo>
                      <a:pt x="53904" y="415342"/>
                    </a:lnTo>
                    <a:lnTo>
                      <a:pt x="66900" y="421660"/>
                    </a:lnTo>
                    <a:lnTo>
                      <a:pt x="97335" y="345831"/>
                    </a:lnTo>
                    <a:lnTo>
                      <a:pt x="137535" y="301611"/>
                    </a:lnTo>
                    <a:lnTo>
                      <a:pt x="158931" y="308132"/>
                    </a:lnTo>
                    <a:lnTo>
                      <a:pt x="191352" y="288776"/>
                    </a:lnTo>
                    <a:lnTo>
                      <a:pt x="216534" y="313793"/>
                    </a:lnTo>
                    <a:lnTo>
                      <a:pt x="240917" y="265999"/>
                    </a:lnTo>
                    <a:lnTo>
                      <a:pt x="299865" y="233552"/>
                    </a:lnTo>
                    <a:lnTo>
                      <a:pt x="274627" y="209448"/>
                    </a:lnTo>
                    <a:lnTo>
                      <a:pt x="223127" y="230631"/>
                    </a:lnTo>
                    <a:lnTo>
                      <a:pt x="211324" y="215723"/>
                    </a:lnTo>
                    <a:lnTo>
                      <a:pt x="160642" y="217605"/>
                    </a:lnTo>
                    <a:lnTo>
                      <a:pt x="152719" y="193332"/>
                    </a:lnTo>
                    <a:lnTo>
                      <a:pt x="108402" y="194063"/>
                    </a:lnTo>
                    <a:lnTo>
                      <a:pt x="86637" y="92499"/>
                    </a:lnTo>
                    <a:lnTo>
                      <a:pt x="104510" y="85597"/>
                    </a:lnTo>
                    <a:lnTo>
                      <a:pt x="106750" y="62325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0" name="Свердловская область">
                <a:extLst>
                  <a:ext uri="{FF2B5EF4-FFF2-40B4-BE49-F238E27FC236}">
                    <a16:creationId xmlns:a16="http://schemas.microsoft.com/office/drawing/2014/main" id="{DAFD8FE7-1DB3-4A63-B9C5-BEC36C986E38}"/>
                  </a:ext>
                </a:extLst>
              </p:cNvPr>
              <p:cNvSpPr/>
              <p:nvPr/>
            </p:nvSpPr>
            <p:spPr>
              <a:xfrm>
                <a:off x="3185098" y="3380073"/>
                <a:ext cx="803013" cy="924631"/>
              </a:xfrm>
              <a:custGeom>
                <a:avLst/>
                <a:gdLst>
                  <a:gd name="connsiteX0" fmla="*/ 42662 w 803013"/>
                  <a:gd name="connsiteY0" fmla="*/ 556822 h 924631"/>
                  <a:gd name="connsiteX1" fmla="*/ 118338 w 803013"/>
                  <a:gd name="connsiteY1" fmla="*/ 572478 h 924631"/>
                  <a:gd name="connsiteX2" fmla="*/ 165022 w 803013"/>
                  <a:gd name="connsiteY2" fmla="*/ 498289 h 924631"/>
                  <a:gd name="connsiteX3" fmla="*/ 199160 w 803013"/>
                  <a:gd name="connsiteY3" fmla="*/ 509682 h 924631"/>
                  <a:gd name="connsiteX4" fmla="*/ 195822 w 803013"/>
                  <a:gd name="connsiteY4" fmla="*/ 528079 h 924631"/>
                  <a:gd name="connsiteX5" fmla="*/ 231290 w 803013"/>
                  <a:gd name="connsiteY5" fmla="*/ 521479 h 924631"/>
                  <a:gd name="connsiteX6" fmla="*/ 240742 w 803013"/>
                  <a:gd name="connsiteY6" fmla="*/ 468608 h 924631"/>
                  <a:gd name="connsiteX7" fmla="*/ 337436 w 803013"/>
                  <a:gd name="connsiteY7" fmla="*/ 451055 h 924631"/>
                  <a:gd name="connsiteX8" fmla="*/ 353330 w 803013"/>
                  <a:gd name="connsiteY8" fmla="*/ 418614 h 924631"/>
                  <a:gd name="connsiteX9" fmla="*/ 339213 w 803013"/>
                  <a:gd name="connsiteY9" fmla="*/ 397068 h 924631"/>
                  <a:gd name="connsiteX10" fmla="*/ 377353 w 803013"/>
                  <a:gd name="connsiteY10" fmla="*/ 352518 h 924631"/>
                  <a:gd name="connsiteX11" fmla="*/ 349707 w 803013"/>
                  <a:gd name="connsiteY11" fmla="*/ 274567 h 924631"/>
                  <a:gd name="connsiteX12" fmla="*/ 378835 w 803013"/>
                  <a:gd name="connsiteY12" fmla="*/ 247775 h 924631"/>
                  <a:gd name="connsiteX13" fmla="*/ 421400 w 803013"/>
                  <a:gd name="connsiteY13" fmla="*/ 234961 h 924631"/>
                  <a:gd name="connsiteX14" fmla="*/ 429012 w 803013"/>
                  <a:gd name="connsiteY14" fmla="*/ 244580 h 924631"/>
                  <a:gd name="connsiteX15" fmla="*/ 516171 w 803013"/>
                  <a:gd name="connsiteY15" fmla="*/ 172027 h 924631"/>
                  <a:gd name="connsiteX16" fmla="*/ 612395 w 803013"/>
                  <a:gd name="connsiteY16" fmla="*/ 11778 h 924631"/>
                  <a:gd name="connsiteX17" fmla="*/ 632573 w 803013"/>
                  <a:gd name="connsiteY17" fmla="*/ -157 h 924631"/>
                  <a:gd name="connsiteX18" fmla="*/ 648171 w 803013"/>
                  <a:gd name="connsiteY18" fmla="*/ 11269 h 924631"/>
                  <a:gd name="connsiteX19" fmla="*/ 659936 w 803013"/>
                  <a:gd name="connsiteY19" fmla="*/ 27852 h 924631"/>
                  <a:gd name="connsiteX20" fmla="*/ 647134 w 803013"/>
                  <a:gd name="connsiteY20" fmla="*/ 49801 h 924631"/>
                  <a:gd name="connsiteX21" fmla="*/ 718130 w 803013"/>
                  <a:gd name="connsiteY21" fmla="*/ 104780 h 924631"/>
                  <a:gd name="connsiteX22" fmla="*/ 771238 w 803013"/>
                  <a:gd name="connsiteY22" fmla="*/ 226699 h 924631"/>
                  <a:gd name="connsiteX23" fmla="*/ 732025 w 803013"/>
                  <a:gd name="connsiteY23" fmla="*/ 374622 h 924631"/>
                  <a:gd name="connsiteX24" fmla="*/ 753785 w 803013"/>
                  <a:gd name="connsiteY24" fmla="*/ 402754 h 924631"/>
                  <a:gd name="connsiteX25" fmla="*/ 719930 w 803013"/>
                  <a:gd name="connsiteY25" fmla="*/ 504811 h 924631"/>
                  <a:gd name="connsiteX26" fmla="*/ 791672 w 803013"/>
                  <a:gd name="connsiteY26" fmla="*/ 571608 h 924631"/>
                  <a:gd name="connsiteX27" fmla="*/ 784505 w 803013"/>
                  <a:gd name="connsiteY27" fmla="*/ 683141 h 924631"/>
                  <a:gd name="connsiteX28" fmla="*/ 802347 w 803013"/>
                  <a:gd name="connsiteY28" fmla="*/ 700354 h 924631"/>
                  <a:gd name="connsiteX29" fmla="*/ 775478 w 803013"/>
                  <a:gd name="connsiteY29" fmla="*/ 792562 h 924631"/>
                  <a:gd name="connsiteX30" fmla="*/ 729524 w 803013"/>
                  <a:gd name="connsiteY30" fmla="*/ 788258 h 924631"/>
                  <a:gd name="connsiteX31" fmla="*/ 707212 w 803013"/>
                  <a:gd name="connsiteY31" fmla="*/ 803947 h 924631"/>
                  <a:gd name="connsiteX32" fmla="*/ 706840 w 803013"/>
                  <a:gd name="connsiteY32" fmla="*/ 786801 h 924631"/>
                  <a:gd name="connsiteX33" fmla="*/ 650173 w 803013"/>
                  <a:gd name="connsiteY33" fmla="*/ 789480 h 924631"/>
                  <a:gd name="connsiteX34" fmla="*/ 656242 w 803013"/>
                  <a:gd name="connsiteY34" fmla="*/ 806803 h 924631"/>
                  <a:gd name="connsiteX35" fmla="*/ 623099 w 803013"/>
                  <a:gd name="connsiteY35" fmla="*/ 837759 h 924631"/>
                  <a:gd name="connsiteX36" fmla="*/ 631769 w 803013"/>
                  <a:gd name="connsiteY36" fmla="*/ 853045 h 924631"/>
                  <a:gd name="connsiteX37" fmla="*/ 612108 w 803013"/>
                  <a:gd name="connsiteY37" fmla="*/ 889839 h 924631"/>
                  <a:gd name="connsiteX38" fmla="*/ 626849 w 803013"/>
                  <a:gd name="connsiteY38" fmla="*/ 905951 h 924631"/>
                  <a:gd name="connsiteX39" fmla="*/ 608992 w 803013"/>
                  <a:gd name="connsiteY39" fmla="*/ 924012 h 924631"/>
                  <a:gd name="connsiteX40" fmla="*/ 589522 w 803013"/>
                  <a:gd name="connsiteY40" fmla="*/ 899483 h 924631"/>
                  <a:gd name="connsiteX41" fmla="*/ 545649 w 803013"/>
                  <a:gd name="connsiteY41" fmla="*/ 890465 h 924631"/>
                  <a:gd name="connsiteX42" fmla="*/ 512004 w 803013"/>
                  <a:gd name="connsiteY42" fmla="*/ 924475 h 924631"/>
                  <a:gd name="connsiteX43" fmla="*/ 472654 w 803013"/>
                  <a:gd name="connsiteY43" fmla="*/ 874823 h 924631"/>
                  <a:gd name="connsiteX44" fmla="*/ 453169 w 803013"/>
                  <a:gd name="connsiteY44" fmla="*/ 885556 h 924631"/>
                  <a:gd name="connsiteX45" fmla="*/ 447733 w 803013"/>
                  <a:gd name="connsiteY45" fmla="*/ 865177 h 924631"/>
                  <a:gd name="connsiteX46" fmla="*/ 400459 w 803013"/>
                  <a:gd name="connsiteY46" fmla="*/ 855610 h 924631"/>
                  <a:gd name="connsiteX47" fmla="*/ 396813 w 803013"/>
                  <a:gd name="connsiteY47" fmla="*/ 839486 h 924631"/>
                  <a:gd name="connsiteX48" fmla="*/ 342349 w 803013"/>
                  <a:gd name="connsiteY48" fmla="*/ 855486 h 924631"/>
                  <a:gd name="connsiteX49" fmla="*/ 328400 w 803013"/>
                  <a:gd name="connsiteY49" fmla="*/ 877199 h 924631"/>
                  <a:gd name="connsiteX50" fmla="*/ 300906 w 803013"/>
                  <a:gd name="connsiteY50" fmla="*/ 819922 h 924631"/>
                  <a:gd name="connsiteX51" fmla="*/ 277144 w 803013"/>
                  <a:gd name="connsiteY51" fmla="*/ 805319 h 924631"/>
                  <a:gd name="connsiteX52" fmla="*/ 261854 w 803013"/>
                  <a:gd name="connsiteY52" fmla="*/ 827284 h 924631"/>
                  <a:gd name="connsiteX53" fmla="*/ 231797 w 803013"/>
                  <a:gd name="connsiteY53" fmla="*/ 802337 h 924631"/>
                  <a:gd name="connsiteX54" fmla="*/ 241469 w 803013"/>
                  <a:gd name="connsiteY54" fmla="*/ 790906 h 924631"/>
                  <a:gd name="connsiteX55" fmla="*/ 199408 w 803013"/>
                  <a:gd name="connsiteY55" fmla="*/ 784455 h 924631"/>
                  <a:gd name="connsiteX56" fmla="*/ 139808 w 803013"/>
                  <a:gd name="connsiteY56" fmla="*/ 717094 h 924631"/>
                  <a:gd name="connsiteX57" fmla="*/ 90607 w 803013"/>
                  <a:gd name="connsiteY57" fmla="*/ 741001 h 924631"/>
                  <a:gd name="connsiteX58" fmla="*/ 76420 w 803013"/>
                  <a:gd name="connsiteY58" fmla="*/ 709128 h 924631"/>
                  <a:gd name="connsiteX59" fmla="*/ 55934 w 803013"/>
                  <a:gd name="connsiteY59" fmla="*/ 712400 h 924631"/>
                  <a:gd name="connsiteX60" fmla="*/ -666 w 803013"/>
                  <a:gd name="connsiteY60" fmla="*/ 672848 h 924631"/>
                  <a:gd name="connsiteX61" fmla="*/ 6939 w 803013"/>
                  <a:gd name="connsiteY61" fmla="*/ 620357 h 924631"/>
                  <a:gd name="connsiteX62" fmla="*/ 41349 w 803013"/>
                  <a:gd name="connsiteY62" fmla="*/ 589874 h 924631"/>
                  <a:gd name="connsiteX63" fmla="*/ 42662 w 803013"/>
                  <a:gd name="connsiteY63" fmla="*/ 556822 h 924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803013" h="924631">
                    <a:moveTo>
                      <a:pt x="42662" y="556822"/>
                    </a:moveTo>
                    <a:lnTo>
                      <a:pt x="118338" y="572478"/>
                    </a:lnTo>
                    <a:lnTo>
                      <a:pt x="165022" y="498289"/>
                    </a:lnTo>
                    <a:lnTo>
                      <a:pt x="199160" y="509682"/>
                    </a:lnTo>
                    <a:lnTo>
                      <a:pt x="195822" y="528079"/>
                    </a:lnTo>
                    <a:lnTo>
                      <a:pt x="231290" y="521479"/>
                    </a:lnTo>
                    <a:lnTo>
                      <a:pt x="240742" y="468608"/>
                    </a:lnTo>
                    <a:lnTo>
                      <a:pt x="337436" y="451055"/>
                    </a:lnTo>
                    <a:lnTo>
                      <a:pt x="353330" y="418614"/>
                    </a:lnTo>
                    <a:lnTo>
                      <a:pt x="339213" y="397068"/>
                    </a:lnTo>
                    <a:lnTo>
                      <a:pt x="377353" y="352518"/>
                    </a:lnTo>
                    <a:lnTo>
                      <a:pt x="349707" y="274567"/>
                    </a:lnTo>
                    <a:lnTo>
                      <a:pt x="378835" y="247775"/>
                    </a:lnTo>
                    <a:lnTo>
                      <a:pt x="421400" y="234961"/>
                    </a:lnTo>
                    <a:lnTo>
                      <a:pt x="429012" y="244580"/>
                    </a:lnTo>
                    <a:lnTo>
                      <a:pt x="516171" y="172027"/>
                    </a:lnTo>
                    <a:lnTo>
                      <a:pt x="612395" y="11778"/>
                    </a:lnTo>
                    <a:lnTo>
                      <a:pt x="632573" y="-157"/>
                    </a:lnTo>
                    <a:lnTo>
                      <a:pt x="648171" y="11269"/>
                    </a:lnTo>
                    <a:lnTo>
                      <a:pt x="659936" y="27852"/>
                    </a:lnTo>
                    <a:lnTo>
                      <a:pt x="647134" y="49801"/>
                    </a:lnTo>
                    <a:lnTo>
                      <a:pt x="718130" y="104780"/>
                    </a:lnTo>
                    <a:lnTo>
                      <a:pt x="771238" y="226699"/>
                    </a:lnTo>
                    <a:lnTo>
                      <a:pt x="732025" y="374622"/>
                    </a:lnTo>
                    <a:lnTo>
                      <a:pt x="753785" y="402754"/>
                    </a:lnTo>
                    <a:lnTo>
                      <a:pt x="719930" y="504811"/>
                    </a:lnTo>
                    <a:lnTo>
                      <a:pt x="791672" y="571608"/>
                    </a:lnTo>
                    <a:lnTo>
                      <a:pt x="784505" y="683141"/>
                    </a:lnTo>
                    <a:lnTo>
                      <a:pt x="802347" y="700354"/>
                    </a:lnTo>
                    <a:lnTo>
                      <a:pt x="775478" y="792562"/>
                    </a:lnTo>
                    <a:lnTo>
                      <a:pt x="729524" y="788258"/>
                    </a:lnTo>
                    <a:lnTo>
                      <a:pt x="707212" y="803947"/>
                    </a:lnTo>
                    <a:lnTo>
                      <a:pt x="706840" y="786801"/>
                    </a:lnTo>
                    <a:lnTo>
                      <a:pt x="650173" y="789480"/>
                    </a:lnTo>
                    <a:lnTo>
                      <a:pt x="656242" y="806803"/>
                    </a:lnTo>
                    <a:lnTo>
                      <a:pt x="623099" y="837759"/>
                    </a:lnTo>
                    <a:lnTo>
                      <a:pt x="631769" y="853045"/>
                    </a:lnTo>
                    <a:lnTo>
                      <a:pt x="612108" y="889839"/>
                    </a:lnTo>
                    <a:lnTo>
                      <a:pt x="626849" y="905951"/>
                    </a:lnTo>
                    <a:lnTo>
                      <a:pt x="608992" y="924012"/>
                    </a:lnTo>
                    <a:lnTo>
                      <a:pt x="589522" y="899483"/>
                    </a:lnTo>
                    <a:lnTo>
                      <a:pt x="545649" y="890465"/>
                    </a:lnTo>
                    <a:lnTo>
                      <a:pt x="512004" y="924475"/>
                    </a:lnTo>
                    <a:lnTo>
                      <a:pt x="472654" y="874823"/>
                    </a:lnTo>
                    <a:lnTo>
                      <a:pt x="453169" y="885556"/>
                    </a:lnTo>
                    <a:lnTo>
                      <a:pt x="447733" y="865177"/>
                    </a:lnTo>
                    <a:lnTo>
                      <a:pt x="400459" y="855610"/>
                    </a:lnTo>
                    <a:lnTo>
                      <a:pt x="396813" y="839486"/>
                    </a:lnTo>
                    <a:lnTo>
                      <a:pt x="342349" y="855486"/>
                    </a:lnTo>
                    <a:lnTo>
                      <a:pt x="328400" y="877199"/>
                    </a:lnTo>
                    <a:lnTo>
                      <a:pt x="300906" y="819922"/>
                    </a:lnTo>
                    <a:lnTo>
                      <a:pt x="277144" y="805319"/>
                    </a:lnTo>
                    <a:lnTo>
                      <a:pt x="261854" y="827284"/>
                    </a:lnTo>
                    <a:lnTo>
                      <a:pt x="231797" y="802337"/>
                    </a:lnTo>
                    <a:lnTo>
                      <a:pt x="241469" y="790906"/>
                    </a:lnTo>
                    <a:lnTo>
                      <a:pt x="199408" y="784455"/>
                    </a:lnTo>
                    <a:lnTo>
                      <a:pt x="139808" y="717094"/>
                    </a:lnTo>
                    <a:lnTo>
                      <a:pt x="90607" y="741001"/>
                    </a:lnTo>
                    <a:lnTo>
                      <a:pt x="76420" y="709128"/>
                    </a:lnTo>
                    <a:lnTo>
                      <a:pt x="55934" y="712400"/>
                    </a:lnTo>
                    <a:lnTo>
                      <a:pt x="-666" y="672848"/>
                    </a:lnTo>
                    <a:lnTo>
                      <a:pt x="6939" y="620357"/>
                    </a:lnTo>
                    <a:lnTo>
                      <a:pt x="41349" y="589874"/>
                    </a:lnTo>
                    <a:lnTo>
                      <a:pt x="42662" y="556822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1" name="Ханты-Мансийский автономный округ — Югра">
                <a:extLst>
                  <a:ext uri="{FF2B5EF4-FFF2-40B4-BE49-F238E27FC236}">
                    <a16:creationId xmlns:a16="http://schemas.microsoft.com/office/drawing/2014/main" id="{7F5F294E-A4BA-406A-ADB3-EDBF24BD4F09}"/>
                  </a:ext>
                </a:extLst>
              </p:cNvPr>
              <p:cNvSpPr/>
              <p:nvPr/>
            </p:nvSpPr>
            <p:spPr>
              <a:xfrm>
                <a:off x="3820984" y="2975104"/>
                <a:ext cx="1777061" cy="1401809"/>
              </a:xfrm>
              <a:custGeom>
                <a:avLst/>
                <a:gdLst>
                  <a:gd name="connsiteX0" fmla="*/ 74658 w 1777061"/>
                  <a:gd name="connsiteY0" fmla="*/ 252728 h 1401809"/>
                  <a:gd name="connsiteX1" fmla="*/ 171044 w 1777061"/>
                  <a:gd name="connsiteY1" fmla="*/ 151551 h 1401809"/>
                  <a:gd name="connsiteX2" fmla="*/ 202011 w 1777061"/>
                  <a:gd name="connsiteY2" fmla="*/ 138633 h 1401809"/>
                  <a:gd name="connsiteX3" fmla="*/ 215340 w 1777061"/>
                  <a:gd name="connsiteY3" fmla="*/ 71339 h 1401809"/>
                  <a:gd name="connsiteX4" fmla="*/ 245154 w 1777061"/>
                  <a:gd name="connsiteY4" fmla="*/ 60555 h 1401809"/>
                  <a:gd name="connsiteX5" fmla="*/ 250648 w 1777061"/>
                  <a:gd name="connsiteY5" fmla="*/ 37078 h 1401809"/>
                  <a:gd name="connsiteX6" fmla="*/ 307487 w 1777061"/>
                  <a:gd name="connsiteY6" fmla="*/ 22543 h 1401809"/>
                  <a:gd name="connsiteX7" fmla="*/ 323318 w 1777061"/>
                  <a:gd name="connsiteY7" fmla="*/ 60977 h 1401809"/>
                  <a:gd name="connsiteX8" fmla="*/ 459565 w 1777061"/>
                  <a:gd name="connsiteY8" fmla="*/ -157 h 1401809"/>
                  <a:gd name="connsiteX9" fmla="*/ 454821 w 1777061"/>
                  <a:gd name="connsiteY9" fmla="*/ 65746 h 1401809"/>
                  <a:gd name="connsiteX10" fmla="*/ 474756 w 1777061"/>
                  <a:gd name="connsiteY10" fmla="*/ 86325 h 1401809"/>
                  <a:gd name="connsiteX11" fmla="*/ 427563 w 1777061"/>
                  <a:gd name="connsiteY11" fmla="*/ 158772 h 1401809"/>
                  <a:gd name="connsiteX12" fmla="*/ 398697 w 1777061"/>
                  <a:gd name="connsiteY12" fmla="*/ 173940 h 1401809"/>
                  <a:gd name="connsiteX13" fmla="*/ 444606 w 1777061"/>
                  <a:gd name="connsiteY13" fmla="*/ 219196 h 1401809"/>
                  <a:gd name="connsiteX14" fmla="*/ 433419 w 1777061"/>
                  <a:gd name="connsiteY14" fmla="*/ 242350 h 1401809"/>
                  <a:gd name="connsiteX15" fmla="*/ 616657 w 1777061"/>
                  <a:gd name="connsiteY15" fmla="*/ 289661 h 1401809"/>
                  <a:gd name="connsiteX16" fmla="*/ 656907 w 1777061"/>
                  <a:gd name="connsiteY16" fmla="*/ 323507 h 1401809"/>
                  <a:gd name="connsiteX17" fmla="*/ 628064 w 1777061"/>
                  <a:gd name="connsiteY17" fmla="*/ 362121 h 1401809"/>
                  <a:gd name="connsiteX18" fmla="*/ 672618 w 1777061"/>
                  <a:gd name="connsiteY18" fmla="*/ 418217 h 1401809"/>
                  <a:gd name="connsiteX19" fmla="*/ 732317 w 1777061"/>
                  <a:gd name="connsiteY19" fmla="*/ 400745 h 1401809"/>
                  <a:gd name="connsiteX20" fmla="*/ 756670 w 1777061"/>
                  <a:gd name="connsiteY20" fmla="*/ 423206 h 1401809"/>
                  <a:gd name="connsiteX21" fmla="*/ 771556 w 1777061"/>
                  <a:gd name="connsiteY21" fmla="*/ 412419 h 1401809"/>
                  <a:gd name="connsiteX22" fmla="*/ 767425 w 1777061"/>
                  <a:gd name="connsiteY22" fmla="*/ 391787 h 1401809"/>
                  <a:gd name="connsiteX23" fmla="*/ 795356 w 1777061"/>
                  <a:gd name="connsiteY23" fmla="*/ 397795 h 1401809"/>
                  <a:gd name="connsiteX24" fmla="*/ 822374 w 1777061"/>
                  <a:gd name="connsiteY24" fmla="*/ 437005 h 1401809"/>
                  <a:gd name="connsiteX25" fmla="*/ 849993 w 1777061"/>
                  <a:gd name="connsiteY25" fmla="*/ 446366 h 1401809"/>
                  <a:gd name="connsiteX26" fmla="*/ 870053 w 1777061"/>
                  <a:gd name="connsiteY26" fmla="*/ 481257 h 1401809"/>
                  <a:gd name="connsiteX27" fmla="*/ 845580 w 1777061"/>
                  <a:gd name="connsiteY27" fmla="*/ 500360 h 1401809"/>
                  <a:gd name="connsiteX28" fmla="*/ 848875 w 1777061"/>
                  <a:gd name="connsiteY28" fmla="*/ 555111 h 1401809"/>
                  <a:gd name="connsiteX29" fmla="*/ 881727 w 1777061"/>
                  <a:gd name="connsiteY29" fmla="*/ 572756 h 1401809"/>
                  <a:gd name="connsiteX30" fmla="*/ 863758 w 1777061"/>
                  <a:gd name="connsiteY30" fmla="*/ 648258 h 1401809"/>
                  <a:gd name="connsiteX31" fmla="*/ 935471 w 1777061"/>
                  <a:gd name="connsiteY31" fmla="*/ 663370 h 1401809"/>
                  <a:gd name="connsiteX32" fmla="*/ 969551 w 1777061"/>
                  <a:gd name="connsiteY32" fmla="*/ 652825 h 1401809"/>
                  <a:gd name="connsiteX33" fmla="*/ 984639 w 1777061"/>
                  <a:gd name="connsiteY33" fmla="*/ 698764 h 1401809"/>
                  <a:gd name="connsiteX34" fmla="*/ 1033728 w 1777061"/>
                  <a:gd name="connsiteY34" fmla="*/ 720699 h 1401809"/>
                  <a:gd name="connsiteX35" fmla="*/ 1044093 w 1777061"/>
                  <a:gd name="connsiteY35" fmla="*/ 747477 h 1401809"/>
                  <a:gd name="connsiteX36" fmla="*/ 1132058 w 1777061"/>
                  <a:gd name="connsiteY36" fmla="*/ 766640 h 1401809"/>
                  <a:gd name="connsiteX37" fmla="*/ 1161057 w 1777061"/>
                  <a:gd name="connsiteY37" fmla="*/ 804388 h 1401809"/>
                  <a:gd name="connsiteX38" fmla="*/ 1187339 w 1777061"/>
                  <a:gd name="connsiteY38" fmla="*/ 799775 h 1401809"/>
                  <a:gd name="connsiteX39" fmla="*/ 1256212 w 1777061"/>
                  <a:gd name="connsiteY39" fmla="*/ 916624 h 1401809"/>
                  <a:gd name="connsiteX40" fmla="*/ 1307280 w 1777061"/>
                  <a:gd name="connsiteY40" fmla="*/ 910290 h 1401809"/>
                  <a:gd name="connsiteX41" fmla="*/ 1383743 w 1777061"/>
                  <a:gd name="connsiteY41" fmla="*/ 932549 h 1401809"/>
                  <a:gd name="connsiteX42" fmla="*/ 1397537 w 1777061"/>
                  <a:gd name="connsiteY42" fmla="*/ 906471 h 1401809"/>
                  <a:gd name="connsiteX43" fmla="*/ 1463302 w 1777061"/>
                  <a:gd name="connsiteY43" fmla="*/ 873257 h 1401809"/>
                  <a:gd name="connsiteX44" fmla="*/ 1488960 w 1777061"/>
                  <a:gd name="connsiteY44" fmla="*/ 875347 h 1401809"/>
                  <a:gd name="connsiteX45" fmla="*/ 1494457 w 1777061"/>
                  <a:gd name="connsiteY45" fmla="*/ 923571 h 1401809"/>
                  <a:gd name="connsiteX46" fmla="*/ 1519372 w 1777061"/>
                  <a:gd name="connsiteY46" fmla="*/ 955094 h 1401809"/>
                  <a:gd name="connsiteX47" fmla="*/ 1552691 w 1777061"/>
                  <a:gd name="connsiteY47" fmla="*/ 946468 h 1401809"/>
                  <a:gd name="connsiteX48" fmla="*/ 1592113 w 1777061"/>
                  <a:gd name="connsiteY48" fmla="*/ 966778 h 1401809"/>
                  <a:gd name="connsiteX49" fmla="*/ 1620607 w 1777061"/>
                  <a:gd name="connsiteY49" fmla="*/ 1020600 h 1401809"/>
                  <a:gd name="connsiteX50" fmla="*/ 1659119 w 1777061"/>
                  <a:gd name="connsiteY50" fmla="*/ 1011882 h 1401809"/>
                  <a:gd name="connsiteX51" fmla="*/ 1690453 w 1777061"/>
                  <a:gd name="connsiteY51" fmla="*/ 1073449 h 1401809"/>
                  <a:gd name="connsiteX52" fmla="*/ 1694161 w 1777061"/>
                  <a:gd name="connsiteY52" fmla="*/ 1141692 h 1401809"/>
                  <a:gd name="connsiteX53" fmla="*/ 1771628 w 1777061"/>
                  <a:gd name="connsiteY53" fmla="*/ 1192381 h 1401809"/>
                  <a:gd name="connsiteX54" fmla="*/ 1776396 w 1777061"/>
                  <a:gd name="connsiteY54" fmla="*/ 1214784 h 1401809"/>
                  <a:gd name="connsiteX55" fmla="*/ 1749730 w 1777061"/>
                  <a:gd name="connsiteY55" fmla="*/ 1223959 h 1401809"/>
                  <a:gd name="connsiteX56" fmla="*/ 1751194 w 1777061"/>
                  <a:gd name="connsiteY56" fmla="*/ 1237519 h 1401809"/>
                  <a:gd name="connsiteX57" fmla="*/ 1631415 w 1777061"/>
                  <a:gd name="connsiteY57" fmla="*/ 1278629 h 1401809"/>
                  <a:gd name="connsiteX58" fmla="*/ 1607271 w 1777061"/>
                  <a:gd name="connsiteY58" fmla="*/ 1277260 h 1401809"/>
                  <a:gd name="connsiteX59" fmla="*/ 1579541 w 1777061"/>
                  <a:gd name="connsiteY59" fmla="*/ 1238746 h 1401809"/>
                  <a:gd name="connsiteX60" fmla="*/ 1555678 w 1777061"/>
                  <a:gd name="connsiteY60" fmla="*/ 1234375 h 1401809"/>
                  <a:gd name="connsiteX61" fmla="*/ 1463078 w 1777061"/>
                  <a:gd name="connsiteY61" fmla="*/ 1293031 h 1401809"/>
                  <a:gd name="connsiteX62" fmla="*/ 1446630 w 1777061"/>
                  <a:gd name="connsiteY62" fmla="*/ 1268821 h 1401809"/>
                  <a:gd name="connsiteX63" fmla="*/ 1389465 w 1777061"/>
                  <a:gd name="connsiteY63" fmla="*/ 1252987 h 1401809"/>
                  <a:gd name="connsiteX64" fmla="*/ 1390385 w 1777061"/>
                  <a:gd name="connsiteY64" fmla="*/ 1234857 h 1401809"/>
                  <a:gd name="connsiteX65" fmla="*/ 1366858 w 1777061"/>
                  <a:gd name="connsiteY65" fmla="*/ 1220652 h 1401809"/>
                  <a:gd name="connsiteX66" fmla="*/ 1263132 w 1777061"/>
                  <a:gd name="connsiteY66" fmla="*/ 1217473 h 1401809"/>
                  <a:gd name="connsiteX67" fmla="*/ 1256999 w 1777061"/>
                  <a:gd name="connsiteY67" fmla="*/ 1184331 h 1401809"/>
                  <a:gd name="connsiteX68" fmla="*/ 1164541 w 1777061"/>
                  <a:gd name="connsiteY68" fmla="*/ 1169270 h 1401809"/>
                  <a:gd name="connsiteX69" fmla="*/ 1108284 w 1777061"/>
                  <a:gd name="connsiteY69" fmla="*/ 1131278 h 1401809"/>
                  <a:gd name="connsiteX70" fmla="*/ 1088653 w 1777061"/>
                  <a:gd name="connsiteY70" fmla="*/ 1179534 h 1401809"/>
                  <a:gd name="connsiteX71" fmla="*/ 1058594 w 1777061"/>
                  <a:gd name="connsiteY71" fmla="*/ 1193469 h 1401809"/>
                  <a:gd name="connsiteX72" fmla="*/ 1010635 w 1777061"/>
                  <a:gd name="connsiteY72" fmla="*/ 1309881 h 1401809"/>
                  <a:gd name="connsiteX73" fmla="*/ 944620 w 1777061"/>
                  <a:gd name="connsiteY73" fmla="*/ 1314929 h 1401809"/>
                  <a:gd name="connsiteX74" fmla="*/ 915302 w 1777061"/>
                  <a:gd name="connsiteY74" fmla="*/ 1335562 h 1401809"/>
                  <a:gd name="connsiteX75" fmla="*/ 907029 w 1777061"/>
                  <a:gd name="connsiteY75" fmla="*/ 1372846 h 1401809"/>
                  <a:gd name="connsiteX76" fmla="*/ 847589 w 1777061"/>
                  <a:gd name="connsiteY76" fmla="*/ 1401653 h 1401809"/>
                  <a:gd name="connsiteX77" fmla="*/ 700810 w 1777061"/>
                  <a:gd name="connsiteY77" fmla="*/ 1309077 h 1401809"/>
                  <a:gd name="connsiteX78" fmla="*/ 712156 w 1777061"/>
                  <a:gd name="connsiteY78" fmla="*/ 1271726 h 1401809"/>
                  <a:gd name="connsiteX79" fmla="*/ 680320 w 1777061"/>
                  <a:gd name="connsiteY79" fmla="*/ 1254954 h 1401809"/>
                  <a:gd name="connsiteX80" fmla="*/ 671035 w 1777061"/>
                  <a:gd name="connsiteY80" fmla="*/ 1186485 h 1401809"/>
                  <a:gd name="connsiteX81" fmla="*/ 626883 w 1777061"/>
                  <a:gd name="connsiteY81" fmla="*/ 1123877 h 1401809"/>
                  <a:gd name="connsiteX82" fmla="*/ 628607 w 1777061"/>
                  <a:gd name="connsiteY82" fmla="*/ 1104508 h 1401809"/>
                  <a:gd name="connsiteX83" fmla="*/ 568286 w 1777061"/>
                  <a:gd name="connsiteY83" fmla="*/ 1089331 h 1401809"/>
                  <a:gd name="connsiteX84" fmla="*/ 556670 w 1777061"/>
                  <a:gd name="connsiteY84" fmla="*/ 1065219 h 1401809"/>
                  <a:gd name="connsiteX85" fmla="*/ 498015 w 1777061"/>
                  <a:gd name="connsiteY85" fmla="*/ 1031252 h 1401809"/>
                  <a:gd name="connsiteX86" fmla="*/ 478559 w 1777061"/>
                  <a:gd name="connsiteY86" fmla="*/ 1036726 h 1401809"/>
                  <a:gd name="connsiteX87" fmla="*/ 486345 w 1777061"/>
                  <a:gd name="connsiteY87" fmla="*/ 1063633 h 1401809"/>
                  <a:gd name="connsiteX88" fmla="*/ 421966 w 1777061"/>
                  <a:gd name="connsiteY88" fmla="*/ 1064353 h 1401809"/>
                  <a:gd name="connsiteX89" fmla="*/ 390706 w 1777061"/>
                  <a:gd name="connsiteY89" fmla="*/ 1098102 h 1401809"/>
                  <a:gd name="connsiteX90" fmla="*/ 247506 w 1777061"/>
                  <a:gd name="connsiteY90" fmla="*/ 1093332 h 1401809"/>
                  <a:gd name="connsiteX91" fmla="*/ 229432 w 1777061"/>
                  <a:gd name="connsiteY91" fmla="*/ 1130786 h 1401809"/>
                  <a:gd name="connsiteX92" fmla="*/ 191853 w 1777061"/>
                  <a:gd name="connsiteY92" fmla="*/ 1124715 h 1401809"/>
                  <a:gd name="connsiteX93" fmla="*/ 148617 w 1777061"/>
                  <a:gd name="connsiteY93" fmla="*/ 1088110 h 1401809"/>
                  <a:gd name="connsiteX94" fmla="*/ 155729 w 1777061"/>
                  <a:gd name="connsiteY94" fmla="*/ 976268 h 1401809"/>
                  <a:gd name="connsiteX95" fmla="*/ 84043 w 1777061"/>
                  <a:gd name="connsiteY95" fmla="*/ 909779 h 1401809"/>
                  <a:gd name="connsiteX96" fmla="*/ 117898 w 1777061"/>
                  <a:gd name="connsiteY96" fmla="*/ 807723 h 1401809"/>
                  <a:gd name="connsiteX97" fmla="*/ 96138 w 1777061"/>
                  <a:gd name="connsiteY97" fmla="*/ 779591 h 1401809"/>
                  <a:gd name="connsiteX98" fmla="*/ 117708 w 1777061"/>
                  <a:gd name="connsiteY98" fmla="*/ 678680 h 1401809"/>
                  <a:gd name="connsiteX99" fmla="*/ 133639 w 1777061"/>
                  <a:gd name="connsiteY99" fmla="*/ 661429 h 1401809"/>
                  <a:gd name="connsiteX100" fmla="*/ 132033 w 1777061"/>
                  <a:gd name="connsiteY100" fmla="*/ 613345 h 1401809"/>
                  <a:gd name="connsiteX101" fmla="*/ 80919 w 1777061"/>
                  <a:gd name="connsiteY101" fmla="*/ 507920 h 1401809"/>
                  <a:gd name="connsiteX102" fmla="*/ 11438 w 1777061"/>
                  <a:gd name="connsiteY102" fmla="*/ 455045 h 1401809"/>
                  <a:gd name="connsiteX103" fmla="*/ 24005 w 1777061"/>
                  <a:gd name="connsiteY103" fmla="*/ 432655 h 1401809"/>
                  <a:gd name="connsiteX104" fmla="*/ -666 w 1777061"/>
                  <a:gd name="connsiteY104" fmla="*/ 404915 h 1401809"/>
                  <a:gd name="connsiteX105" fmla="*/ 12020 w 1777061"/>
                  <a:gd name="connsiteY105" fmla="*/ 373909 h 1401809"/>
                  <a:gd name="connsiteX106" fmla="*/ 59644 w 1777061"/>
                  <a:gd name="connsiteY106" fmla="*/ 332133 h 1401809"/>
                  <a:gd name="connsiteX107" fmla="*/ 49494 w 1777061"/>
                  <a:gd name="connsiteY107" fmla="*/ 322278 h 1401809"/>
                  <a:gd name="connsiteX108" fmla="*/ 78696 w 1777061"/>
                  <a:gd name="connsiteY108" fmla="*/ 280459 h 1401809"/>
                  <a:gd name="connsiteX109" fmla="*/ 74657 w 1777061"/>
                  <a:gd name="connsiteY109" fmla="*/ 252729 h 140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</a:cxnLst>
                <a:rect l="l" t="t" r="r" b="b"/>
                <a:pathLst>
                  <a:path w="1777061" h="1401809">
                    <a:moveTo>
                      <a:pt x="74658" y="252728"/>
                    </a:moveTo>
                    <a:lnTo>
                      <a:pt x="171044" y="151551"/>
                    </a:lnTo>
                    <a:lnTo>
                      <a:pt x="202011" y="138633"/>
                    </a:lnTo>
                    <a:lnTo>
                      <a:pt x="215340" y="71339"/>
                    </a:lnTo>
                    <a:lnTo>
                      <a:pt x="245154" y="60555"/>
                    </a:lnTo>
                    <a:lnTo>
                      <a:pt x="250648" y="37078"/>
                    </a:lnTo>
                    <a:lnTo>
                      <a:pt x="307487" y="22543"/>
                    </a:lnTo>
                    <a:lnTo>
                      <a:pt x="323318" y="60977"/>
                    </a:lnTo>
                    <a:lnTo>
                      <a:pt x="459565" y="-157"/>
                    </a:lnTo>
                    <a:lnTo>
                      <a:pt x="454821" y="65746"/>
                    </a:lnTo>
                    <a:lnTo>
                      <a:pt x="474756" y="86325"/>
                    </a:lnTo>
                    <a:lnTo>
                      <a:pt x="427563" y="158772"/>
                    </a:lnTo>
                    <a:lnTo>
                      <a:pt x="398697" y="173940"/>
                    </a:lnTo>
                    <a:lnTo>
                      <a:pt x="444606" y="219196"/>
                    </a:lnTo>
                    <a:lnTo>
                      <a:pt x="433419" y="242350"/>
                    </a:lnTo>
                    <a:lnTo>
                      <a:pt x="616657" y="289661"/>
                    </a:lnTo>
                    <a:lnTo>
                      <a:pt x="656907" y="323507"/>
                    </a:lnTo>
                    <a:lnTo>
                      <a:pt x="628064" y="362121"/>
                    </a:lnTo>
                    <a:lnTo>
                      <a:pt x="672618" y="418217"/>
                    </a:lnTo>
                    <a:lnTo>
                      <a:pt x="732317" y="400745"/>
                    </a:lnTo>
                    <a:lnTo>
                      <a:pt x="756670" y="423206"/>
                    </a:lnTo>
                    <a:lnTo>
                      <a:pt x="771556" y="412419"/>
                    </a:lnTo>
                    <a:lnTo>
                      <a:pt x="767425" y="391787"/>
                    </a:lnTo>
                    <a:lnTo>
                      <a:pt x="795356" y="397795"/>
                    </a:lnTo>
                    <a:lnTo>
                      <a:pt x="822374" y="437005"/>
                    </a:lnTo>
                    <a:lnTo>
                      <a:pt x="849993" y="446366"/>
                    </a:lnTo>
                    <a:lnTo>
                      <a:pt x="870053" y="481257"/>
                    </a:lnTo>
                    <a:lnTo>
                      <a:pt x="845580" y="500360"/>
                    </a:lnTo>
                    <a:lnTo>
                      <a:pt x="848875" y="555111"/>
                    </a:lnTo>
                    <a:lnTo>
                      <a:pt x="881727" y="572756"/>
                    </a:lnTo>
                    <a:lnTo>
                      <a:pt x="863758" y="648258"/>
                    </a:lnTo>
                    <a:lnTo>
                      <a:pt x="935471" y="663370"/>
                    </a:lnTo>
                    <a:lnTo>
                      <a:pt x="969551" y="652825"/>
                    </a:lnTo>
                    <a:lnTo>
                      <a:pt x="984639" y="698764"/>
                    </a:lnTo>
                    <a:lnTo>
                      <a:pt x="1033728" y="720699"/>
                    </a:lnTo>
                    <a:lnTo>
                      <a:pt x="1044093" y="747477"/>
                    </a:lnTo>
                    <a:lnTo>
                      <a:pt x="1132058" y="766640"/>
                    </a:lnTo>
                    <a:lnTo>
                      <a:pt x="1161057" y="804388"/>
                    </a:lnTo>
                    <a:lnTo>
                      <a:pt x="1187339" y="799775"/>
                    </a:lnTo>
                    <a:lnTo>
                      <a:pt x="1256212" y="916624"/>
                    </a:lnTo>
                    <a:lnTo>
                      <a:pt x="1307280" y="910290"/>
                    </a:lnTo>
                    <a:lnTo>
                      <a:pt x="1383743" y="932549"/>
                    </a:lnTo>
                    <a:lnTo>
                      <a:pt x="1397537" y="906471"/>
                    </a:lnTo>
                    <a:lnTo>
                      <a:pt x="1463302" y="873257"/>
                    </a:lnTo>
                    <a:lnTo>
                      <a:pt x="1488960" y="875347"/>
                    </a:lnTo>
                    <a:lnTo>
                      <a:pt x="1494457" y="923571"/>
                    </a:lnTo>
                    <a:lnTo>
                      <a:pt x="1519372" y="955094"/>
                    </a:lnTo>
                    <a:lnTo>
                      <a:pt x="1552691" y="946468"/>
                    </a:lnTo>
                    <a:lnTo>
                      <a:pt x="1592113" y="966778"/>
                    </a:lnTo>
                    <a:lnTo>
                      <a:pt x="1620607" y="1020600"/>
                    </a:lnTo>
                    <a:lnTo>
                      <a:pt x="1659119" y="1011882"/>
                    </a:lnTo>
                    <a:lnTo>
                      <a:pt x="1690453" y="1073449"/>
                    </a:lnTo>
                    <a:lnTo>
                      <a:pt x="1694161" y="1141692"/>
                    </a:lnTo>
                    <a:lnTo>
                      <a:pt x="1771628" y="1192381"/>
                    </a:lnTo>
                    <a:lnTo>
                      <a:pt x="1776396" y="1214784"/>
                    </a:lnTo>
                    <a:lnTo>
                      <a:pt x="1749730" y="1223959"/>
                    </a:lnTo>
                    <a:lnTo>
                      <a:pt x="1751194" y="1237519"/>
                    </a:lnTo>
                    <a:lnTo>
                      <a:pt x="1631415" y="1278629"/>
                    </a:lnTo>
                    <a:lnTo>
                      <a:pt x="1607271" y="1277260"/>
                    </a:lnTo>
                    <a:lnTo>
                      <a:pt x="1579541" y="1238746"/>
                    </a:lnTo>
                    <a:lnTo>
                      <a:pt x="1555678" y="1234375"/>
                    </a:lnTo>
                    <a:lnTo>
                      <a:pt x="1463078" y="1293031"/>
                    </a:lnTo>
                    <a:lnTo>
                      <a:pt x="1446630" y="1268821"/>
                    </a:lnTo>
                    <a:lnTo>
                      <a:pt x="1389465" y="1252987"/>
                    </a:lnTo>
                    <a:lnTo>
                      <a:pt x="1390385" y="1234857"/>
                    </a:lnTo>
                    <a:lnTo>
                      <a:pt x="1366858" y="1220652"/>
                    </a:lnTo>
                    <a:lnTo>
                      <a:pt x="1263132" y="1217473"/>
                    </a:lnTo>
                    <a:lnTo>
                      <a:pt x="1256999" y="1184331"/>
                    </a:lnTo>
                    <a:lnTo>
                      <a:pt x="1164541" y="1169270"/>
                    </a:lnTo>
                    <a:lnTo>
                      <a:pt x="1108284" y="1131278"/>
                    </a:lnTo>
                    <a:lnTo>
                      <a:pt x="1088653" y="1179534"/>
                    </a:lnTo>
                    <a:lnTo>
                      <a:pt x="1058594" y="1193469"/>
                    </a:lnTo>
                    <a:lnTo>
                      <a:pt x="1010635" y="1309881"/>
                    </a:lnTo>
                    <a:lnTo>
                      <a:pt x="944620" y="1314929"/>
                    </a:lnTo>
                    <a:lnTo>
                      <a:pt x="915302" y="1335562"/>
                    </a:lnTo>
                    <a:lnTo>
                      <a:pt x="907029" y="1372846"/>
                    </a:lnTo>
                    <a:lnTo>
                      <a:pt x="847589" y="1401653"/>
                    </a:lnTo>
                    <a:lnTo>
                      <a:pt x="700810" y="1309077"/>
                    </a:lnTo>
                    <a:lnTo>
                      <a:pt x="712156" y="1271726"/>
                    </a:lnTo>
                    <a:lnTo>
                      <a:pt x="680320" y="1254954"/>
                    </a:lnTo>
                    <a:lnTo>
                      <a:pt x="671035" y="1186485"/>
                    </a:lnTo>
                    <a:lnTo>
                      <a:pt x="626883" y="1123877"/>
                    </a:lnTo>
                    <a:lnTo>
                      <a:pt x="628607" y="1104508"/>
                    </a:lnTo>
                    <a:lnTo>
                      <a:pt x="568286" y="1089331"/>
                    </a:lnTo>
                    <a:lnTo>
                      <a:pt x="556670" y="1065219"/>
                    </a:lnTo>
                    <a:lnTo>
                      <a:pt x="498015" y="1031252"/>
                    </a:lnTo>
                    <a:lnTo>
                      <a:pt x="478559" y="1036726"/>
                    </a:lnTo>
                    <a:lnTo>
                      <a:pt x="486345" y="1063633"/>
                    </a:lnTo>
                    <a:lnTo>
                      <a:pt x="421966" y="1064353"/>
                    </a:lnTo>
                    <a:lnTo>
                      <a:pt x="390706" y="1098102"/>
                    </a:lnTo>
                    <a:lnTo>
                      <a:pt x="247506" y="1093332"/>
                    </a:lnTo>
                    <a:lnTo>
                      <a:pt x="229432" y="1130786"/>
                    </a:lnTo>
                    <a:lnTo>
                      <a:pt x="191853" y="1124715"/>
                    </a:lnTo>
                    <a:lnTo>
                      <a:pt x="148617" y="1088110"/>
                    </a:lnTo>
                    <a:lnTo>
                      <a:pt x="155729" y="976268"/>
                    </a:lnTo>
                    <a:lnTo>
                      <a:pt x="84043" y="909779"/>
                    </a:lnTo>
                    <a:lnTo>
                      <a:pt x="117898" y="807723"/>
                    </a:lnTo>
                    <a:lnTo>
                      <a:pt x="96138" y="779591"/>
                    </a:lnTo>
                    <a:lnTo>
                      <a:pt x="117708" y="678680"/>
                    </a:lnTo>
                    <a:lnTo>
                      <a:pt x="133639" y="661429"/>
                    </a:lnTo>
                    <a:lnTo>
                      <a:pt x="132033" y="613345"/>
                    </a:lnTo>
                    <a:lnTo>
                      <a:pt x="80919" y="507920"/>
                    </a:lnTo>
                    <a:lnTo>
                      <a:pt x="11438" y="455045"/>
                    </a:lnTo>
                    <a:lnTo>
                      <a:pt x="24005" y="432655"/>
                    </a:lnTo>
                    <a:lnTo>
                      <a:pt x="-666" y="404915"/>
                    </a:lnTo>
                    <a:lnTo>
                      <a:pt x="12020" y="373909"/>
                    </a:lnTo>
                    <a:lnTo>
                      <a:pt x="59644" y="332133"/>
                    </a:lnTo>
                    <a:lnTo>
                      <a:pt x="49494" y="322278"/>
                    </a:lnTo>
                    <a:lnTo>
                      <a:pt x="78696" y="280459"/>
                    </a:lnTo>
                    <a:lnTo>
                      <a:pt x="74657" y="252729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2" name="Ямало-Ненецкий автономный округ">
                <a:extLst>
                  <a:ext uri="{FF2B5EF4-FFF2-40B4-BE49-F238E27FC236}">
                    <a16:creationId xmlns:a16="http://schemas.microsoft.com/office/drawing/2014/main" id="{B7D8F762-55C6-4E57-8121-BA65F9DE623B}"/>
                  </a:ext>
                </a:extLst>
              </p:cNvPr>
              <p:cNvSpPr/>
              <p:nvPr/>
            </p:nvSpPr>
            <p:spPr>
              <a:xfrm>
                <a:off x="4220390" y="2103768"/>
                <a:ext cx="1472144" cy="1950438"/>
              </a:xfrm>
              <a:custGeom>
                <a:avLst/>
                <a:gdLst>
                  <a:gd name="connsiteX0" fmla="*/ 60159 w 1472144"/>
                  <a:gd name="connsiteY0" fmla="*/ 871180 h 1950438"/>
                  <a:gd name="connsiteX1" fmla="*/ 116589 w 1472144"/>
                  <a:gd name="connsiteY1" fmla="*/ 879013 h 1950438"/>
                  <a:gd name="connsiteX2" fmla="*/ 189882 w 1472144"/>
                  <a:gd name="connsiteY2" fmla="*/ 820180 h 1950438"/>
                  <a:gd name="connsiteX3" fmla="*/ 326411 w 1472144"/>
                  <a:gd name="connsiteY3" fmla="*/ 809856 h 1950438"/>
                  <a:gd name="connsiteX4" fmla="*/ 346625 w 1472144"/>
                  <a:gd name="connsiteY4" fmla="*/ 777997 h 1950438"/>
                  <a:gd name="connsiteX5" fmla="*/ 418957 w 1472144"/>
                  <a:gd name="connsiteY5" fmla="*/ 759801 h 1950438"/>
                  <a:gd name="connsiteX6" fmla="*/ 415822 w 1472144"/>
                  <a:gd name="connsiteY6" fmla="*/ 727911 h 1950438"/>
                  <a:gd name="connsiteX7" fmla="*/ 442172 w 1472144"/>
                  <a:gd name="connsiteY7" fmla="*/ 734464 h 1950438"/>
                  <a:gd name="connsiteX8" fmla="*/ 454128 w 1472144"/>
                  <a:gd name="connsiteY8" fmla="*/ 700291 h 1950438"/>
                  <a:gd name="connsiteX9" fmla="*/ 416404 w 1472144"/>
                  <a:gd name="connsiteY9" fmla="*/ 681126 h 1950438"/>
                  <a:gd name="connsiteX10" fmla="*/ 418010 w 1472144"/>
                  <a:gd name="connsiteY10" fmla="*/ 663936 h 1950438"/>
                  <a:gd name="connsiteX11" fmla="*/ 432208 w 1472144"/>
                  <a:gd name="connsiteY11" fmla="*/ 631996 h 1950438"/>
                  <a:gd name="connsiteX12" fmla="*/ 477698 w 1472144"/>
                  <a:gd name="connsiteY12" fmla="*/ 594981 h 1950438"/>
                  <a:gd name="connsiteX13" fmla="*/ 478668 w 1472144"/>
                  <a:gd name="connsiteY13" fmla="*/ 554931 h 1950438"/>
                  <a:gd name="connsiteX14" fmla="*/ 442458 w 1472144"/>
                  <a:gd name="connsiteY14" fmla="*/ 525237 h 1950438"/>
                  <a:gd name="connsiteX15" fmla="*/ 450472 w 1472144"/>
                  <a:gd name="connsiteY15" fmla="*/ 506811 h 1950438"/>
                  <a:gd name="connsiteX16" fmla="*/ 506833 w 1472144"/>
                  <a:gd name="connsiteY16" fmla="*/ 476815 h 1950438"/>
                  <a:gd name="connsiteX17" fmla="*/ 576219 w 1472144"/>
                  <a:gd name="connsiteY17" fmla="*/ 487558 h 1950438"/>
                  <a:gd name="connsiteX18" fmla="*/ 637014 w 1472144"/>
                  <a:gd name="connsiteY18" fmla="*/ 395975 h 1950438"/>
                  <a:gd name="connsiteX19" fmla="*/ 631105 w 1472144"/>
                  <a:gd name="connsiteY19" fmla="*/ 335289 h 1950438"/>
                  <a:gd name="connsiteX20" fmla="*/ 656527 w 1472144"/>
                  <a:gd name="connsiteY20" fmla="*/ 284201 h 1950438"/>
                  <a:gd name="connsiteX21" fmla="*/ 717808 w 1472144"/>
                  <a:gd name="connsiteY21" fmla="*/ 229146 h 1950438"/>
                  <a:gd name="connsiteX22" fmla="*/ 808972 w 1472144"/>
                  <a:gd name="connsiteY22" fmla="*/ 205693 h 1950438"/>
                  <a:gd name="connsiteX23" fmla="*/ 899756 w 1472144"/>
                  <a:gd name="connsiteY23" fmla="*/ 87563 h 1950438"/>
                  <a:gd name="connsiteX24" fmla="*/ 976945 w 1472144"/>
                  <a:gd name="connsiteY24" fmla="*/ 39173 h 1950438"/>
                  <a:gd name="connsiteX25" fmla="*/ 999346 w 1472144"/>
                  <a:gd name="connsiteY25" fmla="*/ 1300 h 1950438"/>
                  <a:gd name="connsiteX26" fmla="*/ 1065282 w 1472144"/>
                  <a:gd name="connsiteY26" fmla="*/ -157 h 1950438"/>
                  <a:gd name="connsiteX27" fmla="*/ 1106975 w 1472144"/>
                  <a:gd name="connsiteY27" fmla="*/ 42608 h 1950438"/>
                  <a:gd name="connsiteX28" fmla="*/ 1170204 w 1472144"/>
                  <a:gd name="connsiteY28" fmla="*/ 41517 h 1950438"/>
                  <a:gd name="connsiteX29" fmla="*/ 1318341 w 1472144"/>
                  <a:gd name="connsiteY29" fmla="*/ 94425 h 1950438"/>
                  <a:gd name="connsiteX30" fmla="*/ 1348754 w 1472144"/>
                  <a:gd name="connsiteY30" fmla="*/ 127131 h 1950438"/>
                  <a:gd name="connsiteX31" fmla="*/ 1351281 w 1472144"/>
                  <a:gd name="connsiteY31" fmla="*/ 160619 h 1950438"/>
                  <a:gd name="connsiteX32" fmla="*/ 1322503 w 1472144"/>
                  <a:gd name="connsiteY32" fmla="*/ 212269 h 1950438"/>
                  <a:gd name="connsiteX33" fmla="*/ 1259090 w 1472144"/>
                  <a:gd name="connsiteY33" fmla="*/ 218263 h 1950438"/>
                  <a:gd name="connsiteX34" fmla="*/ 1254989 w 1472144"/>
                  <a:gd name="connsiteY34" fmla="*/ 270267 h 1950438"/>
                  <a:gd name="connsiteX35" fmla="*/ 1353859 w 1472144"/>
                  <a:gd name="connsiteY35" fmla="*/ 235661 h 1950438"/>
                  <a:gd name="connsiteX36" fmla="*/ 1364085 w 1472144"/>
                  <a:gd name="connsiteY36" fmla="*/ 311707 h 1950438"/>
                  <a:gd name="connsiteX37" fmla="*/ 1346291 w 1472144"/>
                  <a:gd name="connsiteY37" fmla="*/ 352138 h 1950438"/>
                  <a:gd name="connsiteX38" fmla="*/ 1420892 w 1472144"/>
                  <a:gd name="connsiteY38" fmla="*/ 426737 h 1950438"/>
                  <a:gd name="connsiteX39" fmla="*/ 1401796 w 1472144"/>
                  <a:gd name="connsiteY39" fmla="*/ 428803 h 1950438"/>
                  <a:gd name="connsiteX40" fmla="*/ 1388128 w 1472144"/>
                  <a:gd name="connsiteY40" fmla="*/ 461667 h 1950438"/>
                  <a:gd name="connsiteX41" fmla="*/ 1355012 w 1472144"/>
                  <a:gd name="connsiteY41" fmla="*/ 454158 h 1950438"/>
                  <a:gd name="connsiteX42" fmla="*/ 1336752 w 1472144"/>
                  <a:gd name="connsiteY42" fmla="*/ 481001 h 1950438"/>
                  <a:gd name="connsiteX43" fmla="*/ 1395443 w 1472144"/>
                  <a:gd name="connsiteY43" fmla="*/ 554347 h 1950438"/>
                  <a:gd name="connsiteX44" fmla="*/ 1390294 w 1472144"/>
                  <a:gd name="connsiteY44" fmla="*/ 619596 h 1950438"/>
                  <a:gd name="connsiteX45" fmla="*/ 1374763 w 1472144"/>
                  <a:gd name="connsiteY45" fmla="*/ 638739 h 1950438"/>
                  <a:gd name="connsiteX46" fmla="*/ 1384992 w 1472144"/>
                  <a:gd name="connsiteY46" fmla="*/ 651159 h 1950438"/>
                  <a:gd name="connsiteX47" fmla="*/ 1350545 w 1472144"/>
                  <a:gd name="connsiteY47" fmla="*/ 639956 h 1950438"/>
                  <a:gd name="connsiteX48" fmla="*/ 1300922 w 1472144"/>
                  <a:gd name="connsiteY48" fmla="*/ 677094 h 1950438"/>
                  <a:gd name="connsiteX49" fmla="*/ 1290930 w 1472144"/>
                  <a:gd name="connsiteY49" fmla="*/ 668760 h 1950438"/>
                  <a:gd name="connsiteX50" fmla="*/ 1287823 w 1472144"/>
                  <a:gd name="connsiteY50" fmla="*/ 685063 h 1950438"/>
                  <a:gd name="connsiteX51" fmla="*/ 1254497 w 1472144"/>
                  <a:gd name="connsiteY51" fmla="*/ 701510 h 1950438"/>
                  <a:gd name="connsiteX52" fmla="*/ 1254647 w 1472144"/>
                  <a:gd name="connsiteY52" fmla="*/ 731687 h 1950438"/>
                  <a:gd name="connsiteX53" fmla="*/ 1275857 w 1472144"/>
                  <a:gd name="connsiteY53" fmla="*/ 743955 h 1950438"/>
                  <a:gd name="connsiteX54" fmla="*/ 1281346 w 1472144"/>
                  <a:gd name="connsiteY54" fmla="*/ 796737 h 1950438"/>
                  <a:gd name="connsiteX55" fmla="*/ 1331471 w 1472144"/>
                  <a:gd name="connsiteY55" fmla="*/ 815916 h 1950438"/>
                  <a:gd name="connsiteX56" fmla="*/ 1337930 w 1472144"/>
                  <a:gd name="connsiteY56" fmla="*/ 836413 h 1950438"/>
                  <a:gd name="connsiteX57" fmla="*/ 1375085 w 1472144"/>
                  <a:gd name="connsiteY57" fmla="*/ 835547 h 1950438"/>
                  <a:gd name="connsiteX58" fmla="*/ 1389682 w 1472144"/>
                  <a:gd name="connsiteY58" fmla="*/ 809513 h 1950438"/>
                  <a:gd name="connsiteX59" fmla="*/ 1399184 w 1472144"/>
                  <a:gd name="connsiteY59" fmla="*/ 828573 h 1950438"/>
                  <a:gd name="connsiteX60" fmla="*/ 1386071 w 1472144"/>
                  <a:gd name="connsiteY60" fmla="*/ 849925 h 1950438"/>
                  <a:gd name="connsiteX61" fmla="*/ 1419362 w 1472144"/>
                  <a:gd name="connsiteY61" fmla="*/ 866090 h 1950438"/>
                  <a:gd name="connsiteX62" fmla="*/ 1406925 w 1472144"/>
                  <a:gd name="connsiteY62" fmla="*/ 879744 h 1950438"/>
                  <a:gd name="connsiteX63" fmla="*/ 1424022 w 1472144"/>
                  <a:gd name="connsiteY63" fmla="*/ 944071 h 1950438"/>
                  <a:gd name="connsiteX64" fmla="*/ 1406925 w 1472144"/>
                  <a:gd name="connsiteY64" fmla="*/ 953258 h 1950438"/>
                  <a:gd name="connsiteX65" fmla="*/ 1400470 w 1472144"/>
                  <a:gd name="connsiteY65" fmla="*/ 992868 h 1950438"/>
                  <a:gd name="connsiteX66" fmla="*/ 1366790 w 1472144"/>
                  <a:gd name="connsiteY66" fmla="*/ 1047326 h 1950438"/>
                  <a:gd name="connsiteX67" fmla="*/ 1327958 w 1472144"/>
                  <a:gd name="connsiteY67" fmla="*/ 1043873 h 1950438"/>
                  <a:gd name="connsiteX68" fmla="*/ 1352417 w 1472144"/>
                  <a:gd name="connsiteY68" fmla="*/ 1110243 h 1950438"/>
                  <a:gd name="connsiteX69" fmla="*/ 1324401 w 1472144"/>
                  <a:gd name="connsiteY69" fmla="*/ 1150143 h 1950438"/>
                  <a:gd name="connsiteX70" fmla="*/ 1375835 w 1472144"/>
                  <a:gd name="connsiteY70" fmla="*/ 1255751 h 1950438"/>
                  <a:gd name="connsiteX71" fmla="*/ 1352856 w 1472144"/>
                  <a:gd name="connsiteY71" fmla="*/ 1282994 h 1950438"/>
                  <a:gd name="connsiteX72" fmla="*/ 1371778 w 1472144"/>
                  <a:gd name="connsiteY72" fmla="*/ 1330920 h 1950438"/>
                  <a:gd name="connsiteX73" fmla="*/ 1349712 w 1472144"/>
                  <a:gd name="connsiteY73" fmla="*/ 1347313 h 1950438"/>
                  <a:gd name="connsiteX74" fmla="*/ 1354021 w 1472144"/>
                  <a:gd name="connsiteY74" fmla="*/ 1385828 h 1950438"/>
                  <a:gd name="connsiteX75" fmla="*/ 1386330 w 1472144"/>
                  <a:gd name="connsiteY75" fmla="*/ 1397854 h 1950438"/>
                  <a:gd name="connsiteX76" fmla="*/ 1408534 w 1472144"/>
                  <a:gd name="connsiteY76" fmla="*/ 1455306 h 1950438"/>
                  <a:gd name="connsiteX77" fmla="*/ 1373997 w 1472144"/>
                  <a:gd name="connsiteY77" fmla="*/ 1531116 h 1950438"/>
                  <a:gd name="connsiteX78" fmla="*/ 1417075 w 1472144"/>
                  <a:gd name="connsiteY78" fmla="*/ 1537882 h 1950438"/>
                  <a:gd name="connsiteX79" fmla="*/ 1424692 w 1472144"/>
                  <a:gd name="connsiteY79" fmla="*/ 1569864 h 1950438"/>
                  <a:gd name="connsiteX80" fmla="*/ 1456279 w 1472144"/>
                  <a:gd name="connsiteY80" fmla="*/ 1562341 h 1950438"/>
                  <a:gd name="connsiteX81" fmla="*/ 1471479 w 1472144"/>
                  <a:gd name="connsiteY81" fmla="*/ 1576464 h 1950438"/>
                  <a:gd name="connsiteX82" fmla="*/ 1457441 w 1472144"/>
                  <a:gd name="connsiteY82" fmla="*/ 1690650 h 1950438"/>
                  <a:gd name="connsiteX83" fmla="*/ 1422242 w 1472144"/>
                  <a:gd name="connsiteY83" fmla="*/ 1702784 h 1950438"/>
                  <a:gd name="connsiteX84" fmla="*/ 1399388 w 1472144"/>
                  <a:gd name="connsiteY84" fmla="*/ 1742516 h 1950438"/>
                  <a:gd name="connsiteX85" fmla="*/ 1378356 w 1472144"/>
                  <a:gd name="connsiteY85" fmla="*/ 1748550 h 1950438"/>
                  <a:gd name="connsiteX86" fmla="*/ 1398473 w 1472144"/>
                  <a:gd name="connsiteY86" fmla="*/ 1787178 h 1950438"/>
                  <a:gd name="connsiteX87" fmla="*/ 1418076 w 1472144"/>
                  <a:gd name="connsiteY87" fmla="*/ 1792951 h 1950438"/>
                  <a:gd name="connsiteX88" fmla="*/ 1390759 w 1472144"/>
                  <a:gd name="connsiteY88" fmla="*/ 1859181 h 1950438"/>
                  <a:gd name="connsiteX89" fmla="*/ 1290966 w 1472144"/>
                  <a:gd name="connsiteY89" fmla="*/ 1950282 h 1950438"/>
                  <a:gd name="connsiteX90" fmla="*/ 1259710 w 1472144"/>
                  <a:gd name="connsiteY90" fmla="*/ 1883218 h 1950438"/>
                  <a:gd name="connsiteX91" fmla="*/ 1221198 w 1472144"/>
                  <a:gd name="connsiteY91" fmla="*/ 1891937 h 1950438"/>
                  <a:gd name="connsiteX92" fmla="*/ 1192705 w 1472144"/>
                  <a:gd name="connsiteY92" fmla="*/ 1838115 h 1950438"/>
                  <a:gd name="connsiteX93" fmla="*/ 1153282 w 1472144"/>
                  <a:gd name="connsiteY93" fmla="*/ 1817804 h 1950438"/>
                  <a:gd name="connsiteX94" fmla="*/ 1119963 w 1472144"/>
                  <a:gd name="connsiteY94" fmla="*/ 1826430 h 1950438"/>
                  <a:gd name="connsiteX95" fmla="*/ 1095048 w 1472144"/>
                  <a:gd name="connsiteY95" fmla="*/ 1794907 h 1950438"/>
                  <a:gd name="connsiteX96" fmla="*/ 1089551 w 1472144"/>
                  <a:gd name="connsiteY96" fmla="*/ 1746684 h 1950438"/>
                  <a:gd name="connsiteX97" fmla="*/ 1063894 w 1472144"/>
                  <a:gd name="connsiteY97" fmla="*/ 1744593 h 1950438"/>
                  <a:gd name="connsiteX98" fmla="*/ 998128 w 1472144"/>
                  <a:gd name="connsiteY98" fmla="*/ 1777808 h 1950438"/>
                  <a:gd name="connsiteX99" fmla="*/ 984335 w 1472144"/>
                  <a:gd name="connsiteY99" fmla="*/ 1803885 h 1950438"/>
                  <a:gd name="connsiteX100" fmla="*/ 907872 w 1472144"/>
                  <a:gd name="connsiteY100" fmla="*/ 1781626 h 1950438"/>
                  <a:gd name="connsiteX101" fmla="*/ 856803 w 1472144"/>
                  <a:gd name="connsiteY101" fmla="*/ 1787960 h 1950438"/>
                  <a:gd name="connsiteX102" fmla="*/ 787930 w 1472144"/>
                  <a:gd name="connsiteY102" fmla="*/ 1671112 h 1950438"/>
                  <a:gd name="connsiteX103" fmla="*/ 761649 w 1472144"/>
                  <a:gd name="connsiteY103" fmla="*/ 1675725 h 1950438"/>
                  <a:gd name="connsiteX104" fmla="*/ 732650 w 1472144"/>
                  <a:gd name="connsiteY104" fmla="*/ 1637977 h 1950438"/>
                  <a:gd name="connsiteX105" fmla="*/ 644685 w 1472144"/>
                  <a:gd name="connsiteY105" fmla="*/ 1618814 h 1950438"/>
                  <a:gd name="connsiteX106" fmla="*/ 634319 w 1472144"/>
                  <a:gd name="connsiteY106" fmla="*/ 1592036 h 1950438"/>
                  <a:gd name="connsiteX107" fmla="*/ 585352 w 1472144"/>
                  <a:gd name="connsiteY107" fmla="*/ 1570374 h 1950438"/>
                  <a:gd name="connsiteX108" fmla="*/ 570142 w 1472144"/>
                  <a:gd name="connsiteY108" fmla="*/ 1524162 h 1950438"/>
                  <a:gd name="connsiteX109" fmla="*/ 536063 w 1472144"/>
                  <a:gd name="connsiteY109" fmla="*/ 1534706 h 1950438"/>
                  <a:gd name="connsiteX110" fmla="*/ 464350 w 1472144"/>
                  <a:gd name="connsiteY110" fmla="*/ 1519595 h 1950438"/>
                  <a:gd name="connsiteX111" fmla="*/ 482319 w 1472144"/>
                  <a:gd name="connsiteY111" fmla="*/ 1444093 h 1950438"/>
                  <a:gd name="connsiteX112" fmla="*/ 449467 w 1472144"/>
                  <a:gd name="connsiteY112" fmla="*/ 1426447 h 1950438"/>
                  <a:gd name="connsiteX113" fmla="*/ 446173 w 1472144"/>
                  <a:gd name="connsiteY113" fmla="*/ 1371696 h 1950438"/>
                  <a:gd name="connsiteX114" fmla="*/ 470644 w 1472144"/>
                  <a:gd name="connsiteY114" fmla="*/ 1352593 h 1950438"/>
                  <a:gd name="connsiteX115" fmla="*/ 450547 w 1472144"/>
                  <a:gd name="connsiteY115" fmla="*/ 1317519 h 1950438"/>
                  <a:gd name="connsiteX116" fmla="*/ 422966 w 1472144"/>
                  <a:gd name="connsiteY116" fmla="*/ 1308342 h 1950438"/>
                  <a:gd name="connsiteX117" fmla="*/ 395947 w 1472144"/>
                  <a:gd name="connsiteY117" fmla="*/ 1269131 h 1950438"/>
                  <a:gd name="connsiteX118" fmla="*/ 368036 w 1472144"/>
                  <a:gd name="connsiteY118" fmla="*/ 1262967 h 1950438"/>
                  <a:gd name="connsiteX119" fmla="*/ 372250 w 1472144"/>
                  <a:gd name="connsiteY119" fmla="*/ 1283564 h 1950438"/>
                  <a:gd name="connsiteX120" fmla="*/ 356783 w 1472144"/>
                  <a:gd name="connsiteY120" fmla="*/ 1294722 h 1950438"/>
                  <a:gd name="connsiteX121" fmla="*/ 332909 w 1472144"/>
                  <a:gd name="connsiteY121" fmla="*/ 1272081 h 1950438"/>
                  <a:gd name="connsiteX122" fmla="*/ 273350 w 1472144"/>
                  <a:gd name="connsiteY122" fmla="*/ 1289609 h 1950438"/>
                  <a:gd name="connsiteX123" fmla="*/ 228656 w 1472144"/>
                  <a:gd name="connsiteY123" fmla="*/ 1233457 h 1950438"/>
                  <a:gd name="connsiteX124" fmla="*/ 257460 w 1472144"/>
                  <a:gd name="connsiteY124" fmla="*/ 1194704 h 1950438"/>
                  <a:gd name="connsiteX125" fmla="*/ 217141 w 1472144"/>
                  <a:gd name="connsiteY125" fmla="*/ 1160922 h 1950438"/>
                  <a:gd name="connsiteX126" fmla="*/ 34011 w 1472144"/>
                  <a:gd name="connsiteY126" fmla="*/ 1113687 h 1950438"/>
                  <a:gd name="connsiteX127" fmla="*/ 45156 w 1472144"/>
                  <a:gd name="connsiteY127" fmla="*/ 1090483 h 1950438"/>
                  <a:gd name="connsiteX128" fmla="*/ -666 w 1472144"/>
                  <a:gd name="connsiteY128" fmla="*/ 1045220 h 1950438"/>
                  <a:gd name="connsiteX129" fmla="*/ 28155 w 1472144"/>
                  <a:gd name="connsiteY129" fmla="*/ 1030109 h 1950438"/>
                  <a:gd name="connsiteX130" fmla="*/ 75349 w 1472144"/>
                  <a:gd name="connsiteY130" fmla="*/ 957661 h 1950438"/>
                  <a:gd name="connsiteX131" fmla="*/ 55585 w 1472144"/>
                  <a:gd name="connsiteY131" fmla="*/ 937447 h 1950438"/>
                  <a:gd name="connsiteX132" fmla="*/ 60157 w 1472144"/>
                  <a:gd name="connsiteY132" fmla="*/ 871180 h 1950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</a:cxnLst>
                <a:rect l="l" t="t" r="r" b="b"/>
                <a:pathLst>
                  <a:path w="1472144" h="1950438">
                    <a:moveTo>
                      <a:pt x="60159" y="871180"/>
                    </a:moveTo>
                    <a:lnTo>
                      <a:pt x="116589" y="879013"/>
                    </a:lnTo>
                    <a:lnTo>
                      <a:pt x="189882" y="820180"/>
                    </a:lnTo>
                    <a:lnTo>
                      <a:pt x="326411" y="809856"/>
                    </a:lnTo>
                    <a:lnTo>
                      <a:pt x="346625" y="777997"/>
                    </a:lnTo>
                    <a:lnTo>
                      <a:pt x="418957" y="759801"/>
                    </a:lnTo>
                    <a:lnTo>
                      <a:pt x="415822" y="727911"/>
                    </a:lnTo>
                    <a:lnTo>
                      <a:pt x="442172" y="734464"/>
                    </a:lnTo>
                    <a:lnTo>
                      <a:pt x="454128" y="700291"/>
                    </a:lnTo>
                    <a:lnTo>
                      <a:pt x="416404" y="681126"/>
                    </a:lnTo>
                    <a:lnTo>
                      <a:pt x="418010" y="663936"/>
                    </a:lnTo>
                    <a:lnTo>
                      <a:pt x="432208" y="631996"/>
                    </a:lnTo>
                    <a:lnTo>
                      <a:pt x="477698" y="594981"/>
                    </a:lnTo>
                    <a:lnTo>
                      <a:pt x="478668" y="554931"/>
                    </a:lnTo>
                    <a:lnTo>
                      <a:pt x="442458" y="525237"/>
                    </a:lnTo>
                    <a:lnTo>
                      <a:pt x="450472" y="506811"/>
                    </a:lnTo>
                    <a:lnTo>
                      <a:pt x="506833" y="476815"/>
                    </a:lnTo>
                    <a:lnTo>
                      <a:pt x="576219" y="487558"/>
                    </a:lnTo>
                    <a:lnTo>
                      <a:pt x="637014" y="395975"/>
                    </a:lnTo>
                    <a:lnTo>
                      <a:pt x="631105" y="335289"/>
                    </a:lnTo>
                    <a:lnTo>
                      <a:pt x="656527" y="284201"/>
                    </a:lnTo>
                    <a:lnTo>
                      <a:pt x="717808" y="229146"/>
                    </a:lnTo>
                    <a:lnTo>
                      <a:pt x="808972" y="205693"/>
                    </a:lnTo>
                    <a:lnTo>
                      <a:pt x="899756" y="87563"/>
                    </a:lnTo>
                    <a:lnTo>
                      <a:pt x="976945" y="39173"/>
                    </a:lnTo>
                    <a:lnTo>
                      <a:pt x="999346" y="1300"/>
                    </a:lnTo>
                    <a:lnTo>
                      <a:pt x="1065282" y="-157"/>
                    </a:lnTo>
                    <a:lnTo>
                      <a:pt x="1106975" y="42608"/>
                    </a:lnTo>
                    <a:lnTo>
                      <a:pt x="1170204" y="41517"/>
                    </a:lnTo>
                    <a:lnTo>
                      <a:pt x="1318341" y="94425"/>
                    </a:lnTo>
                    <a:lnTo>
                      <a:pt x="1348754" y="127131"/>
                    </a:lnTo>
                    <a:lnTo>
                      <a:pt x="1351281" y="160619"/>
                    </a:lnTo>
                    <a:lnTo>
                      <a:pt x="1322503" y="212269"/>
                    </a:lnTo>
                    <a:lnTo>
                      <a:pt x="1259090" y="218263"/>
                    </a:lnTo>
                    <a:lnTo>
                      <a:pt x="1254989" y="270267"/>
                    </a:lnTo>
                    <a:lnTo>
                      <a:pt x="1353859" y="235661"/>
                    </a:lnTo>
                    <a:lnTo>
                      <a:pt x="1364085" y="311707"/>
                    </a:lnTo>
                    <a:lnTo>
                      <a:pt x="1346291" y="352138"/>
                    </a:lnTo>
                    <a:lnTo>
                      <a:pt x="1420892" y="426737"/>
                    </a:lnTo>
                    <a:lnTo>
                      <a:pt x="1401796" y="428803"/>
                    </a:lnTo>
                    <a:lnTo>
                      <a:pt x="1388128" y="461667"/>
                    </a:lnTo>
                    <a:lnTo>
                      <a:pt x="1355012" y="454158"/>
                    </a:lnTo>
                    <a:lnTo>
                      <a:pt x="1336752" y="481001"/>
                    </a:lnTo>
                    <a:lnTo>
                      <a:pt x="1395443" y="554347"/>
                    </a:lnTo>
                    <a:lnTo>
                      <a:pt x="1390294" y="619596"/>
                    </a:lnTo>
                    <a:lnTo>
                      <a:pt x="1374763" y="638739"/>
                    </a:lnTo>
                    <a:lnTo>
                      <a:pt x="1384992" y="651159"/>
                    </a:lnTo>
                    <a:lnTo>
                      <a:pt x="1350545" y="639956"/>
                    </a:lnTo>
                    <a:lnTo>
                      <a:pt x="1300922" y="677094"/>
                    </a:lnTo>
                    <a:lnTo>
                      <a:pt x="1290930" y="668760"/>
                    </a:lnTo>
                    <a:lnTo>
                      <a:pt x="1287823" y="685063"/>
                    </a:lnTo>
                    <a:lnTo>
                      <a:pt x="1254497" y="701510"/>
                    </a:lnTo>
                    <a:lnTo>
                      <a:pt x="1254647" y="731687"/>
                    </a:lnTo>
                    <a:lnTo>
                      <a:pt x="1275857" y="743955"/>
                    </a:lnTo>
                    <a:lnTo>
                      <a:pt x="1281346" y="796737"/>
                    </a:lnTo>
                    <a:lnTo>
                      <a:pt x="1331471" y="815916"/>
                    </a:lnTo>
                    <a:lnTo>
                      <a:pt x="1337930" y="836413"/>
                    </a:lnTo>
                    <a:lnTo>
                      <a:pt x="1375085" y="835547"/>
                    </a:lnTo>
                    <a:lnTo>
                      <a:pt x="1389682" y="809513"/>
                    </a:lnTo>
                    <a:lnTo>
                      <a:pt x="1399184" y="828573"/>
                    </a:lnTo>
                    <a:lnTo>
                      <a:pt x="1386071" y="849925"/>
                    </a:lnTo>
                    <a:lnTo>
                      <a:pt x="1419362" y="866090"/>
                    </a:lnTo>
                    <a:lnTo>
                      <a:pt x="1406925" y="879744"/>
                    </a:lnTo>
                    <a:lnTo>
                      <a:pt x="1424022" y="944071"/>
                    </a:lnTo>
                    <a:lnTo>
                      <a:pt x="1406925" y="953258"/>
                    </a:lnTo>
                    <a:lnTo>
                      <a:pt x="1400470" y="992868"/>
                    </a:lnTo>
                    <a:lnTo>
                      <a:pt x="1366790" y="1047326"/>
                    </a:lnTo>
                    <a:lnTo>
                      <a:pt x="1327958" y="1043873"/>
                    </a:lnTo>
                    <a:lnTo>
                      <a:pt x="1352417" y="1110243"/>
                    </a:lnTo>
                    <a:lnTo>
                      <a:pt x="1324401" y="1150143"/>
                    </a:lnTo>
                    <a:lnTo>
                      <a:pt x="1375835" y="1255751"/>
                    </a:lnTo>
                    <a:lnTo>
                      <a:pt x="1352856" y="1282994"/>
                    </a:lnTo>
                    <a:lnTo>
                      <a:pt x="1371778" y="1330920"/>
                    </a:lnTo>
                    <a:lnTo>
                      <a:pt x="1349712" y="1347313"/>
                    </a:lnTo>
                    <a:lnTo>
                      <a:pt x="1354021" y="1385828"/>
                    </a:lnTo>
                    <a:lnTo>
                      <a:pt x="1386330" y="1397854"/>
                    </a:lnTo>
                    <a:lnTo>
                      <a:pt x="1408534" y="1455306"/>
                    </a:lnTo>
                    <a:lnTo>
                      <a:pt x="1373997" y="1531116"/>
                    </a:lnTo>
                    <a:lnTo>
                      <a:pt x="1417075" y="1537882"/>
                    </a:lnTo>
                    <a:lnTo>
                      <a:pt x="1424692" y="1569864"/>
                    </a:lnTo>
                    <a:lnTo>
                      <a:pt x="1456279" y="1562341"/>
                    </a:lnTo>
                    <a:lnTo>
                      <a:pt x="1471479" y="1576464"/>
                    </a:lnTo>
                    <a:lnTo>
                      <a:pt x="1457441" y="1690650"/>
                    </a:lnTo>
                    <a:lnTo>
                      <a:pt x="1422242" y="1702784"/>
                    </a:lnTo>
                    <a:lnTo>
                      <a:pt x="1399388" y="1742516"/>
                    </a:lnTo>
                    <a:lnTo>
                      <a:pt x="1378356" y="1748550"/>
                    </a:lnTo>
                    <a:lnTo>
                      <a:pt x="1398473" y="1787178"/>
                    </a:lnTo>
                    <a:lnTo>
                      <a:pt x="1418076" y="1792951"/>
                    </a:lnTo>
                    <a:lnTo>
                      <a:pt x="1390759" y="1859181"/>
                    </a:lnTo>
                    <a:lnTo>
                      <a:pt x="1290966" y="1950282"/>
                    </a:lnTo>
                    <a:lnTo>
                      <a:pt x="1259710" y="1883218"/>
                    </a:lnTo>
                    <a:lnTo>
                      <a:pt x="1221198" y="1891937"/>
                    </a:lnTo>
                    <a:lnTo>
                      <a:pt x="1192705" y="1838115"/>
                    </a:lnTo>
                    <a:lnTo>
                      <a:pt x="1153282" y="1817804"/>
                    </a:lnTo>
                    <a:lnTo>
                      <a:pt x="1119963" y="1826430"/>
                    </a:lnTo>
                    <a:lnTo>
                      <a:pt x="1095048" y="1794907"/>
                    </a:lnTo>
                    <a:lnTo>
                      <a:pt x="1089551" y="1746684"/>
                    </a:lnTo>
                    <a:lnTo>
                      <a:pt x="1063894" y="1744593"/>
                    </a:lnTo>
                    <a:lnTo>
                      <a:pt x="998128" y="1777808"/>
                    </a:lnTo>
                    <a:lnTo>
                      <a:pt x="984335" y="1803885"/>
                    </a:lnTo>
                    <a:lnTo>
                      <a:pt x="907872" y="1781626"/>
                    </a:lnTo>
                    <a:lnTo>
                      <a:pt x="856803" y="1787960"/>
                    </a:lnTo>
                    <a:lnTo>
                      <a:pt x="787930" y="1671112"/>
                    </a:lnTo>
                    <a:lnTo>
                      <a:pt x="761649" y="1675725"/>
                    </a:lnTo>
                    <a:lnTo>
                      <a:pt x="732650" y="1637977"/>
                    </a:lnTo>
                    <a:lnTo>
                      <a:pt x="644685" y="1618814"/>
                    </a:lnTo>
                    <a:lnTo>
                      <a:pt x="634319" y="1592036"/>
                    </a:lnTo>
                    <a:lnTo>
                      <a:pt x="585352" y="1570374"/>
                    </a:lnTo>
                    <a:lnTo>
                      <a:pt x="570142" y="1524162"/>
                    </a:lnTo>
                    <a:lnTo>
                      <a:pt x="536063" y="1534706"/>
                    </a:lnTo>
                    <a:lnTo>
                      <a:pt x="464350" y="1519595"/>
                    </a:lnTo>
                    <a:lnTo>
                      <a:pt x="482319" y="1444093"/>
                    </a:lnTo>
                    <a:lnTo>
                      <a:pt x="449467" y="1426447"/>
                    </a:lnTo>
                    <a:lnTo>
                      <a:pt x="446173" y="1371696"/>
                    </a:lnTo>
                    <a:lnTo>
                      <a:pt x="470644" y="1352593"/>
                    </a:lnTo>
                    <a:lnTo>
                      <a:pt x="450547" y="1317519"/>
                    </a:lnTo>
                    <a:lnTo>
                      <a:pt x="422966" y="1308342"/>
                    </a:lnTo>
                    <a:lnTo>
                      <a:pt x="395947" y="1269131"/>
                    </a:lnTo>
                    <a:lnTo>
                      <a:pt x="368036" y="1262967"/>
                    </a:lnTo>
                    <a:lnTo>
                      <a:pt x="372250" y="1283564"/>
                    </a:lnTo>
                    <a:lnTo>
                      <a:pt x="356783" y="1294722"/>
                    </a:lnTo>
                    <a:lnTo>
                      <a:pt x="332909" y="1272081"/>
                    </a:lnTo>
                    <a:lnTo>
                      <a:pt x="273350" y="1289609"/>
                    </a:lnTo>
                    <a:lnTo>
                      <a:pt x="228656" y="1233457"/>
                    </a:lnTo>
                    <a:lnTo>
                      <a:pt x="257460" y="1194704"/>
                    </a:lnTo>
                    <a:lnTo>
                      <a:pt x="217141" y="1160922"/>
                    </a:lnTo>
                    <a:lnTo>
                      <a:pt x="34011" y="1113687"/>
                    </a:lnTo>
                    <a:lnTo>
                      <a:pt x="45156" y="1090483"/>
                    </a:lnTo>
                    <a:lnTo>
                      <a:pt x="-666" y="1045220"/>
                    </a:lnTo>
                    <a:lnTo>
                      <a:pt x="28155" y="1030109"/>
                    </a:lnTo>
                    <a:lnTo>
                      <a:pt x="75349" y="957661"/>
                    </a:lnTo>
                    <a:lnTo>
                      <a:pt x="55585" y="937447"/>
                    </a:lnTo>
                    <a:lnTo>
                      <a:pt x="60157" y="871180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3" name="Тюменская область">
                <a:extLst>
                  <a:ext uri="{FF2B5EF4-FFF2-40B4-BE49-F238E27FC236}">
                    <a16:creationId xmlns:a16="http://schemas.microsoft.com/office/drawing/2014/main" id="{49FF4261-778F-4835-BE92-474A9B6006AC}"/>
                  </a:ext>
                </a:extLst>
              </p:cNvPr>
              <p:cNvSpPr/>
              <p:nvPr/>
            </p:nvSpPr>
            <p:spPr>
              <a:xfrm>
                <a:off x="3757203" y="4006512"/>
                <a:ext cx="914751" cy="718970"/>
              </a:xfrm>
              <a:custGeom>
                <a:avLst/>
                <a:gdLst>
                  <a:gd name="connsiteX0" fmla="*/ 50992 w 914751"/>
                  <a:gd name="connsiteY0" fmla="*/ 211320 h 718970"/>
                  <a:gd name="connsiteX1" fmla="*/ 84154 w 914751"/>
                  <a:gd name="connsiteY1" fmla="*/ 180313 h 718970"/>
                  <a:gd name="connsiteX2" fmla="*/ 78066 w 914751"/>
                  <a:gd name="connsiteY2" fmla="*/ 163040 h 718970"/>
                  <a:gd name="connsiteX3" fmla="*/ 134733 w 914751"/>
                  <a:gd name="connsiteY3" fmla="*/ 160362 h 718970"/>
                  <a:gd name="connsiteX4" fmla="*/ 135105 w 914751"/>
                  <a:gd name="connsiteY4" fmla="*/ 177507 h 718970"/>
                  <a:gd name="connsiteX5" fmla="*/ 157496 w 914751"/>
                  <a:gd name="connsiteY5" fmla="*/ 161694 h 718970"/>
                  <a:gd name="connsiteX6" fmla="*/ 203370 w 914751"/>
                  <a:gd name="connsiteY6" fmla="*/ 166122 h 718970"/>
                  <a:gd name="connsiteX7" fmla="*/ 230240 w 914751"/>
                  <a:gd name="connsiteY7" fmla="*/ 73915 h 718970"/>
                  <a:gd name="connsiteX8" fmla="*/ 293212 w 914751"/>
                  <a:gd name="connsiteY8" fmla="*/ 99377 h 718970"/>
                  <a:gd name="connsiteX9" fmla="*/ 311286 w 914751"/>
                  <a:gd name="connsiteY9" fmla="*/ 61924 h 718970"/>
                  <a:gd name="connsiteX10" fmla="*/ 440844 w 914751"/>
                  <a:gd name="connsiteY10" fmla="*/ 70474 h 718970"/>
                  <a:gd name="connsiteX11" fmla="*/ 485746 w 914751"/>
                  <a:gd name="connsiteY11" fmla="*/ 32945 h 718970"/>
                  <a:gd name="connsiteX12" fmla="*/ 550125 w 914751"/>
                  <a:gd name="connsiteY12" fmla="*/ 32225 h 718970"/>
                  <a:gd name="connsiteX13" fmla="*/ 542338 w 914751"/>
                  <a:gd name="connsiteY13" fmla="*/ 5318 h 718970"/>
                  <a:gd name="connsiteX14" fmla="*/ 561795 w 914751"/>
                  <a:gd name="connsiteY14" fmla="*/ -157 h 718970"/>
                  <a:gd name="connsiteX15" fmla="*/ 620606 w 914751"/>
                  <a:gd name="connsiteY15" fmla="*/ 33876 h 718970"/>
                  <a:gd name="connsiteX16" fmla="*/ 632125 w 914751"/>
                  <a:gd name="connsiteY16" fmla="*/ 57940 h 718970"/>
                  <a:gd name="connsiteX17" fmla="*/ 692387 w 914751"/>
                  <a:gd name="connsiteY17" fmla="*/ 73100 h 718970"/>
                  <a:gd name="connsiteX18" fmla="*/ 690663 w 914751"/>
                  <a:gd name="connsiteY18" fmla="*/ 92468 h 718970"/>
                  <a:gd name="connsiteX19" fmla="*/ 734814 w 914751"/>
                  <a:gd name="connsiteY19" fmla="*/ 155076 h 718970"/>
                  <a:gd name="connsiteX20" fmla="*/ 744099 w 914751"/>
                  <a:gd name="connsiteY20" fmla="*/ 223546 h 718970"/>
                  <a:gd name="connsiteX21" fmla="*/ 775936 w 914751"/>
                  <a:gd name="connsiteY21" fmla="*/ 240318 h 718970"/>
                  <a:gd name="connsiteX22" fmla="*/ 764852 w 914751"/>
                  <a:gd name="connsiteY22" fmla="*/ 278116 h 718970"/>
                  <a:gd name="connsiteX23" fmla="*/ 914085 w 914751"/>
                  <a:gd name="connsiteY23" fmla="*/ 378764 h 718970"/>
                  <a:gd name="connsiteX24" fmla="*/ 812791 w 914751"/>
                  <a:gd name="connsiteY24" fmla="*/ 420874 h 718970"/>
                  <a:gd name="connsiteX25" fmla="*/ 730580 w 914751"/>
                  <a:gd name="connsiteY25" fmla="*/ 385243 h 718970"/>
                  <a:gd name="connsiteX26" fmla="*/ 697067 w 914751"/>
                  <a:gd name="connsiteY26" fmla="*/ 398297 h 718970"/>
                  <a:gd name="connsiteX27" fmla="*/ 649188 w 914751"/>
                  <a:gd name="connsiteY27" fmla="*/ 375433 h 718970"/>
                  <a:gd name="connsiteX28" fmla="*/ 642312 w 914751"/>
                  <a:gd name="connsiteY28" fmla="*/ 355546 h 718970"/>
                  <a:gd name="connsiteX29" fmla="*/ 579986 w 914751"/>
                  <a:gd name="connsiteY29" fmla="*/ 339063 h 718970"/>
                  <a:gd name="connsiteX30" fmla="*/ 607054 w 914751"/>
                  <a:gd name="connsiteY30" fmla="*/ 295328 h 718970"/>
                  <a:gd name="connsiteX31" fmla="*/ 582143 w 914751"/>
                  <a:gd name="connsiteY31" fmla="*/ 259296 h 718970"/>
                  <a:gd name="connsiteX32" fmla="*/ 505444 w 914751"/>
                  <a:gd name="connsiteY32" fmla="*/ 332031 h 718970"/>
                  <a:gd name="connsiteX33" fmla="*/ 505586 w 914751"/>
                  <a:gd name="connsiteY33" fmla="*/ 398112 h 718970"/>
                  <a:gd name="connsiteX34" fmla="*/ 469808 w 914751"/>
                  <a:gd name="connsiteY34" fmla="*/ 413878 h 718970"/>
                  <a:gd name="connsiteX35" fmla="*/ 485650 w 914751"/>
                  <a:gd name="connsiteY35" fmla="*/ 442979 h 718970"/>
                  <a:gd name="connsiteX36" fmla="*/ 503792 w 914751"/>
                  <a:gd name="connsiteY36" fmla="*/ 422991 h 718970"/>
                  <a:gd name="connsiteX37" fmla="*/ 521427 w 914751"/>
                  <a:gd name="connsiteY37" fmla="*/ 428692 h 718970"/>
                  <a:gd name="connsiteX38" fmla="*/ 535423 w 914751"/>
                  <a:gd name="connsiteY38" fmla="*/ 538726 h 718970"/>
                  <a:gd name="connsiteX39" fmla="*/ 503117 w 914751"/>
                  <a:gd name="connsiteY39" fmla="*/ 547461 h 718970"/>
                  <a:gd name="connsiteX40" fmla="*/ 478957 w 914751"/>
                  <a:gd name="connsiteY40" fmla="*/ 528220 h 718970"/>
                  <a:gd name="connsiteX41" fmla="*/ 474044 w 914751"/>
                  <a:gd name="connsiteY41" fmla="*/ 553090 h 718970"/>
                  <a:gd name="connsiteX42" fmla="*/ 440480 w 914751"/>
                  <a:gd name="connsiteY42" fmla="*/ 555266 h 718970"/>
                  <a:gd name="connsiteX43" fmla="*/ 449586 w 914751"/>
                  <a:gd name="connsiteY43" fmla="*/ 579684 h 718970"/>
                  <a:gd name="connsiteX44" fmla="*/ 429281 w 914751"/>
                  <a:gd name="connsiteY44" fmla="*/ 579517 h 718970"/>
                  <a:gd name="connsiteX45" fmla="*/ 421620 w 914751"/>
                  <a:gd name="connsiteY45" fmla="*/ 625718 h 718970"/>
                  <a:gd name="connsiteX46" fmla="*/ 383127 w 914751"/>
                  <a:gd name="connsiteY46" fmla="*/ 627507 h 718970"/>
                  <a:gd name="connsiteX47" fmla="*/ 410499 w 914751"/>
                  <a:gd name="connsiteY47" fmla="*/ 642542 h 718970"/>
                  <a:gd name="connsiteX48" fmla="*/ 385604 w 914751"/>
                  <a:gd name="connsiteY48" fmla="*/ 638781 h 718970"/>
                  <a:gd name="connsiteX49" fmla="*/ 388985 w 914751"/>
                  <a:gd name="connsiteY49" fmla="*/ 675611 h 718970"/>
                  <a:gd name="connsiteX50" fmla="*/ 318607 w 914751"/>
                  <a:gd name="connsiteY50" fmla="*/ 718814 h 718970"/>
                  <a:gd name="connsiteX51" fmla="*/ 287896 w 914751"/>
                  <a:gd name="connsiteY51" fmla="*/ 669871 h 718970"/>
                  <a:gd name="connsiteX52" fmla="*/ 295779 w 914751"/>
                  <a:gd name="connsiteY52" fmla="*/ 651246 h 718970"/>
                  <a:gd name="connsiteX53" fmla="*/ 275325 w 914751"/>
                  <a:gd name="connsiteY53" fmla="*/ 666509 h 718970"/>
                  <a:gd name="connsiteX54" fmla="*/ 233999 w 914751"/>
                  <a:gd name="connsiteY54" fmla="*/ 629279 h 718970"/>
                  <a:gd name="connsiteX55" fmla="*/ 227846 w 914751"/>
                  <a:gd name="connsiteY55" fmla="*/ 653291 h 718970"/>
                  <a:gd name="connsiteX56" fmla="*/ 196828 w 914751"/>
                  <a:gd name="connsiteY56" fmla="*/ 615362 h 718970"/>
                  <a:gd name="connsiteX57" fmla="*/ 192176 w 914751"/>
                  <a:gd name="connsiteY57" fmla="*/ 559895 h 718970"/>
                  <a:gd name="connsiteX58" fmla="*/ 168435 w 914751"/>
                  <a:gd name="connsiteY58" fmla="*/ 560285 h 718970"/>
                  <a:gd name="connsiteX59" fmla="*/ 132985 w 914751"/>
                  <a:gd name="connsiteY59" fmla="*/ 529955 h 718970"/>
                  <a:gd name="connsiteX60" fmla="*/ 141595 w 914751"/>
                  <a:gd name="connsiteY60" fmla="*/ 493278 h 718970"/>
                  <a:gd name="connsiteX61" fmla="*/ 102376 w 914751"/>
                  <a:gd name="connsiteY61" fmla="*/ 459384 h 718970"/>
                  <a:gd name="connsiteX62" fmla="*/ 76902 w 914751"/>
                  <a:gd name="connsiteY62" fmla="*/ 461381 h 718970"/>
                  <a:gd name="connsiteX63" fmla="*/ 61001 w 914751"/>
                  <a:gd name="connsiteY63" fmla="*/ 433307 h 718970"/>
                  <a:gd name="connsiteX64" fmla="*/ 44785 w 914751"/>
                  <a:gd name="connsiteY64" fmla="*/ 437982 h 718970"/>
                  <a:gd name="connsiteX65" fmla="*/ 39112 w 914751"/>
                  <a:gd name="connsiteY65" fmla="*/ 386271 h 718970"/>
                  <a:gd name="connsiteX66" fmla="*/ -666 w 914751"/>
                  <a:gd name="connsiteY66" fmla="*/ 358138 h 718970"/>
                  <a:gd name="connsiteX67" fmla="*/ 19375 w 914751"/>
                  <a:gd name="connsiteY67" fmla="*/ 286543 h 718970"/>
                  <a:gd name="connsiteX68" fmla="*/ 36885 w 914751"/>
                  <a:gd name="connsiteY68" fmla="*/ 297572 h 718970"/>
                  <a:gd name="connsiteX69" fmla="*/ 54741 w 914751"/>
                  <a:gd name="connsiteY69" fmla="*/ 279511 h 718970"/>
                  <a:gd name="connsiteX70" fmla="*/ 38830 w 914751"/>
                  <a:gd name="connsiteY70" fmla="*/ 273813 h 718970"/>
                  <a:gd name="connsiteX71" fmla="*/ 59661 w 914751"/>
                  <a:gd name="connsiteY71" fmla="*/ 226605 h 718970"/>
                  <a:gd name="connsiteX72" fmla="*/ 50990 w 914751"/>
                  <a:gd name="connsiteY72" fmla="*/ 211319 h 718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914751" h="718970">
                    <a:moveTo>
                      <a:pt x="50992" y="211320"/>
                    </a:moveTo>
                    <a:lnTo>
                      <a:pt x="84154" y="180313"/>
                    </a:lnTo>
                    <a:lnTo>
                      <a:pt x="78066" y="163040"/>
                    </a:lnTo>
                    <a:lnTo>
                      <a:pt x="134733" y="160362"/>
                    </a:lnTo>
                    <a:lnTo>
                      <a:pt x="135105" y="177507"/>
                    </a:lnTo>
                    <a:lnTo>
                      <a:pt x="157496" y="161694"/>
                    </a:lnTo>
                    <a:lnTo>
                      <a:pt x="203370" y="166122"/>
                    </a:lnTo>
                    <a:lnTo>
                      <a:pt x="230240" y="73915"/>
                    </a:lnTo>
                    <a:lnTo>
                      <a:pt x="293212" y="99377"/>
                    </a:lnTo>
                    <a:lnTo>
                      <a:pt x="311286" y="61924"/>
                    </a:lnTo>
                    <a:lnTo>
                      <a:pt x="440844" y="70474"/>
                    </a:lnTo>
                    <a:lnTo>
                      <a:pt x="485746" y="32945"/>
                    </a:lnTo>
                    <a:lnTo>
                      <a:pt x="550125" y="32225"/>
                    </a:lnTo>
                    <a:lnTo>
                      <a:pt x="542338" y="5318"/>
                    </a:lnTo>
                    <a:lnTo>
                      <a:pt x="561795" y="-157"/>
                    </a:lnTo>
                    <a:lnTo>
                      <a:pt x="620606" y="33876"/>
                    </a:lnTo>
                    <a:lnTo>
                      <a:pt x="632125" y="57940"/>
                    </a:lnTo>
                    <a:lnTo>
                      <a:pt x="692387" y="73100"/>
                    </a:lnTo>
                    <a:lnTo>
                      <a:pt x="690663" y="92468"/>
                    </a:lnTo>
                    <a:lnTo>
                      <a:pt x="734814" y="155076"/>
                    </a:lnTo>
                    <a:lnTo>
                      <a:pt x="744099" y="223546"/>
                    </a:lnTo>
                    <a:lnTo>
                      <a:pt x="775936" y="240318"/>
                    </a:lnTo>
                    <a:lnTo>
                      <a:pt x="764852" y="278116"/>
                    </a:lnTo>
                    <a:lnTo>
                      <a:pt x="914085" y="378764"/>
                    </a:lnTo>
                    <a:lnTo>
                      <a:pt x="812791" y="420874"/>
                    </a:lnTo>
                    <a:lnTo>
                      <a:pt x="730580" y="385243"/>
                    </a:lnTo>
                    <a:lnTo>
                      <a:pt x="697067" y="398297"/>
                    </a:lnTo>
                    <a:lnTo>
                      <a:pt x="649188" y="375433"/>
                    </a:lnTo>
                    <a:lnTo>
                      <a:pt x="642312" y="355546"/>
                    </a:lnTo>
                    <a:lnTo>
                      <a:pt x="579986" y="339063"/>
                    </a:lnTo>
                    <a:lnTo>
                      <a:pt x="607054" y="295328"/>
                    </a:lnTo>
                    <a:lnTo>
                      <a:pt x="582143" y="259296"/>
                    </a:lnTo>
                    <a:lnTo>
                      <a:pt x="505444" y="332031"/>
                    </a:lnTo>
                    <a:lnTo>
                      <a:pt x="505586" y="398112"/>
                    </a:lnTo>
                    <a:lnTo>
                      <a:pt x="469808" y="413878"/>
                    </a:lnTo>
                    <a:lnTo>
                      <a:pt x="485650" y="442979"/>
                    </a:lnTo>
                    <a:lnTo>
                      <a:pt x="503792" y="422991"/>
                    </a:lnTo>
                    <a:lnTo>
                      <a:pt x="521427" y="428692"/>
                    </a:lnTo>
                    <a:lnTo>
                      <a:pt x="535423" y="538726"/>
                    </a:lnTo>
                    <a:lnTo>
                      <a:pt x="503117" y="547461"/>
                    </a:lnTo>
                    <a:lnTo>
                      <a:pt x="478957" y="528220"/>
                    </a:lnTo>
                    <a:lnTo>
                      <a:pt x="474044" y="553090"/>
                    </a:lnTo>
                    <a:lnTo>
                      <a:pt x="440480" y="555266"/>
                    </a:lnTo>
                    <a:lnTo>
                      <a:pt x="449586" y="579684"/>
                    </a:lnTo>
                    <a:lnTo>
                      <a:pt x="429281" y="579517"/>
                    </a:lnTo>
                    <a:lnTo>
                      <a:pt x="421620" y="625718"/>
                    </a:lnTo>
                    <a:lnTo>
                      <a:pt x="383127" y="627507"/>
                    </a:lnTo>
                    <a:lnTo>
                      <a:pt x="410499" y="642542"/>
                    </a:lnTo>
                    <a:lnTo>
                      <a:pt x="385604" y="638781"/>
                    </a:lnTo>
                    <a:lnTo>
                      <a:pt x="388985" y="675611"/>
                    </a:lnTo>
                    <a:lnTo>
                      <a:pt x="318607" y="718814"/>
                    </a:lnTo>
                    <a:lnTo>
                      <a:pt x="287896" y="669871"/>
                    </a:lnTo>
                    <a:lnTo>
                      <a:pt x="295779" y="651246"/>
                    </a:lnTo>
                    <a:lnTo>
                      <a:pt x="275325" y="666509"/>
                    </a:lnTo>
                    <a:lnTo>
                      <a:pt x="233999" y="629279"/>
                    </a:lnTo>
                    <a:lnTo>
                      <a:pt x="227846" y="653291"/>
                    </a:lnTo>
                    <a:lnTo>
                      <a:pt x="196828" y="615362"/>
                    </a:lnTo>
                    <a:lnTo>
                      <a:pt x="192176" y="559895"/>
                    </a:lnTo>
                    <a:lnTo>
                      <a:pt x="168435" y="560285"/>
                    </a:lnTo>
                    <a:lnTo>
                      <a:pt x="132985" y="529955"/>
                    </a:lnTo>
                    <a:lnTo>
                      <a:pt x="141595" y="493278"/>
                    </a:lnTo>
                    <a:lnTo>
                      <a:pt x="102376" y="459384"/>
                    </a:lnTo>
                    <a:lnTo>
                      <a:pt x="76902" y="461381"/>
                    </a:lnTo>
                    <a:lnTo>
                      <a:pt x="61001" y="433307"/>
                    </a:lnTo>
                    <a:lnTo>
                      <a:pt x="44785" y="437982"/>
                    </a:lnTo>
                    <a:lnTo>
                      <a:pt x="39112" y="386271"/>
                    </a:lnTo>
                    <a:lnTo>
                      <a:pt x="-666" y="358138"/>
                    </a:lnTo>
                    <a:lnTo>
                      <a:pt x="19375" y="286543"/>
                    </a:lnTo>
                    <a:lnTo>
                      <a:pt x="36885" y="297572"/>
                    </a:lnTo>
                    <a:lnTo>
                      <a:pt x="54741" y="279511"/>
                    </a:lnTo>
                    <a:lnTo>
                      <a:pt x="38830" y="273813"/>
                    </a:lnTo>
                    <a:lnTo>
                      <a:pt x="59661" y="226605"/>
                    </a:lnTo>
                    <a:lnTo>
                      <a:pt x="50990" y="211319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759" name="Сибирский федеральный округ">
              <a:extLst>
                <a:ext uri="{FF2B5EF4-FFF2-40B4-BE49-F238E27FC236}">
                  <a16:creationId xmlns:a16="http://schemas.microsoft.com/office/drawing/2014/main" id="{6A44F240-4FCF-41C8-A5C9-0DBC5A6F876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83398" y="1169822"/>
              <a:ext cx="4101081" cy="4944152"/>
              <a:chOff x="4083398" y="1169822"/>
              <a:chExt cx="4101081" cy="4944152"/>
            </a:xfrm>
            <a:solidFill>
              <a:srgbClr val="BBA0F5"/>
            </a:solidFill>
          </p:grpSpPr>
          <p:sp>
            <p:nvSpPr>
              <p:cNvPr id="94" name="Омская область">
                <a:extLst>
                  <a:ext uri="{FF2B5EF4-FFF2-40B4-BE49-F238E27FC236}">
                    <a16:creationId xmlns:a16="http://schemas.microsoft.com/office/drawing/2014/main" id="{70CFB7BA-EE9E-4E6E-9A42-0B9FE5F93BFC}"/>
                  </a:ext>
                </a:extLst>
              </p:cNvPr>
              <p:cNvSpPr/>
              <p:nvPr/>
            </p:nvSpPr>
            <p:spPr>
              <a:xfrm>
                <a:off x="4083398" y="4266010"/>
                <a:ext cx="593218" cy="847314"/>
              </a:xfrm>
              <a:custGeom>
                <a:avLst/>
                <a:gdLst>
                  <a:gd name="connsiteX0" fmla="*/ 179086 w 593218"/>
                  <a:gd name="connsiteY0" fmla="*/ 72771 h 847314"/>
                  <a:gd name="connsiteX1" fmla="*/ 256300 w 593218"/>
                  <a:gd name="connsiteY1" fmla="*/ -157 h 847314"/>
                  <a:gd name="connsiteX2" fmla="*/ 280882 w 593218"/>
                  <a:gd name="connsiteY2" fmla="*/ 36067 h 847314"/>
                  <a:gd name="connsiteX3" fmla="*/ 253234 w 593218"/>
                  <a:gd name="connsiteY3" fmla="*/ 79368 h 847314"/>
                  <a:gd name="connsiteX4" fmla="*/ 315705 w 593218"/>
                  <a:gd name="connsiteY4" fmla="*/ 95758 h 847314"/>
                  <a:gd name="connsiteX5" fmla="*/ 322996 w 593218"/>
                  <a:gd name="connsiteY5" fmla="*/ 115936 h 847314"/>
                  <a:gd name="connsiteX6" fmla="*/ 371055 w 593218"/>
                  <a:gd name="connsiteY6" fmla="*/ 138853 h 847314"/>
                  <a:gd name="connsiteX7" fmla="*/ 404387 w 593218"/>
                  <a:gd name="connsiteY7" fmla="*/ 125746 h 847314"/>
                  <a:gd name="connsiteX8" fmla="*/ 486598 w 593218"/>
                  <a:gd name="connsiteY8" fmla="*/ 161377 h 847314"/>
                  <a:gd name="connsiteX9" fmla="*/ 578673 w 593218"/>
                  <a:gd name="connsiteY9" fmla="*/ 122905 h 847314"/>
                  <a:gd name="connsiteX10" fmla="*/ 592553 w 593218"/>
                  <a:gd name="connsiteY10" fmla="*/ 148319 h 847314"/>
                  <a:gd name="connsiteX11" fmla="*/ 561869 w 593218"/>
                  <a:gd name="connsiteY11" fmla="*/ 156082 h 847314"/>
                  <a:gd name="connsiteX12" fmla="*/ 568725 w 593218"/>
                  <a:gd name="connsiteY12" fmla="*/ 181317 h 847314"/>
                  <a:gd name="connsiteX13" fmla="*/ 550924 w 593218"/>
                  <a:gd name="connsiteY13" fmla="*/ 188988 h 847314"/>
                  <a:gd name="connsiteX14" fmla="*/ 579313 w 593218"/>
                  <a:gd name="connsiteY14" fmla="*/ 229687 h 847314"/>
                  <a:gd name="connsiteX15" fmla="*/ 561599 w 593218"/>
                  <a:gd name="connsiteY15" fmla="*/ 274553 h 847314"/>
                  <a:gd name="connsiteX16" fmla="*/ 573642 w 593218"/>
                  <a:gd name="connsiteY16" fmla="*/ 278959 h 847314"/>
                  <a:gd name="connsiteX17" fmla="*/ 583943 w 593218"/>
                  <a:gd name="connsiteY17" fmla="*/ 347133 h 847314"/>
                  <a:gd name="connsiteX18" fmla="*/ 571451 w 593218"/>
                  <a:gd name="connsiteY18" fmla="*/ 431751 h 847314"/>
                  <a:gd name="connsiteX19" fmla="*/ 519951 w 593218"/>
                  <a:gd name="connsiteY19" fmla="*/ 459603 h 847314"/>
                  <a:gd name="connsiteX20" fmla="*/ 543832 w 593218"/>
                  <a:gd name="connsiteY20" fmla="*/ 463541 h 847314"/>
                  <a:gd name="connsiteX21" fmla="*/ 533448 w 593218"/>
                  <a:gd name="connsiteY21" fmla="*/ 485094 h 847314"/>
                  <a:gd name="connsiteX22" fmla="*/ 544940 w 593218"/>
                  <a:gd name="connsiteY22" fmla="*/ 511600 h 847314"/>
                  <a:gd name="connsiteX23" fmla="*/ 495733 w 593218"/>
                  <a:gd name="connsiteY23" fmla="*/ 501441 h 847314"/>
                  <a:gd name="connsiteX24" fmla="*/ 443097 w 593218"/>
                  <a:gd name="connsiteY24" fmla="*/ 526785 h 847314"/>
                  <a:gd name="connsiteX25" fmla="*/ 446293 w 593218"/>
                  <a:gd name="connsiteY25" fmla="*/ 545142 h 847314"/>
                  <a:gd name="connsiteX26" fmla="*/ 425421 w 593218"/>
                  <a:gd name="connsiteY26" fmla="*/ 534819 h 847314"/>
                  <a:gd name="connsiteX27" fmla="*/ 430811 w 593218"/>
                  <a:gd name="connsiteY27" fmla="*/ 558571 h 847314"/>
                  <a:gd name="connsiteX28" fmla="*/ 419053 w 593218"/>
                  <a:gd name="connsiteY28" fmla="*/ 561138 h 847314"/>
                  <a:gd name="connsiteX29" fmla="*/ 430713 w 593218"/>
                  <a:gd name="connsiteY29" fmla="*/ 573075 h 847314"/>
                  <a:gd name="connsiteX30" fmla="*/ 403751 w 593218"/>
                  <a:gd name="connsiteY30" fmla="*/ 589917 h 847314"/>
                  <a:gd name="connsiteX31" fmla="*/ 409512 w 593218"/>
                  <a:gd name="connsiteY31" fmla="*/ 654692 h 847314"/>
                  <a:gd name="connsiteX32" fmla="*/ 398630 w 593218"/>
                  <a:gd name="connsiteY32" fmla="*/ 665367 h 847314"/>
                  <a:gd name="connsiteX33" fmla="*/ 414004 w 593218"/>
                  <a:gd name="connsiteY33" fmla="*/ 670639 h 847314"/>
                  <a:gd name="connsiteX34" fmla="*/ 426240 w 593218"/>
                  <a:gd name="connsiteY34" fmla="*/ 725740 h 847314"/>
                  <a:gd name="connsiteX35" fmla="*/ 409372 w 593218"/>
                  <a:gd name="connsiteY35" fmla="*/ 729859 h 847314"/>
                  <a:gd name="connsiteX36" fmla="*/ 386739 w 593218"/>
                  <a:gd name="connsiteY36" fmla="*/ 791739 h 847314"/>
                  <a:gd name="connsiteX37" fmla="*/ 357336 w 593218"/>
                  <a:gd name="connsiteY37" fmla="*/ 789950 h 847314"/>
                  <a:gd name="connsiteX38" fmla="*/ 357454 w 593218"/>
                  <a:gd name="connsiteY38" fmla="*/ 805980 h 847314"/>
                  <a:gd name="connsiteX39" fmla="*/ 313890 w 593218"/>
                  <a:gd name="connsiteY39" fmla="*/ 819873 h 847314"/>
                  <a:gd name="connsiteX40" fmla="*/ 294014 w 593218"/>
                  <a:gd name="connsiteY40" fmla="*/ 807161 h 847314"/>
                  <a:gd name="connsiteX41" fmla="*/ 272580 w 593218"/>
                  <a:gd name="connsiteY41" fmla="*/ 824408 h 847314"/>
                  <a:gd name="connsiteX42" fmla="*/ 258243 w 593218"/>
                  <a:gd name="connsiteY42" fmla="*/ 816223 h 847314"/>
                  <a:gd name="connsiteX43" fmla="*/ 239426 w 593218"/>
                  <a:gd name="connsiteY43" fmla="*/ 847157 h 847314"/>
                  <a:gd name="connsiteX44" fmla="*/ 208220 w 593218"/>
                  <a:gd name="connsiteY44" fmla="*/ 803351 h 847314"/>
                  <a:gd name="connsiteX45" fmla="*/ 156330 w 593218"/>
                  <a:gd name="connsiteY45" fmla="*/ 818593 h 847314"/>
                  <a:gd name="connsiteX46" fmla="*/ 146862 w 593218"/>
                  <a:gd name="connsiteY46" fmla="*/ 793339 h 847314"/>
                  <a:gd name="connsiteX47" fmla="*/ 167827 w 593218"/>
                  <a:gd name="connsiteY47" fmla="*/ 764265 h 847314"/>
                  <a:gd name="connsiteX48" fmla="*/ 202201 w 593218"/>
                  <a:gd name="connsiteY48" fmla="*/ 765710 h 847314"/>
                  <a:gd name="connsiteX49" fmla="*/ 219243 w 593218"/>
                  <a:gd name="connsiteY49" fmla="*/ 740104 h 847314"/>
                  <a:gd name="connsiteX50" fmla="*/ 173178 w 593218"/>
                  <a:gd name="connsiteY50" fmla="*/ 740384 h 847314"/>
                  <a:gd name="connsiteX51" fmla="*/ 126160 w 593218"/>
                  <a:gd name="connsiteY51" fmla="*/ 688670 h 847314"/>
                  <a:gd name="connsiteX52" fmla="*/ 114019 w 593218"/>
                  <a:gd name="connsiteY52" fmla="*/ 699480 h 847314"/>
                  <a:gd name="connsiteX53" fmla="*/ 123378 w 593218"/>
                  <a:gd name="connsiteY53" fmla="*/ 718190 h 847314"/>
                  <a:gd name="connsiteX54" fmla="*/ 97855 w 593218"/>
                  <a:gd name="connsiteY54" fmla="*/ 714528 h 847314"/>
                  <a:gd name="connsiteX55" fmla="*/ 104954 w 593218"/>
                  <a:gd name="connsiteY55" fmla="*/ 685189 h 847314"/>
                  <a:gd name="connsiteX56" fmla="*/ 118707 w 593218"/>
                  <a:gd name="connsiteY56" fmla="*/ 684957 h 847314"/>
                  <a:gd name="connsiteX57" fmla="*/ 90200 w 593218"/>
                  <a:gd name="connsiteY57" fmla="*/ 634402 h 847314"/>
                  <a:gd name="connsiteX58" fmla="*/ 88785 w 593218"/>
                  <a:gd name="connsiteY58" fmla="*/ 675577 h 847314"/>
                  <a:gd name="connsiteX59" fmla="*/ 77306 w 593218"/>
                  <a:gd name="connsiteY59" fmla="*/ 650611 h 847314"/>
                  <a:gd name="connsiteX60" fmla="*/ 61629 w 593218"/>
                  <a:gd name="connsiteY60" fmla="*/ 642101 h 847314"/>
                  <a:gd name="connsiteX61" fmla="*/ 45423 w 593218"/>
                  <a:gd name="connsiteY61" fmla="*/ 661380 h 847314"/>
                  <a:gd name="connsiteX62" fmla="*/ 19141 w 593218"/>
                  <a:gd name="connsiteY62" fmla="*/ 635601 h 847314"/>
                  <a:gd name="connsiteX63" fmla="*/ 3385 w 593218"/>
                  <a:gd name="connsiteY63" fmla="*/ 644210 h 847314"/>
                  <a:gd name="connsiteX64" fmla="*/ -666 w 593218"/>
                  <a:gd name="connsiteY64" fmla="*/ 626054 h 847314"/>
                  <a:gd name="connsiteX65" fmla="*/ 3710 w 593218"/>
                  <a:gd name="connsiteY65" fmla="*/ 603158 h 847314"/>
                  <a:gd name="connsiteX66" fmla="*/ 18804 w 593218"/>
                  <a:gd name="connsiteY66" fmla="*/ 614207 h 847314"/>
                  <a:gd name="connsiteX67" fmla="*/ 48856 w 593218"/>
                  <a:gd name="connsiteY67" fmla="*/ 566347 h 847314"/>
                  <a:gd name="connsiteX68" fmla="*/ 34380 w 593218"/>
                  <a:gd name="connsiteY68" fmla="*/ 541658 h 847314"/>
                  <a:gd name="connsiteX69" fmla="*/ 52795 w 593218"/>
                  <a:gd name="connsiteY69" fmla="*/ 497264 h 847314"/>
                  <a:gd name="connsiteX70" fmla="*/ 48812 w 593218"/>
                  <a:gd name="connsiteY70" fmla="*/ 460505 h 847314"/>
                  <a:gd name="connsiteX71" fmla="*/ 20012 w 593218"/>
                  <a:gd name="connsiteY71" fmla="*/ 448040 h 847314"/>
                  <a:gd name="connsiteX72" fmla="*/ 26040 w 593218"/>
                  <a:gd name="connsiteY72" fmla="*/ 429955 h 847314"/>
                  <a:gd name="connsiteX73" fmla="*/ 62787 w 593218"/>
                  <a:gd name="connsiteY73" fmla="*/ 416113 h 847314"/>
                  <a:gd name="connsiteX74" fmla="*/ 59407 w 593218"/>
                  <a:gd name="connsiteY74" fmla="*/ 379284 h 847314"/>
                  <a:gd name="connsiteX75" fmla="*/ 84302 w 593218"/>
                  <a:gd name="connsiteY75" fmla="*/ 383044 h 847314"/>
                  <a:gd name="connsiteX76" fmla="*/ 61122 w 593218"/>
                  <a:gd name="connsiteY76" fmla="*/ 360547 h 847314"/>
                  <a:gd name="connsiteX77" fmla="*/ 95422 w 593218"/>
                  <a:gd name="connsiteY77" fmla="*/ 366220 h 847314"/>
                  <a:gd name="connsiteX78" fmla="*/ 103084 w 593218"/>
                  <a:gd name="connsiteY78" fmla="*/ 320019 h 847314"/>
                  <a:gd name="connsiteX79" fmla="*/ 123388 w 593218"/>
                  <a:gd name="connsiteY79" fmla="*/ 320186 h 847314"/>
                  <a:gd name="connsiteX80" fmla="*/ 114304 w 593218"/>
                  <a:gd name="connsiteY80" fmla="*/ 295760 h 847314"/>
                  <a:gd name="connsiteX81" fmla="*/ 147847 w 593218"/>
                  <a:gd name="connsiteY81" fmla="*/ 293592 h 847314"/>
                  <a:gd name="connsiteX82" fmla="*/ 152759 w 593218"/>
                  <a:gd name="connsiteY82" fmla="*/ 268722 h 847314"/>
                  <a:gd name="connsiteX83" fmla="*/ 176919 w 593218"/>
                  <a:gd name="connsiteY83" fmla="*/ 287964 h 847314"/>
                  <a:gd name="connsiteX84" fmla="*/ 209226 w 593218"/>
                  <a:gd name="connsiteY84" fmla="*/ 279228 h 847314"/>
                  <a:gd name="connsiteX85" fmla="*/ 195153 w 593218"/>
                  <a:gd name="connsiteY85" fmla="*/ 169104 h 847314"/>
                  <a:gd name="connsiteX86" fmla="*/ 177594 w 593218"/>
                  <a:gd name="connsiteY86" fmla="*/ 163493 h 847314"/>
                  <a:gd name="connsiteX87" fmla="*/ 157043 w 593218"/>
                  <a:gd name="connsiteY87" fmla="*/ 182718 h 847314"/>
                  <a:gd name="connsiteX88" fmla="*/ 143610 w 593218"/>
                  <a:gd name="connsiteY88" fmla="*/ 154380 h 847314"/>
                  <a:gd name="connsiteX89" fmla="*/ 182156 w 593218"/>
                  <a:gd name="connsiteY89" fmla="*/ 133320 h 847314"/>
                  <a:gd name="connsiteX90" fmla="*/ 179082 w 593218"/>
                  <a:gd name="connsiteY90" fmla="*/ 72771 h 847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593218" h="847314">
                    <a:moveTo>
                      <a:pt x="179086" y="72771"/>
                    </a:moveTo>
                    <a:lnTo>
                      <a:pt x="256300" y="-157"/>
                    </a:lnTo>
                    <a:lnTo>
                      <a:pt x="280882" y="36067"/>
                    </a:lnTo>
                    <a:lnTo>
                      <a:pt x="253234" y="79368"/>
                    </a:lnTo>
                    <a:lnTo>
                      <a:pt x="315705" y="95758"/>
                    </a:lnTo>
                    <a:lnTo>
                      <a:pt x="322996" y="115936"/>
                    </a:lnTo>
                    <a:lnTo>
                      <a:pt x="371055" y="138853"/>
                    </a:lnTo>
                    <a:lnTo>
                      <a:pt x="404387" y="125746"/>
                    </a:lnTo>
                    <a:lnTo>
                      <a:pt x="486598" y="161377"/>
                    </a:lnTo>
                    <a:lnTo>
                      <a:pt x="578673" y="122905"/>
                    </a:lnTo>
                    <a:lnTo>
                      <a:pt x="592553" y="148319"/>
                    </a:lnTo>
                    <a:lnTo>
                      <a:pt x="561869" y="156082"/>
                    </a:lnTo>
                    <a:lnTo>
                      <a:pt x="568725" y="181317"/>
                    </a:lnTo>
                    <a:lnTo>
                      <a:pt x="550924" y="188988"/>
                    </a:lnTo>
                    <a:lnTo>
                      <a:pt x="579313" y="229687"/>
                    </a:lnTo>
                    <a:lnTo>
                      <a:pt x="561599" y="274553"/>
                    </a:lnTo>
                    <a:lnTo>
                      <a:pt x="573642" y="278959"/>
                    </a:lnTo>
                    <a:lnTo>
                      <a:pt x="583943" y="347133"/>
                    </a:lnTo>
                    <a:lnTo>
                      <a:pt x="571451" y="431751"/>
                    </a:lnTo>
                    <a:lnTo>
                      <a:pt x="519951" y="459603"/>
                    </a:lnTo>
                    <a:lnTo>
                      <a:pt x="543832" y="463541"/>
                    </a:lnTo>
                    <a:lnTo>
                      <a:pt x="533448" y="485094"/>
                    </a:lnTo>
                    <a:lnTo>
                      <a:pt x="544940" y="511600"/>
                    </a:lnTo>
                    <a:lnTo>
                      <a:pt x="495733" y="501441"/>
                    </a:lnTo>
                    <a:lnTo>
                      <a:pt x="443097" y="526785"/>
                    </a:lnTo>
                    <a:lnTo>
                      <a:pt x="446293" y="545142"/>
                    </a:lnTo>
                    <a:lnTo>
                      <a:pt x="425421" y="534819"/>
                    </a:lnTo>
                    <a:lnTo>
                      <a:pt x="430811" y="558571"/>
                    </a:lnTo>
                    <a:lnTo>
                      <a:pt x="419053" y="561138"/>
                    </a:lnTo>
                    <a:lnTo>
                      <a:pt x="430713" y="573075"/>
                    </a:lnTo>
                    <a:lnTo>
                      <a:pt x="403751" y="589917"/>
                    </a:lnTo>
                    <a:lnTo>
                      <a:pt x="409512" y="654692"/>
                    </a:lnTo>
                    <a:lnTo>
                      <a:pt x="398630" y="665367"/>
                    </a:lnTo>
                    <a:lnTo>
                      <a:pt x="414004" y="670639"/>
                    </a:lnTo>
                    <a:lnTo>
                      <a:pt x="426240" y="725740"/>
                    </a:lnTo>
                    <a:lnTo>
                      <a:pt x="409372" y="729859"/>
                    </a:lnTo>
                    <a:lnTo>
                      <a:pt x="386739" y="791739"/>
                    </a:lnTo>
                    <a:lnTo>
                      <a:pt x="357336" y="789950"/>
                    </a:lnTo>
                    <a:lnTo>
                      <a:pt x="357454" y="805980"/>
                    </a:lnTo>
                    <a:lnTo>
                      <a:pt x="313890" y="819873"/>
                    </a:lnTo>
                    <a:lnTo>
                      <a:pt x="294014" y="807161"/>
                    </a:lnTo>
                    <a:lnTo>
                      <a:pt x="272580" y="824408"/>
                    </a:lnTo>
                    <a:lnTo>
                      <a:pt x="258243" y="816223"/>
                    </a:lnTo>
                    <a:lnTo>
                      <a:pt x="239426" y="847157"/>
                    </a:lnTo>
                    <a:lnTo>
                      <a:pt x="208220" y="803351"/>
                    </a:lnTo>
                    <a:lnTo>
                      <a:pt x="156330" y="818593"/>
                    </a:lnTo>
                    <a:lnTo>
                      <a:pt x="146862" y="793339"/>
                    </a:lnTo>
                    <a:lnTo>
                      <a:pt x="167827" y="764265"/>
                    </a:lnTo>
                    <a:lnTo>
                      <a:pt x="202201" y="765710"/>
                    </a:lnTo>
                    <a:lnTo>
                      <a:pt x="219243" y="740104"/>
                    </a:lnTo>
                    <a:lnTo>
                      <a:pt x="173178" y="740384"/>
                    </a:lnTo>
                    <a:lnTo>
                      <a:pt x="126160" y="688670"/>
                    </a:lnTo>
                    <a:lnTo>
                      <a:pt x="114019" y="699480"/>
                    </a:lnTo>
                    <a:lnTo>
                      <a:pt x="123378" y="718190"/>
                    </a:lnTo>
                    <a:lnTo>
                      <a:pt x="97855" y="714528"/>
                    </a:lnTo>
                    <a:lnTo>
                      <a:pt x="104954" y="685189"/>
                    </a:lnTo>
                    <a:lnTo>
                      <a:pt x="118707" y="684957"/>
                    </a:lnTo>
                    <a:lnTo>
                      <a:pt x="90200" y="634402"/>
                    </a:lnTo>
                    <a:lnTo>
                      <a:pt x="88785" y="675577"/>
                    </a:lnTo>
                    <a:lnTo>
                      <a:pt x="77306" y="650611"/>
                    </a:lnTo>
                    <a:lnTo>
                      <a:pt x="61629" y="642101"/>
                    </a:lnTo>
                    <a:lnTo>
                      <a:pt x="45423" y="661380"/>
                    </a:lnTo>
                    <a:lnTo>
                      <a:pt x="19141" y="635601"/>
                    </a:lnTo>
                    <a:lnTo>
                      <a:pt x="3385" y="644210"/>
                    </a:lnTo>
                    <a:lnTo>
                      <a:pt x="-666" y="626054"/>
                    </a:lnTo>
                    <a:lnTo>
                      <a:pt x="3710" y="603158"/>
                    </a:lnTo>
                    <a:lnTo>
                      <a:pt x="18804" y="614207"/>
                    </a:lnTo>
                    <a:lnTo>
                      <a:pt x="48856" y="566347"/>
                    </a:lnTo>
                    <a:lnTo>
                      <a:pt x="34380" y="541658"/>
                    </a:lnTo>
                    <a:lnTo>
                      <a:pt x="52795" y="497264"/>
                    </a:lnTo>
                    <a:lnTo>
                      <a:pt x="48812" y="460505"/>
                    </a:lnTo>
                    <a:lnTo>
                      <a:pt x="20012" y="448040"/>
                    </a:lnTo>
                    <a:lnTo>
                      <a:pt x="26040" y="429955"/>
                    </a:lnTo>
                    <a:lnTo>
                      <a:pt x="62787" y="416113"/>
                    </a:lnTo>
                    <a:lnTo>
                      <a:pt x="59407" y="379284"/>
                    </a:lnTo>
                    <a:lnTo>
                      <a:pt x="84302" y="383044"/>
                    </a:lnTo>
                    <a:lnTo>
                      <a:pt x="61122" y="360547"/>
                    </a:lnTo>
                    <a:lnTo>
                      <a:pt x="95422" y="366220"/>
                    </a:lnTo>
                    <a:lnTo>
                      <a:pt x="103084" y="320019"/>
                    </a:lnTo>
                    <a:lnTo>
                      <a:pt x="123388" y="320186"/>
                    </a:lnTo>
                    <a:lnTo>
                      <a:pt x="114304" y="295760"/>
                    </a:lnTo>
                    <a:lnTo>
                      <a:pt x="147847" y="293592"/>
                    </a:lnTo>
                    <a:lnTo>
                      <a:pt x="152759" y="268722"/>
                    </a:lnTo>
                    <a:lnTo>
                      <a:pt x="176919" y="287964"/>
                    </a:lnTo>
                    <a:lnTo>
                      <a:pt x="209226" y="279228"/>
                    </a:lnTo>
                    <a:lnTo>
                      <a:pt x="195153" y="169104"/>
                    </a:lnTo>
                    <a:lnTo>
                      <a:pt x="177594" y="163493"/>
                    </a:lnTo>
                    <a:lnTo>
                      <a:pt x="157043" y="182718"/>
                    </a:lnTo>
                    <a:lnTo>
                      <a:pt x="143610" y="154380"/>
                    </a:lnTo>
                    <a:lnTo>
                      <a:pt x="182156" y="133320"/>
                    </a:lnTo>
                    <a:lnTo>
                      <a:pt x="179082" y="7277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1" name="Красноярский край">
                <a:extLst>
                  <a:ext uri="{FF2B5EF4-FFF2-40B4-BE49-F238E27FC236}">
                    <a16:creationId xmlns:a16="http://schemas.microsoft.com/office/drawing/2014/main" id="{C3F92691-9A82-4BEB-9D7C-7B619713EF25}"/>
                  </a:ext>
                </a:extLst>
              </p:cNvPr>
              <p:cNvSpPr/>
              <p:nvPr/>
            </p:nvSpPr>
            <p:spPr>
              <a:xfrm>
                <a:off x="5445324" y="1169822"/>
                <a:ext cx="1862173" cy="4593357"/>
              </a:xfrm>
              <a:custGeom>
                <a:avLst/>
                <a:gdLst>
                  <a:gd name="connsiteX0" fmla="*/ 1348550 w 1862173"/>
                  <a:gd name="connsiteY0" fmla="*/ 554845 h 4593357"/>
                  <a:gd name="connsiteX1" fmla="*/ 1512067 w 1862173"/>
                  <a:gd name="connsiteY1" fmla="*/ 600294 h 4593357"/>
                  <a:gd name="connsiteX2" fmla="*/ 1533364 w 1862173"/>
                  <a:gd name="connsiteY2" fmla="*/ 630302 h 4593357"/>
                  <a:gd name="connsiteX3" fmla="*/ 1524092 w 1862173"/>
                  <a:gd name="connsiteY3" fmla="*/ 678651 h 4593357"/>
                  <a:gd name="connsiteX4" fmla="*/ 1544140 w 1862173"/>
                  <a:gd name="connsiteY4" fmla="*/ 691770 h 4593357"/>
                  <a:gd name="connsiteX5" fmla="*/ 1632034 w 1862173"/>
                  <a:gd name="connsiteY5" fmla="*/ 670645 h 4593357"/>
                  <a:gd name="connsiteX6" fmla="*/ 1722229 w 1862173"/>
                  <a:gd name="connsiteY6" fmla="*/ 690305 h 4593357"/>
                  <a:gd name="connsiteX7" fmla="*/ 1779012 w 1862173"/>
                  <a:gd name="connsiteY7" fmla="*/ 729730 h 4593357"/>
                  <a:gd name="connsiteX8" fmla="*/ 1817509 w 1862173"/>
                  <a:gd name="connsiteY8" fmla="*/ 816461 h 4593357"/>
                  <a:gd name="connsiteX9" fmla="*/ 1816165 w 1862173"/>
                  <a:gd name="connsiteY9" fmla="*/ 936305 h 4593357"/>
                  <a:gd name="connsiteX10" fmla="*/ 1747237 w 1862173"/>
                  <a:gd name="connsiteY10" fmla="*/ 1022970 h 4593357"/>
                  <a:gd name="connsiteX11" fmla="*/ 1674247 w 1862173"/>
                  <a:gd name="connsiteY11" fmla="*/ 1083343 h 4593357"/>
                  <a:gd name="connsiteX12" fmla="*/ 1741891 w 1862173"/>
                  <a:gd name="connsiteY12" fmla="*/ 1105769 h 4593357"/>
                  <a:gd name="connsiteX13" fmla="*/ 1746855 w 1862173"/>
                  <a:gd name="connsiteY13" fmla="*/ 1121721 h 4593357"/>
                  <a:gd name="connsiteX14" fmla="*/ 1703556 w 1862173"/>
                  <a:gd name="connsiteY14" fmla="*/ 1169803 h 4593357"/>
                  <a:gd name="connsiteX15" fmla="*/ 1728594 w 1862173"/>
                  <a:gd name="connsiteY15" fmla="*/ 1187502 h 4593357"/>
                  <a:gd name="connsiteX16" fmla="*/ 1678386 w 1862173"/>
                  <a:gd name="connsiteY16" fmla="*/ 1228093 h 4593357"/>
                  <a:gd name="connsiteX17" fmla="*/ 1705431 w 1862173"/>
                  <a:gd name="connsiteY17" fmla="*/ 1245219 h 4593357"/>
                  <a:gd name="connsiteX18" fmla="*/ 1696347 w 1862173"/>
                  <a:gd name="connsiteY18" fmla="*/ 1265110 h 4593357"/>
                  <a:gd name="connsiteX19" fmla="*/ 1718865 w 1862173"/>
                  <a:gd name="connsiteY19" fmla="*/ 1260138 h 4593357"/>
                  <a:gd name="connsiteX20" fmla="*/ 1719292 w 1862173"/>
                  <a:gd name="connsiteY20" fmla="*/ 1324306 h 4593357"/>
                  <a:gd name="connsiteX21" fmla="*/ 1757224 w 1862173"/>
                  <a:gd name="connsiteY21" fmla="*/ 1356819 h 4593357"/>
                  <a:gd name="connsiteX22" fmla="*/ 1745357 w 1862173"/>
                  <a:gd name="connsiteY22" fmla="*/ 1377531 h 4593357"/>
                  <a:gd name="connsiteX23" fmla="*/ 1775176 w 1862173"/>
                  <a:gd name="connsiteY23" fmla="*/ 1383216 h 4593357"/>
                  <a:gd name="connsiteX24" fmla="*/ 1801627 w 1862173"/>
                  <a:gd name="connsiteY24" fmla="*/ 1410198 h 4593357"/>
                  <a:gd name="connsiteX25" fmla="*/ 1820808 w 1862173"/>
                  <a:gd name="connsiteY25" fmla="*/ 1521097 h 4593357"/>
                  <a:gd name="connsiteX26" fmla="*/ 1862173 w 1862173"/>
                  <a:gd name="connsiteY26" fmla="*/ 1537077 h 4593357"/>
                  <a:gd name="connsiteX27" fmla="*/ 1859772 w 1862173"/>
                  <a:gd name="connsiteY27" fmla="*/ 1561843 h 4593357"/>
                  <a:gd name="connsiteX28" fmla="*/ 1740577 w 1862173"/>
                  <a:gd name="connsiteY28" fmla="*/ 1654653 h 4593357"/>
                  <a:gd name="connsiteX29" fmla="*/ 1755991 w 1862173"/>
                  <a:gd name="connsiteY29" fmla="*/ 1688370 h 4593357"/>
                  <a:gd name="connsiteX30" fmla="*/ 1719795 w 1862173"/>
                  <a:gd name="connsiteY30" fmla="*/ 1699703 h 4593357"/>
                  <a:gd name="connsiteX31" fmla="*/ 1705375 w 1862173"/>
                  <a:gd name="connsiteY31" fmla="*/ 1726781 h 4593357"/>
                  <a:gd name="connsiteX32" fmla="*/ 1722737 w 1862173"/>
                  <a:gd name="connsiteY32" fmla="*/ 1755709 h 4593357"/>
                  <a:gd name="connsiteX33" fmla="*/ 1713890 w 1862173"/>
                  <a:gd name="connsiteY33" fmla="*/ 1794140 h 4593357"/>
                  <a:gd name="connsiteX34" fmla="*/ 1654065 w 1862173"/>
                  <a:gd name="connsiteY34" fmla="*/ 1789085 h 4593357"/>
                  <a:gd name="connsiteX35" fmla="*/ 1640887 w 1862173"/>
                  <a:gd name="connsiteY35" fmla="*/ 1819704 h 4593357"/>
                  <a:gd name="connsiteX36" fmla="*/ 1581653 w 1862173"/>
                  <a:gd name="connsiteY36" fmla="*/ 1848835 h 4593357"/>
                  <a:gd name="connsiteX37" fmla="*/ 1559078 w 1862173"/>
                  <a:gd name="connsiteY37" fmla="*/ 1842239 h 4593357"/>
                  <a:gd name="connsiteX38" fmla="*/ 1542812 w 1862173"/>
                  <a:gd name="connsiteY38" fmla="*/ 1869559 h 4593357"/>
                  <a:gd name="connsiteX39" fmla="*/ 1594642 w 1862173"/>
                  <a:gd name="connsiteY39" fmla="*/ 1951780 h 4593357"/>
                  <a:gd name="connsiteX40" fmla="*/ 1612840 w 1862173"/>
                  <a:gd name="connsiteY40" fmla="*/ 2188620 h 4593357"/>
                  <a:gd name="connsiteX41" fmla="*/ 1568914 w 1862173"/>
                  <a:gd name="connsiteY41" fmla="*/ 2218876 h 4593357"/>
                  <a:gd name="connsiteX42" fmla="*/ 1563130 w 1862173"/>
                  <a:gd name="connsiteY42" fmla="*/ 2239158 h 4593357"/>
                  <a:gd name="connsiteX43" fmla="*/ 1536322 w 1862173"/>
                  <a:gd name="connsiteY43" fmla="*/ 2245664 h 4593357"/>
                  <a:gd name="connsiteX44" fmla="*/ 1582904 w 1862173"/>
                  <a:gd name="connsiteY44" fmla="*/ 2275366 h 4593357"/>
                  <a:gd name="connsiteX45" fmla="*/ 1594682 w 1862173"/>
                  <a:gd name="connsiteY45" fmla="*/ 2324803 h 4593357"/>
                  <a:gd name="connsiteX46" fmla="*/ 1584361 w 1862173"/>
                  <a:gd name="connsiteY46" fmla="*/ 2368479 h 4593357"/>
                  <a:gd name="connsiteX47" fmla="*/ 1613431 w 1862173"/>
                  <a:gd name="connsiteY47" fmla="*/ 2397262 h 4593357"/>
                  <a:gd name="connsiteX48" fmla="*/ 1611683 w 1862173"/>
                  <a:gd name="connsiteY48" fmla="*/ 2449378 h 4593357"/>
                  <a:gd name="connsiteX49" fmla="*/ 1650048 w 1862173"/>
                  <a:gd name="connsiteY49" fmla="*/ 2470901 h 4593357"/>
                  <a:gd name="connsiteX50" fmla="*/ 1589731 w 1862173"/>
                  <a:gd name="connsiteY50" fmla="*/ 2549941 h 4593357"/>
                  <a:gd name="connsiteX51" fmla="*/ 1609099 w 1862173"/>
                  <a:gd name="connsiteY51" fmla="*/ 2574212 h 4593357"/>
                  <a:gd name="connsiteX52" fmla="*/ 1589129 w 1862173"/>
                  <a:gd name="connsiteY52" fmla="*/ 2571384 h 4593357"/>
                  <a:gd name="connsiteX53" fmla="*/ 1579700 w 1862173"/>
                  <a:gd name="connsiteY53" fmla="*/ 2622089 h 4593357"/>
                  <a:gd name="connsiteX54" fmla="*/ 1610731 w 1862173"/>
                  <a:gd name="connsiteY54" fmla="*/ 2645587 h 4593357"/>
                  <a:gd name="connsiteX55" fmla="*/ 1639090 w 1862173"/>
                  <a:gd name="connsiteY55" fmla="*/ 2623329 h 4593357"/>
                  <a:gd name="connsiteX56" fmla="*/ 1696730 w 1862173"/>
                  <a:gd name="connsiteY56" fmla="*/ 2661520 h 4593357"/>
                  <a:gd name="connsiteX57" fmla="*/ 1713949 w 1862173"/>
                  <a:gd name="connsiteY57" fmla="*/ 2651778 h 4593357"/>
                  <a:gd name="connsiteX58" fmla="*/ 1739188 w 1862173"/>
                  <a:gd name="connsiteY58" fmla="*/ 2669246 h 4593357"/>
                  <a:gd name="connsiteX59" fmla="*/ 1756577 w 1862173"/>
                  <a:gd name="connsiteY59" fmla="*/ 2656521 h 4593357"/>
                  <a:gd name="connsiteX60" fmla="*/ 1769806 w 1862173"/>
                  <a:gd name="connsiteY60" fmla="*/ 2685156 h 4593357"/>
                  <a:gd name="connsiteX61" fmla="*/ 1705556 w 1862173"/>
                  <a:gd name="connsiteY61" fmla="*/ 2718074 h 4593357"/>
                  <a:gd name="connsiteX62" fmla="*/ 1652176 w 1862173"/>
                  <a:gd name="connsiteY62" fmla="*/ 2699933 h 4593357"/>
                  <a:gd name="connsiteX63" fmla="*/ 1663071 w 1862173"/>
                  <a:gd name="connsiteY63" fmla="*/ 2726386 h 4593357"/>
                  <a:gd name="connsiteX64" fmla="*/ 1645864 w 1862173"/>
                  <a:gd name="connsiteY64" fmla="*/ 2779127 h 4593357"/>
                  <a:gd name="connsiteX65" fmla="*/ 1666555 w 1862173"/>
                  <a:gd name="connsiteY65" fmla="*/ 2799808 h 4593357"/>
                  <a:gd name="connsiteX66" fmla="*/ 1659610 w 1862173"/>
                  <a:gd name="connsiteY66" fmla="*/ 2813155 h 4593357"/>
                  <a:gd name="connsiteX67" fmla="*/ 1645012 w 1862173"/>
                  <a:gd name="connsiteY67" fmla="*/ 2807828 h 4593357"/>
                  <a:gd name="connsiteX68" fmla="*/ 1646697 w 1862173"/>
                  <a:gd name="connsiteY68" fmla="*/ 2843984 h 4593357"/>
                  <a:gd name="connsiteX69" fmla="*/ 1626900 w 1862173"/>
                  <a:gd name="connsiteY69" fmla="*/ 2851649 h 4593357"/>
                  <a:gd name="connsiteX70" fmla="*/ 1657861 w 1862173"/>
                  <a:gd name="connsiteY70" fmla="*/ 2910049 h 4593357"/>
                  <a:gd name="connsiteX71" fmla="*/ 1682411 w 1862173"/>
                  <a:gd name="connsiteY71" fmla="*/ 2919559 h 4593357"/>
                  <a:gd name="connsiteX72" fmla="*/ 1681254 w 1862173"/>
                  <a:gd name="connsiteY72" fmla="*/ 2939831 h 4593357"/>
                  <a:gd name="connsiteX73" fmla="*/ 1659488 w 1862173"/>
                  <a:gd name="connsiteY73" fmla="*/ 2957191 h 4593357"/>
                  <a:gd name="connsiteX74" fmla="*/ 1662276 w 1862173"/>
                  <a:gd name="connsiteY74" fmla="*/ 3011481 h 4593357"/>
                  <a:gd name="connsiteX75" fmla="*/ 1628006 w 1862173"/>
                  <a:gd name="connsiteY75" fmla="*/ 3046905 h 4593357"/>
                  <a:gd name="connsiteX76" fmla="*/ 1636188 w 1862173"/>
                  <a:gd name="connsiteY76" fmla="*/ 3069763 h 4593357"/>
                  <a:gd name="connsiteX77" fmla="*/ 1551682 w 1862173"/>
                  <a:gd name="connsiteY77" fmla="*/ 3128745 h 4593357"/>
                  <a:gd name="connsiteX78" fmla="*/ 1572360 w 1862173"/>
                  <a:gd name="connsiteY78" fmla="*/ 3154570 h 4593357"/>
                  <a:gd name="connsiteX79" fmla="*/ 1542493 w 1862173"/>
                  <a:gd name="connsiteY79" fmla="*/ 3172476 h 4593357"/>
                  <a:gd name="connsiteX80" fmla="*/ 1532147 w 1862173"/>
                  <a:gd name="connsiteY80" fmla="*/ 3209977 h 4593357"/>
                  <a:gd name="connsiteX81" fmla="*/ 1551737 w 1862173"/>
                  <a:gd name="connsiteY81" fmla="*/ 3277043 h 4593357"/>
                  <a:gd name="connsiteX82" fmla="*/ 1619038 w 1862173"/>
                  <a:gd name="connsiteY82" fmla="*/ 3300675 h 4593357"/>
                  <a:gd name="connsiteX83" fmla="*/ 1623978 w 1862173"/>
                  <a:gd name="connsiteY83" fmla="*/ 3360203 h 4593357"/>
                  <a:gd name="connsiteX84" fmla="*/ 1589762 w 1862173"/>
                  <a:gd name="connsiteY84" fmla="*/ 3356989 h 4593357"/>
                  <a:gd name="connsiteX85" fmla="*/ 1567334 w 1862173"/>
                  <a:gd name="connsiteY85" fmla="*/ 3388359 h 4593357"/>
                  <a:gd name="connsiteX86" fmla="*/ 1586371 w 1862173"/>
                  <a:gd name="connsiteY86" fmla="*/ 3421129 h 4593357"/>
                  <a:gd name="connsiteX87" fmla="*/ 1607466 w 1862173"/>
                  <a:gd name="connsiteY87" fmla="*/ 3423687 h 4593357"/>
                  <a:gd name="connsiteX88" fmla="*/ 1621610 w 1862173"/>
                  <a:gd name="connsiteY88" fmla="*/ 3473413 h 4593357"/>
                  <a:gd name="connsiteX89" fmla="*/ 1578217 w 1862173"/>
                  <a:gd name="connsiteY89" fmla="*/ 3515618 h 4593357"/>
                  <a:gd name="connsiteX90" fmla="*/ 1582058 w 1862173"/>
                  <a:gd name="connsiteY90" fmla="*/ 3545084 h 4593357"/>
                  <a:gd name="connsiteX91" fmla="*/ 1554861 w 1862173"/>
                  <a:gd name="connsiteY91" fmla="*/ 3557471 h 4593357"/>
                  <a:gd name="connsiteX92" fmla="*/ 1532544 w 1862173"/>
                  <a:gd name="connsiteY92" fmla="*/ 3531135 h 4593357"/>
                  <a:gd name="connsiteX93" fmla="*/ 1507156 w 1862173"/>
                  <a:gd name="connsiteY93" fmla="*/ 3540256 h 4593357"/>
                  <a:gd name="connsiteX94" fmla="*/ 1513534 w 1862173"/>
                  <a:gd name="connsiteY94" fmla="*/ 3518269 h 4593357"/>
                  <a:gd name="connsiteX95" fmla="*/ 1464909 w 1862173"/>
                  <a:gd name="connsiteY95" fmla="*/ 3496935 h 4593357"/>
                  <a:gd name="connsiteX96" fmla="*/ 1449152 w 1862173"/>
                  <a:gd name="connsiteY96" fmla="*/ 3465476 h 4593357"/>
                  <a:gd name="connsiteX97" fmla="*/ 1458102 w 1862173"/>
                  <a:gd name="connsiteY97" fmla="*/ 3459134 h 4593357"/>
                  <a:gd name="connsiteX98" fmla="*/ 1432953 w 1862173"/>
                  <a:gd name="connsiteY98" fmla="*/ 3453236 h 4593357"/>
                  <a:gd name="connsiteX99" fmla="*/ 1417622 w 1862173"/>
                  <a:gd name="connsiteY99" fmla="*/ 3473554 h 4593357"/>
                  <a:gd name="connsiteX100" fmla="*/ 1392169 w 1862173"/>
                  <a:gd name="connsiteY100" fmla="*/ 3475704 h 4593357"/>
                  <a:gd name="connsiteX101" fmla="*/ 1400317 w 1862173"/>
                  <a:gd name="connsiteY101" fmla="*/ 3545017 h 4593357"/>
                  <a:gd name="connsiteX102" fmla="*/ 1284115 w 1862173"/>
                  <a:gd name="connsiteY102" fmla="*/ 3647362 h 4593357"/>
                  <a:gd name="connsiteX103" fmla="*/ 1287088 w 1862173"/>
                  <a:gd name="connsiteY103" fmla="*/ 3668086 h 4593357"/>
                  <a:gd name="connsiteX104" fmla="*/ 1260892 w 1862173"/>
                  <a:gd name="connsiteY104" fmla="*/ 3683265 h 4593357"/>
                  <a:gd name="connsiteX105" fmla="*/ 1274399 w 1862173"/>
                  <a:gd name="connsiteY105" fmla="*/ 3742477 h 4593357"/>
                  <a:gd name="connsiteX106" fmla="*/ 1257273 w 1862173"/>
                  <a:gd name="connsiteY106" fmla="*/ 3757042 h 4593357"/>
                  <a:gd name="connsiteX107" fmla="*/ 1226836 w 1862173"/>
                  <a:gd name="connsiteY107" fmla="*/ 3733499 h 4593357"/>
                  <a:gd name="connsiteX108" fmla="*/ 1199161 w 1862173"/>
                  <a:gd name="connsiteY108" fmla="*/ 3652350 h 4593357"/>
                  <a:gd name="connsiteX109" fmla="*/ 1167048 w 1862173"/>
                  <a:gd name="connsiteY109" fmla="*/ 3650943 h 4593357"/>
                  <a:gd name="connsiteX110" fmla="*/ 1146276 w 1862173"/>
                  <a:gd name="connsiteY110" fmla="*/ 3696550 h 4593357"/>
                  <a:gd name="connsiteX111" fmla="*/ 1108617 w 1862173"/>
                  <a:gd name="connsiteY111" fmla="*/ 3707237 h 4593357"/>
                  <a:gd name="connsiteX112" fmla="*/ 1023833 w 1862173"/>
                  <a:gd name="connsiteY112" fmla="*/ 3688136 h 4593357"/>
                  <a:gd name="connsiteX113" fmla="*/ 968678 w 1862173"/>
                  <a:gd name="connsiteY113" fmla="*/ 3810582 h 4593357"/>
                  <a:gd name="connsiteX114" fmla="*/ 996158 w 1862173"/>
                  <a:gd name="connsiteY114" fmla="*/ 3820903 h 4593357"/>
                  <a:gd name="connsiteX115" fmla="*/ 978175 w 1862173"/>
                  <a:gd name="connsiteY115" fmla="*/ 3842829 h 4593357"/>
                  <a:gd name="connsiteX116" fmla="*/ 1004914 w 1862173"/>
                  <a:gd name="connsiteY116" fmla="*/ 3848401 h 4593357"/>
                  <a:gd name="connsiteX117" fmla="*/ 1010922 w 1862173"/>
                  <a:gd name="connsiteY117" fmla="*/ 3914350 h 4593357"/>
                  <a:gd name="connsiteX118" fmla="*/ 983168 w 1862173"/>
                  <a:gd name="connsiteY118" fmla="*/ 3913299 h 4593357"/>
                  <a:gd name="connsiteX119" fmla="*/ 983619 w 1862173"/>
                  <a:gd name="connsiteY119" fmla="*/ 3942789 h 4593357"/>
                  <a:gd name="connsiteX120" fmla="*/ 964168 w 1862173"/>
                  <a:gd name="connsiteY120" fmla="*/ 3966297 h 4593357"/>
                  <a:gd name="connsiteX121" fmla="*/ 944952 w 1862173"/>
                  <a:gd name="connsiteY121" fmla="*/ 3952991 h 4593357"/>
                  <a:gd name="connsiteX122" fmla="*/ 930929 w 1862173"/>
                  <a:gd name="connsiteY122" fmla="*/ 3993082 h 4593357"/>
                  <a:gd name="connsiteX123" fmla="*/ 912729 w 1862173"/>
                  <a:gd name="connsiteY123" fmla="*/ 4001973 h 4593357"/>
                  <a:gd name="connsiteX124" fmla="*/ 923264 w 1862173"/>
                  <a:gd name="connsiteY124" fmla="*/ 4076298 h 4593357"/>
                  <a:gd name="connsiteX125" fmla="*/ 897563 w 1862173"/>
                  <a:gd name="connsiteY125" fmla="*/ 4086778 h 4593357"/>
                  <a:gd name="connsiteX126" fmla="*/ 900152 w 1862173"/>
                  <a:gd name="connsiteY126" fmla="*/ 4140276 h 4593357"/>
                  <a:gd name="connsiteX127" fmla="*/ 881237 w 1862173"/>
                  <a:gd name="connsiteY127" fmla="*/ 4197299 h 4593357"/>
                  <a:gd name="connsiteX128" fmla="*/ 838873 w 1862173"/>
                  <a:gd name="connsiteY128" fmla="*/ 4188049 h 4593357"/>
                  <a:gd name="connsiteX129" fmla="*/ 799069 w 1862173"/>
                  <a:gd name="connsiteY129" fmla="*/ 4228390 h 4593357"/>
                  <a:gd name="connsiteX130" fmla="*/ 887822 w 1862173"/>
                  <a:gd name="connsiteY130" fmla="*/ 4343897 h 4593357"/>
                  <a:gd name="connsiteX131" fmla="*/ 865250 w 1862173"/>
                  <a:gd name="connsiteY131" fmla="*/ 4355017 h 4593357"/>
                  <a:gd name="connsiteX132" fmla="*/ 847043 w 1862173"/>
                  <a:gd name="connsiteY132" fmla="*/ 4337462 h 4593357"/>
                  <a:gd name="connsiteX133" fmla="*/ 833600 w 1862173"/>
                  <a:gd name="connsiteY133" fmla="*/ 4362801 h 4593357"/>
                  <a:gd name="connsiteX134" fmla="*/ 799362 w 1862173"/>
                  <a:gd name="connsiteY134" fmla="*/ 4349331 h 4593357"/>
                  <a:gd name="connsiteX135" fmla="*/ 767915 w 1862173"/>
                  <a:gd name="connsiteY135" fmla="*/ 4372160 h 4593357"/>
                  <a:gd name="connsiteX136" fmla="*/ 751192 w 1862173"/>
                  <a:gd name="connsiteY136" fmla="*/ 4354988 h 4593357"/>
                  <a:gd name="connsiteX137" fmla="*/ 733444 w 1862173"/>
                  <a:gd name="connsiteY137" fmla="*/ 4369831 h 4593357"/>
                  <a:gd name="connsiteX138" fmla="*/ 704390 w 1862173"/>
                  <a:gd name="connsiteY138" fmla="*/ 4366112 h 4593357"/>
                  <a:gd name="connsiteX139" fmla="*/ 680757 w 1862173"/>
                  <a:gd name="connsiteY139" fmla="*/ 4437182 h 4593357"/>
                  <a:gd name="connsiteX140" fmla="*/ 643856 w 1862173"/>
                  <a:gd name="connsiteY140" fmla="*/ 4446519 h 4593357"/>
                  <a:gd name="connsiteX141" fmla="*/ 591666 w 1862173"/>
                  <a:gd name="connsiteY141" fmla="*/ 4538783 h 4593357"/>
                  <a:gd name="connsiteX142" fmla="*/ 509554 w 1862173"/>
                  <a:gd name="connsiteY142" fmla="*/ 4589801 h 4593357"/>
                  <a:gd name="connsiteX143" fmla="*/ 476802 w 1862173"/>
                  <a:gd name="connsiteY143" fmla="*/ 4593357 h 4593357"/>
                  <a:gd name="connsiteX144" fmla="*/ 432198 w 1862173"/>
                  <a:gd name="connsiteY144" fmla="*/ 4591322 h 4593357"/>
                  <a:gd name="connsiteX145" fmla="*/ 339882 w 1862173"/>
                  <a:gd name="connsiteY145" fmla="*/ 4552092 h 4593357"/>
                  <a:gd name="connsiteX146" fmla="*/ 317640 w 1862173"/>
                  <a:gd name="connsiteY146" fmla="*/ 4557300 h 4593357"/>
                  <a:gd name="connsiteX147" fmla="*/ 292555 w 1862173"/>
                  <a:gd name="connsiteY147" fmla="*/ 4515337 h 4593357"/>
                  <a:gd name="connsiteX148" fmla="*/ 334958 w 1862173"/>
                  <a:gd name="connsiteY148" fmla="*/ 4450111 h 4593357"/>
                  <a:gd name="connsiteX149" fmla="*/ 370984 w 1862173"/>
                  <a:gd name="connsiteY149" fmla="*/ 4448366 h 4593357"/>
                  <a:gd name="connsiteX150" fmla="*/ 395855 w 1862173"/>
                  <a:gd name="connsiteY150" fmla="*/ 4411451 h 4593357"/>
                  <a:gd name="connsiteX151" fmla="*/ 398262 w 1862173"/>
                  <a:gd name="connsiteY151" fmla="*/ 4373460 h 4593357"/>
                  <a:gd name="connsiteX152" fmla="*/ 425730 w 1862173"/>
                  <a:gd name="connsiteY152" fmla="*/ 4370172 h 4593357"/>
                  <a:gd name="connsiteX153" fmla="*/ 445943 w 1862173"/>
                  <a:gd name="connsiteY153" fmla="*/ 4345572 h 4593357"/>
                  <a:gd name="connsiteX154" fmla="*/ 410458 w 1862173"/>
                  <a:gd name="connsiteY154" fmla="*/ 4270151 h 4593357"/>
                  <a:gd name="connsiteX155" fmla="*/ 427925 w 1862173"/>
                  <a:gd name="connsiteY155" fmla="*/ 4228282 h 4593357"/>
                  <a:gd name="connsiteX156" fmla="*/ 407307 w 1862173"/>
                  <a:gd name="connsiteY156" fmla="*/ 4159277 h 4593357"/>
                  <a:gd name="connsiteX157" fmla="*/ 379733 w 1862173"/>
                  <a:gd name="connsiteY157" fmla="*/ 4132644 h 4593357"/>
                  <a:gd name="connsiteX158" fmla="*/ 386039 w 1862173"/>
                  <a:gd name="connsiteY158" fmla="*/ 4102895 h 4593357"/>
                  <a:gd name="connsiteX159" fmla="*/ 348374 w 1862173"/>
                  <a:gd name="connsiteY159" fmla="*/ 4089024 h 4593357"/>
                  <a:gd name="connsiteX160" fmla="*/ 350961 w 1862173"/>
                  <a:gd name="connsiteY160" fmla="*/ 4064773 h 4593357"/>
                  <a:gd name="connsiteX161" fmla="*/ 320145 w 1862173"/>
                  <a:gd name="connsiteY161" fmla="*/ 4045904 h 4593357"/>
                  <a:gd name="connsiteX162" fmla="*/ 255085 w 1862173"/>
                  <a:gd name="connsiteY162" fmla="*/ 4058739 h 4593357"/>
                  <a:gd name="connsiteX163" fmla="*/ 226142 w 1862173"/>
                  <a:gd name="connsiteY163" fmla="*/ 4037105 h 4593357"/>
                  <a:gd name="connsiteX164" fmla="*/ 226482 w 1862173"/>
                  <a:gd name="connsiteY164" fmla="*/ 4005033 h 4593357"/>
                  <a:gd name="connsiteX165" fmla="*/ 193203 w 1862173"/>
                  <a:gd name="connsiteY165" fmla="*/ 3983092 h 4593357"/>
                  <a:gd name="connsiteX166" fmla="*/ 273386 w 1862173"/>
                  <a:gd name="connsiteY166" fmla="*/ 3926634 h 4593357"/>
                  <a:gd name="connsiteX167" fmla="*/ 252697 w 1862173"/>
                  <a:gd name="connsiteY167" fmla="*/ 3855036 h 4593357"/>
                  <a:gd name="connsiteX168" fmla="*/ 225019 w 1862173"/>
                  <a:gd name="connsiteY168" fmla="*/ 3840189 h 4593357"/>
                  <a:gd name="connsiteX169" fmla="*/ 215037 w 1862173"/>
                  <a:gd name="connsiteY169" fmla="*/ 3798199 h 4593357"/>
                  <a:gd name="connsiteX170" fmla="*/ 237186 w 1862173"/>
                  <a:gd name="connsiteY170" fmla="*/ 3787172 h 4593357"/>
                  <a:gd name="connsiteX171" fmla="*/ 227743 w 1862173"/>
                  <a:gd name="connsiteY171" fmla="*/ 3771813 h 4593357"/>
                  <a:gd name="connsiteX172" fmla="*/ 244818 w 1862173"/>
                  <a:gd name="connsiteY172" fmla="*/ 3728790 h 4593357"/>
                  <a:gd name="connsiteX173" fmla="*/ 228196 w 1862173"/>
                  <a:gd name="connsiteY173" fmla="*/ 3720828 h 4593357"/>
                  <a:gd name="connsiteX174" fmla="*/ 249341 w 1862173"/>
                  <a:gd name="connsiteY174" fmla="*/ 3711248 h 4593357"/>
                  <a:gd name="connsiteX175" fmla="*/ 267165 w 1862173"/>
                  <a:gd name="connsiteY175" fmla="*/ 3671760 h 4593357"/>
                  <a:gd name="connsiteX176" fmla="*/ 282766 w 1862173"/>
                  <a:gd name="connsiteY176" fmla="*/ 3677207 h 4593357"/>
                  <a:gd name="connsiteX177" fmla="*/ 292074 w 1862173"/>
                  <a:gd name="connsiteY177" fmla="*/ 3653774 h 4593357"/>
                  <a:gd name="connsiteX178" fmla="*/ 310582 w 1862173"/>
                  <a:gd name="connsiteY178" fmla="*/ 3656590 h 4593357"/>
                  <a:gd name="connsiteX179" fmla="*/ 317734 w 1862173"/>
                  <a:gd name="connsiteY179" fmla="*/ 3612662 h 4593357"/>
                  <a:gd name="connsiteX180" fmla="*/ 221092 w 1862173"/>
                  <a:gd name="connsiteY180" fmla="*/ 3563573 h 4593357"/>
                  <a:gd name="connsiteX181" fmla="*/ 216969 w 1862173"/>
                  <a:gd name="connsiteY181" fmla="*/ 3499818 h 4593357"/>
                  <a:gd name="connsiteX182" fmla="*/ 263638 w 1862173"/>
                  <a:gd name="connsiteY182" fmla="*/ 3447303 h 4593357"/>
                  <a:gd name="connsiteX183" fmla="*/ 302112 w 1862173"/>
                  <a:gd name="connsiteY183" fmla="*/ 3433286 h 4593357"/>
                  <a:gd name="connsiteX184" fmla="*/ 292992 w 1862173"/>
                  <a:gd name="connsiteY184" fmla="*/ 3388774 h 4593357"/>
                  <a:gd name="connsiteX185" fmla="*/ 235182 w 1862173"/>
                  <a:gd name="connsiteY185" fmla="*/ 3385142 h 4593357"/>
                  <a:gd name="connsiteX186" fmla="*/ 216058 w 1862173"/>
                  <a:gd name="connsiteY186" fmla="*/ 3317141 h 4593357"/>
                  <a:gd name="connsiteX187" fmla="*/ 190248 w 1862173"/>
                  <a:gd name="connsiteY187" fmla="*/ 3309554 h 4593357"/>
                  <a:gd name="connsiteX188" fmla="*/ 188443 w 1862173"/>
                  <a:gd name="connsiteY188" fmla="*/ 3278060 h 4593357"/>
                  <a:gd name="connsiteX189" fmla="*/ 156577 w 1862173"/>
                  <a:gd name="connsiteY189" fmla="*/ 3260970 h 4593357"/>
                  <a:gd name="connsiteX190" fmla="*/ 7267 w 1862173"/>
                  <a:gd name="connsiteY190" fmla="*/ 3238996 h 4593357"/>
                  <a:gd name="connsiteX191" fmla="*/ 0 w 1862173"/>
                  <a:gd name="connsiteY191" fmla="*/ 3226195 h 4593357"/>
                  <a:gd name="connsiteX192" fmla="*/ 29130 w 1862173"/>
                  <a:gd name="connsiteY192" fmla="*/ 3170357 h 4593357"/>
                  <a:gd name="connsiteX193" fmla="*/ 7108 w 1862173"/>
                  <a:gd name="connsiteY193" fmla="*/ 3083774 h 4593357"/>
                  <a:gd name="connsiteX194" fmla="*/ 126854 w 1862173"/>
                  <a:gd name="connsiteY194" fmla="*/ 3042801 h 4593357"/>
                  <a:gd name="connsiteX195" fmla="*/ 125392 w 1862173"/>
                  <a:gd name="connsiteY195" fmla="*/ 3029241 h 4593357"/>
                  <a:gd name="connsiteX196" fmla="*/ 153616 w 1862173"/>
                  <a:gd name="connsiteY196" fmla="*/ 3016659 h 4593357"/>
                  <a:gd name="connsiteX197" fmla="*/ 147289 w 1862173"/>
                  <a:gd name="connsiteY197" fmla="*/ 2997663 h 4593357"/>
                  <a:gd name="connsiteX198" fmla="*/ 69823 w 1862173"/>
                  <a:gd name="connsiteY198" fmla="*/ 2946974 h 4593357"/>
                  <a:gd name="connsiteX199" fmla="*/ 66035 w 1862173"/>
                  <a:gd name="connsiteY199" fmla="*/ 2884227 h 4593357"/>
                  <a:gd name="connsiteX200" fmla="*/ 176849 w 1862173"/>
                  <a:gd name="connsiteY200" fmla="*/ 2774502 h 4593357"/>
                  <a:gd name="connsiteX201" fmla="*/ 173264 w 1862173"/>
                  <a:gd name="connsiteY201" fmla="*/ 2750932 h 4593357"/>
                  <a:gd name="connsiteX202" fmla="*/ 192859 w 1862173"/>
                  <a:gd name="connsiteY202" fmla="*/ 2725758 h 4593357"/>
                  <a:gd name="connsiteX203" fmla="*/ 173791 w 1862173"/>
                  <a:gd name="connsiteY203" fmla="*/ 2721444 h 4593357"/>
                  <a:gd name="connsiteX204" fmla="*/ 153395 w 1862173"/>
                  <a:gd name="connsiteY204" fmla="*/ 2682401 h 4593357"/>
                  <a:gd name="connsiteX205" fmla="*/ 174938 w 1862173"/>
                  <a:gd name="connsiteY205" fmla="*/ 2675829 h 4593357"/>
                  <a:gd name="connsiteX206" fmla="*/ 197303 w 1862173"/>
                  <a:gd name="connsiteY206" fmla="*/ 2636903 h 4593357"/>
                  <a:gd name="connsiteX207" fmla="*/ 232510 w 1862173"/>
                  <a:gd name="connsiteY207" fmla="*/ 2624596 h 4593357"/>
                  <a:gd name="connsiteX208" fmla="*/ 245516 w 1862173"/>
                  <a:gd name="connsiteY208" fmla="*/ 2539712 h 4593357"/>
                  <a:gd name="connsiteX209" fmla="*/ 241335 w 1862173"/>
                  <a:gd name="connsiteY209" fmla="*/ 2503083 h 4593357"/>
                  <a:gd name="connsiteX210" fmla="*/ 199762 w 1862173"/>
                  <a:gd name="connsiteY210" fmla="*/ 2503809 h 4593357"/>
                  <a:gd name="connsiteX211" fmla="*/ 192144 w 1862173"/>
                  <a:gd name="connsiteY211" fmla="*/ 2471827 h 4593357"/>
                  <a:gd name="connsiteX212" fmla="*/ 149119 w 1862173"/>
                  <a:gd name="connsiteY212" fmla="*/ 2465220 h 4593357"/>
                  <a:gd name="connsiteX213" fmla="*/ 183603 w 1862173"/>
                  <a:gd name="connsiteY213" fmla="*/ 2389251 h 4593357"/>
                  <a:gd name="connsiteX214" fmla="*/ 161402 w 1862173"/>
                  <a:gd name="connsiteY214" fmla="*/ 2331795 h 4593357"/>
                  <a:gd name="connsiteX215" fmla="*/ 129090 w 1862173"/>
                  <a:gd name="connsiteY215" fmla="*/ 2319773 h 4593357"/>
                  <a:gd name="connsiteX216" fmla="*/ 124856 w 1862173"/>
                  <a:gd name="connsiteY216" fmla="*/ 2281112 h 4593357"/>
                  <a:gd name="connsiteX217" fmla="*/ 146848 w 1862173"/>
                  <a:gd name="connsiteY217" fmla="*/ 2264865 h 4593357"/>
                  <a:gd name="connsiteX218" fmla="*/ 128179 w 1862173"/>
                  <a:gd name="connsiteY218" fmla="*/ 2215055 h 4593357"/>
                  <a:gd name="connsiteX219" fmla="*/ 150607 w 1862173"/>
                  <a:gd name="connsiteY219" fmla="*/ 2189325 h 4593357"/>
                  <a:gd name="connsiteX220" fmla="*/ 99469 w 1862173"/>
                  <a:gd name="connsiteY220" fmla="*/ 2084270 h 4593357"/>
                  <a:gd name="connsiteX221" fmla="*/ 127487 w 1862173"/>
                  <a:gd name="connsiteY221" fmla="*/ 2044188 h 4593357"/>
                  <a:gd name="connsiteX222" fmla="*/ 102538 w 1862173"/>
                  <a:gd name="connsiteY222" fmla="*/ 1978689 h 4593357"/>
                  <a:gd name="connsiteX223" fmla="*/ 141543 w 1862173"/>
                  <a:gd name="connsiteY223" fmla="*/ 1981518 h 4593357"/>
                  <a:gd name="connsiteX224" fmla="*/ 175540 w 1862173"/>
                  <a:gd name="connsiteY224" fmla="*/ 1926813 h 4593357"/>
                  <a:gd name="connsiteX225" fmla="*/ 181995 w 1862173"/>
                  <a:gd name="connsiteY225" fmla="*/ 1887203 h 4593357"/>
                  <a:gd name="connsiteX226" fmla="*/ 199091 w 1862173"/>
                  <a:gd name="connsiteY226" fmla="*/ 1878016 h 4593357"/>
                  <a:gd name="connsiteX227" fmla="*/ 181996 w 1862173"/>
                  <a:gd name="connsiteY227" fmla="*/ 1813689 h 4593357"/>
                  <a:gd name="connsiteX228" fmla="*/ 194394 w 1862173"/>
                  <a:gd name="connsiteY228" fmla="*/ 1799890 h 4593357"/>
                  <a:gd name="connsiteX229" fmla="*/ 161141 w 1862173"/>
                  <a:gd name="connsiteY229" fmla="*/ 1783870 h 4593357"/>
                  <a:gd name="connsiteX230" fmla="*/ 174253 w 1862173"/>
                  <a:gd name="connsiteY230" fmla="*/ 1762518 h 4593357"/>
                  <a:gd name="connsiteX231" fmla="*/ 165113 w 1862173"/>
                  <a:gd name="connsiteY231" fmla="*/ 1743719 h 4593357"/>
                  <a:gd name="connsiteX232" fmla="*/ 150155 w 1862173"/>
                  <a:gd name="connsiteY232" fmla="*/ 1769492 h 4593357"/>
                  <a:gd name="connsiteX233" fmla="*/ 112743 w 1862173"/>
                  <a:gd name="connsiteY233" fmla="*/ 1770409 h 4593357"/>
                  <a:gd name="connsiteX234" fmla="*/ 106854 w 1862173"/>
                  <a:gd name="connsiteY234" fmla="*/ 1749924 h 4593357"/>
                  <a:gd name="connsiteX235" fmla="*/ 56726 w 1862173"/>
                  <a:gd name="connsiteY235" fmla="*/ 1730902 h 4593357"/>
                  <a:gd name="connsiteX236" fmla="*/ 50927 w 1862173"/>
                  <a:gd name="connsiteY236" fmla="*/ 1677900 h 4593357"/>
                  <a:gd name="connsiteX237" fmla="*/ 29716 w 1862173"/>
                  <a:gd name="connsiteY237" fmla="*/ 1665632 h 4593357"/>
                  <a:gd name="connsiteX238" fmla="*/ 29716 w 1862173"/>
                  <a:gd name="connsiteY238" fmla="*/ 1635258 h 4593357"/>
                  <a:gd name="connsiteX239" fmla="*/ 63222 w 1862173"/>
                  <a:gd name="connsiteY239" fmla="*/ 1618810 h 4593357"/>
                  <a:gd name="connsiteX240" fmla="*/ 66019 w 1862173"/>
                  <a:gd name="connsiteY240" fmla="*/ 1602704 h 4593357"/>
                  <a:gd name="connsiteX241" fmla="*/ 76227 w 1862173"/>
                  <a:gd name="connsiteY241" fmla="*/ 1610932 h 4593357"/>
                  <a:gd name="connsiteX242" fmla="*/ 125293 w 1862173"/>
                  <a:gd name="connsiteY242" fmla="*/ 1573977 h 4593357"/>
                  <a:gd name="connsiteX243" fmla="*/ 160782 w 1862173"/>
                  <a:gd name="connsiteY243" fmla="*/ 1583555 h 4593357"/>
                  <a:gd name="connsiteX244" fmla="*/ 149752 w 1862173"/>
                  <a:gd name="connsiteY244" fmla="*/ 1572397 h 4593357"/>
                  <a:gd name="connsiteX245" fmla="*/ 165383 w 1862173"/>
                  <a:gd name="connsiteY245" fmla="*/ 1553541 h 4593357"/>
                  <a:gd name="connsiteX246" fmla="*/ 170532 w 1862173"/>
                  <a:gd name="connsiteY246" fmla="*/ 1488291 h 4593357"/>
                  <a:gd name="connsiteX247" fmla="*/ 111841 w 1862173"/>
                  <a:gd name="connsiteY247" fmla="*/ 1414946 h 4593357"/>
                  <a:gd name="connsiteX248" fmla="*/ 130935 w 1862173"/>
                  <a:gd name="connsiteY248" fmla="*/ 1387388 h 4593357"/>
                  <a:gd name="connsiteX249" fmla="*/ 163217 w 1862173"/>
                  <a:gd name="connsiteY249" fmla="*/ 1395611 h 4593357"/>
                  <a:gd name="connsiteX250" fmla="*/ 176859 w 1862173"/>
                  <a:gd name="connsiteY250" fmla="*/ 1362990 h 4593357"/>
                  <a:gd name="connsiteX251" fmla="*/ 196028 w 1862173"/>
                  <a:gd name="connsiteY251" fmla="*/ 1360138 h 4593357"/>
                  <a:gd name="connsiteX252" fmla="*/ 121380 w 1862173"/>
                  <a:gd name="connsiteY252" fmla="*/ 1286083 h 4593357"/>
                  <a:gd name="connsiteX253" fmla="*/ 139173 w 1862173"/>
                  <a:gd name="connsiteY253" fmla="*/ 1245652 h 4593357"/>
                  <a:gd name="connsiteX254" fmla="*/ 128948 w 1862173"/>
                  <a:gd name="connsiteY254" fmla="*/ 1169606 h 4593357"/>
                  <a:gd name="connsiteX255" fmla="*/ 128925 w 1862173"/>
                  <a:gd name="connsiteY255" fmla="*/ 1169606 h 4593357"/>
                  <a:gd name="connsiteX256" fmla="*/ 166819 w 1862173"/>
                  <a:gd name="connsiteY256" fmla="*/ 1108164 h 4593357"/>
                  <a:gd name="connsiteX257" fmla="*/ 253390 w 1862173"/>
                  <a:gd name="connsiteY257" fmla="*/ 1079818 h 4593357"/>
                  <a:gd name="connsiteX258" fmla="*/ 293176 w 1862173"/>
                  <a:gd name="connsiteY258" fmla="*/ 1081664 h 4593357"/>
                  <a:gd name="connsiteX259" fmla="*/ 379293 w 1862173"/>
                  <a:gd name="connsiteY259" fmla="*/ 1018250 h 4593357"/>
                  <a:gd name="connsiteX260" fmla="*/ 423801 w 1862173"/>
                  <a:gd name="connsiteY260" fmla="*/ 1024845 h 4593357"/>
                  <a:gd name="connsiteX261" fmla="*/ 444731 w 1862173"/>
                  <a:gd name="connsiteY261" fmla="*/ 1011100 h 4593357"/>
                  <a:gd name="connsiteX262" fmla="*/ 463043 w 1862173"/>
                  <a:gd name="connsiteY262" fmla="*/ 962010 h 4593357"/>
                  <a:gd name="connsiteX263" fmla="*/ 552441 w 1862173"/>
                  <a:gd name="connsiteY263" fmla="*/ 934629 h 4593357"/>
                  <a:gd name="connsiteX264" fmla="*/ 570709 w 1862173"/>
                  <a:gd name="connsiteY264" fmla="*/ 882895 h 4593357"/>
                  <a:gd name="connsiteX265" fmla="*/ 612580 w 1862173"/>
                  <a:gd name="connsiteY265" fmla="*/ 880968 h 4593357"/>
                  <a:gd name="connsiteX266" fmla="*/ 637587 w 1862173"/>
                  <a:gd name="connsiteY266" fmla="*/ 899566 h 4593357"/>
                  <a:gd name="connsiteX267" fmla="*/ 640931 w 1862173"/>
                  <a:gd name="connsiteY267" fmla="*/ 858688 h 4593357"/>
                  <a:gd name="connsiteX268" fmla="*/ 657922 w 1862173"/>
                  <a:gd name="connsiteY268" fmla="*/ 842047 h 4593357"/>
                  <a:gd name="connsiteX269" fmla="*/ 703869 w 1862173"/>
                  <a:gd name="connsiteY269" fmla="*/ 835173 h 4593357"/>
                  <a:gd name="connsiteX270" fmla="*/ 748501 w 1862173"/>
                  <a:gd name="connsiteY270" fmla="*/ 866826 h 4593357"/>
                  <a:gd name="connsiteX271" fmla="*/ 799955 w 1862173"/>
                  <a:gd name="connsiteY271" fmla="*/ 843554 h 4593357"/>
                  <a:gd name="connsiteX272" fmla="*/ 814327 w 1862173"/>
                  <a:gd name="connsiteY272" fmla="*/ 801443 h 4593357"/>
                  <a:gd name="connsiteX273" fmla="*/ 905973 w 1862173"/>
                  <a:gd name="connsiteY273" fmla="*/ 795213 h 4593357"/>
                  <a:gd name="connsiteX274" fmla="*/ 919711 w 1862173"/>
                  <a:gd name="connsiteY274" fmla="*/ 732222 h 4593357"/>
                  <a:gd name="connsiteX275" fmla="*/ 1032395 w 1862173"/>
                  <a:gd name="connsiteY275" fmla="*/ 645211 h 4593357"/>
                  <a:gd name="connsiteX276" fmla="*/ 1067539 w 1862173"/>
                  <a:gd name="connsiteY276" fmla="*/ 642968 h 4593357"/>
                  <a:gd name="connsiteX277" fmla="*/ 1153204 w 1862173"/>
                  <a:gd name="connsiteY277" fmla="*/ 694892 h 4593357"/>
                  <a:gd name="connsiteX278" fmla="*/ 1174938 w 1862173"/>
                  <a:gd name="connsiteY278" fmla="*/ 654582 h 4593357"/>
                  <a:gd name="connsiteX279" fmla="*/ 1235600 w 1862173"/>
                  <a:gd name="connsiteY279" fmla="*/ 644487 h 4593357"/>
                  <a:gd name="connsiteX280" fmla="*/ 1293067 w 1862173"/>
                  <a:gd name="connsiteY280" fmla="*/ 581019 h 4593357"/>
                  <a:gd name="connsiteX281" fmla="*/ 888710 w 1862173"/>
                  <a:gd name="connsiteY281" fmla="*/ 0 h 4593357"/>
                  <a:gd name="connsiteX282" fmla="*/ 985116 w 1862173"/>
                  <a:gd name="connsiteY282" fmla="*/ 23773 h 4593357"/>
                  <a:gd name="connsiteX283" fmla="*/ 1054069 w 1862173"/>
                  <a:gd name="connsiteY283" fmla="*/ 4164 h 4593357"/>
                  <a:gd name="connsiteX284" fmla="*/ 1094933 w 1862173"/>
                  <a:gd name="connsiteY284" fmla="*/ 14916 h 4593357"/>
                  <a:gd name="connsiteX285" fmla="*/ 1171575 w 1862173"/>
                  <a:gd name="connsiteY285" fmla="*/ 109982 h 4593357"/>
                  <a:gd name="connsiteX286" fmla="*/ 1146153 w 1862173"/>
                  <a:gd name="connsiteY286" fmla="*/ 173531 h 4593357"/>
                  <a:gd name="connsiteX287" fmla="*/ 1155198 w 1862173"/>
                  <a:gd name="connsiteY287" fmla="*/ 193243 h 4593357"/>
                  <a:gd name="connsiteX288" fmla="*/ 1201452 w 1862173"/>
                  <a:gd name="connsiteY288" fmla="*/ 208451 h 4593357"/>
                  <a:gd name="connsiteX289" fmla="*/ 1244351 w 1862173"/>
                  <a:gd name="connsiteY289" fmla="*/ 290134 h 4593357"/>
                  <a:gd name="connsiteX290" fmla="*/ 1312709 w 1862173"/>
                  <a:gd name="connsiteY290" fmla="*/ 303445 h 4593357"/>
                  <a:gd name="connsiteX291" fmla="*/ 1376272 w 1862173"/>
                  <a:gd name="connsiteY291" fmla="*/ 356397 h 4593357"/>
                  <a:gd name="connsiteX292" fmla="*/ 1426795 w 1862173"/>
                  <a:gd name="connsiteY292" fmla="*/ 433128 h 4593357"/>
                  <a:gd name="connsiteX293" fmla="*/ 1511597 w 1862173"/>
                  <a:gd name="connsiteY293" fmla="*/ 488035 h 4593357"/>
                  <a:gd name="connsiteX294" fmla="*/ 1512547 w 1862173"/>
                  <a:gd name="connsiteY294" fmla="*/ 537953 h 4593357"/>
                  <a:gd name="connsiteX295" fmla="*/ 1473278 w 1862173"/>
                  <a:gd name="connsiteY295" fmla="*/ 558239 h 4593357"/>
                  <a:gd name="connsiteX296" fmla="*/ 1371565 w 1862173"/>
                  <a:gd name="connsiteY296" fmla="*/ 526456 h 4593357"/>
                  <a:gd name="connsiteX297" fmla="*/ 1312745 w 1862173"/>
                  <a:gd name="connsiteY297" fmla="*/ 555079 h 4593357"/>
                  <a:gd name="connsiteX298" fmla="*/ 1263730 w 1862173"/>
                  <a:gd name="connsiteY298" fmla="*/ 550279 h 4593357"/>
                  <a:gd name="connsiteX299" fmla="*/ 1203862 w 1862173"/>
                  <a:gd name="connsiteY299" fmla="*/ 585538 h 4593357"/>
                  <a:gd name="connsiteX300" fmla="*/ 1151890 w 1862173"/>
                  <a:gd name="connsiteY300" fmla="*/ 581520 h 4593357"/>
                  <a:gd name="connsiteX301" fmla="*/ 1134168 w 1862173"/>
                  <a:gd name="connsiteY301" fmla="*/ 549274 h 4593357"/>
                  <a:gd name="connsiteX302" fmla="*/ 1140186 w 1862173"/>
                  <a:gd name="connsiteY302" fmla="*/ 522050 h 4593357"/>
                  <a:gd name="connsiteX303" fmla="*/ 1085420 w 1862173"/>
                  <a:gd name="connsiteY303" fmla="*/ 447215 h 4593357"/>
                  <a:gd name="connsiteX304" fmla="*/ 991261 w 1862173"/>
                  <a:gd name="connsiteY304" fmla="*/ 403639 h 4593357"/>
                  <a:gd name="connsiteX305" fmla="*/ 912839 w 1862173"/>
                  <a:gd name="connsiteY305" fmla="*/ 395254 h 4593357"/>
                  <a:gd name="connsiteX306" fmla="*/ 887725 w 1862173"/>
                  <a:gd name="connsiteY306" fmla="*/ 373219 h 4593357"/>
                  <a:gd name="connsiteX307" fmla="*/ 877669 w 1862173"/>
                  <a:gd name="connsiteY307" fmla="*/ 327731 h 4593357"/>
                  <a:gd name="connsiteX308" fmla="*/ 838487 w 1862173"/>
                  <a:gd name="connsiteY308" fmla="*/ 296401 h 4593357"/>
                  <a:gd name="connsiteX309" fmla="*/ 836587 w 1862173"/>
                  <a:gd name="connsiteY309" fmla="*/ 271833 h 4593357"/>
                  <a:gd name="connsiteX310" fmla="*/ 860033 w 1862173"/>
                  <a:gd name="connsiteY310" fmla="*/ 245663 h 4593357"/>
                  <a:gd name="connsiteX311" fmla="*/ 858353 w 1862173"/>
                  <a:gd name="connsiteY311" fmla="*/ 195804 h 4593357"/>
                  <a:gd name="connsiteX312" fmla="*/ 915008 w 1862173"/>
                  <a:gd name="connsiteY312" fmla="*/ 109227 h 4593357"/>
                  <a:gd name="connsiteX313" fmla="*/ 858572 w 1862173"/>
                  <a:gd name="connsiteY313" fmla="*/ 65409 h 4593357"/>
                  <a:gd name="connsiteX314" fmla="*/ 848030 w 1862173"/>
                  <a:gd name="connsiteY314" fmla="*/ 36228 h 4593357"/>
                  <a:gd name="connsiteX315" fmla="*/ 848032 w 1862173"/>
                  <a:gd name="connsiteY315" fmla="*/ 36228 h 4593357"/>
                  <a:gd name="connsiteX316" fmla="*/ 861966 w 1862173"/>
                  <a:gd name="connsiteY316" fmla="*/ 10250 h 4593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</a:cxnLst>
                <a:rect l="l" t="t" r="r" b="b"/>
                <a:pathLst>
                  <a:path w="1862173" h="4593357">
                    <a:moveTo>
                      <a:pt x="1348550" y="554845"/>
                    </a:moveTo>
                    <a:lnTo>
                      <a:pt x="1512067" y="600294"/>
                    </a:lnTo>
                    <a:lnTo>
                      <a:pt x="1533364" y="630302"/>
                    </a:lnTo>
                    <a:lnTo>
                      <a:pt x="1524092" y="678651"/>
                    </a:lnTo>
                    <a:lnTo>
                      <a:pt x="1544140" y="691770"/>
                    </a:lnTo>
                    <a:lnTo>
                      <a:pt x="1632034" y="670645"/>
                    </a:lnTo>
                    <a:lnTo>
                      <a:pt x="1722229" y="690305"/>
                    </a:lnTo>
                    <a:lnTo>
                      <a:pt x="1779012" y="729730"/>
                    </a:lnTo>
                    <a:lnTo>
                      <a:pt x="1817509" y="816461"/>
                    </a:lnTo>
                    <a:lnTo>
                      <a:pt x="1816165" y="936305"/>
                    </a:lnTo>
                    <a:lnTo>
                      <a:pt x="1747237" y="1022970"/>
                    </a:lnTo>
                    <a:lnTo>
                      <a:pt x="1674247" y="1083343"/>
                    </a:lnTo>
                    <a:lnTo>
                      <a:pt x="1741891" y="1105769"/>
                    </a:lnTo>
                    <a:lnTo>
                      <a:pt x="1746855" y="1121721"/>
                    </a:lnTo>
                    <a:lnTo>
                      <a:pt x="1703556" y="1169803"/>
                    </a:lnTo>
                    <a:lnTo>
                      <a:pt x="1728594" y="1187502"/>
                    </a:lnTo>
                    <a:lnTo>
                      <a:pt x="1678386" y="1228093"/>
                    </a:lnTo>
                    <a:lnTo>
                      <a:pt x="1705431" y="1245219"/>
                    </a:lnTo>
                    <a:lnTo>
                      <a:pt x="1696347" y="1265110"/>
                    </a:lnTo>
                    <a:lnTo>
                      <a:pt x="1718865" y="1260138"/>
                    </a:lnTo>
                    <a:lnTo>
                      <a:pt x="1719292" y="1324306"/>
                    </a:lnTo>
                    <a:lnTo>
                      <a:pt x="1757224" y="1356819"/>
                    </a:lnTo>
                    <a:lnTo>
                      <a:pt x="1745357" y="1377531"/>
                    </a:lnTo>
                    <a:lnTo>
                      <a:pt x="1775176" y="1383216"/>
                    </a:lnTo>
                    <a:lnTo>
                      <a:pt x="1801627" y="1410198"/>
                    </a:lnTo>
                    <a:lnTo>
                      <a:pt x="1820808" y="1521097"/>
                    </a:lnTo>
                    <a:lnTo>
                      <a:pt x="1862173" y="1537077"/>
                    </a:lnTo>
                    <a:lnTo>
                      <a:pt x="1859772" y="1561843"/>
                    </a:lnTo>
                    <a:lnTo>
                      <a:pt x="1740577" y="1654653"/>
                    </a:lnTo>
                    <a:lnTo>
                      <a:pt x="1755991" y="1688370"/>
                    </a:lnTo>
                    <a:lnTo>
                      <a:pt x="1719795" y="1699703"/>
                    </a:lnTo>
                    <a:lnTo>
                      <a:pt x="1705375" y="1726781"/>
                    </a:lnTo>
                    <a:lnTo>
                      <a:pt x="1722737" y="1755709"/>
                    </a:lnTo>
                    <a:lnTo>
                      <a:pt x="1713890" y="1794140"/>
                    </a:lnTo>
                    <a:lnTo>
                      <a:pt x="1654065" y="1789085"/>
                    </a:lnTo>
                    <a:lnTo>
                      <a:pt x="1640887" y="1819704"/>
                    </a:lnTo>
                    <a:lnTo>
                      <a:pt x="1581653" y="1848835"/>
                    </a:lnTo>
                    <a:lnTo>
                      <a:pt x="1559078" y="1842239"/>
                    </a:lnTo>
                    <a:lnTo>
                      <a:pt x="1542812" y="1869559"/>
                    </a:lnTo>
                    <a:lnTo>
                      <a:pt x="1594642" y="1951780"/>
                    </a:lnTo>
                    <a:lnTo>
                      <a:pt x="1612840" y="2188620"/>
                    </a:lnTo>
                    <a:lnTo>
                      <a:pt x="1568914" y="2218876"/>
                    </a:lnTo>
                    <a:lnTo>
                      <a:pt x="1563130" y="2239158"/>
                    </a:lnTo>
                    <a:lnTo>
                      <a:pt x="1536322" y="2245664"/>
                    </a:lnTo>
                    <a:lnTo>
                      <a:pt x="1582904" y="2275366"/>
                    </a:lnTo>
                    <a:lnTo>
                      <a:pt x="1594682" y="2324803"/>
                    </a:lnTo>
                    <a:lnTo>
                      <a:pt x="1584361" y="2368479"/>
                    </a:lnTo>
                    <a:lnTo>
                      <a:pt x="1613431" y="2397262"/>
                    </a:lnTo>
                    <a:lnTo>
                      <a:pt x="1611683" y="2449378"/>
                    </a:lnTo>
                    <a:lnTo>
                      <a:pt x="1650048" y="2470901"/>
                    </a:lnTo>
                    <a:lnTo>
                      <a:pt x="1589731" y="2549941"/>
                    </a:lnTo>
                    <a:lnTo>
                      <a:pt x="1609099" y="2574212"/>
                    </a:lnTo>
                    <a:lnTo>
                      <a:pt x="1589129" y="2571384"/>
                    </a:lnTo>
                    <a:lnTo>
                      <a:pt x="1579700" y="2622089"/>
                    </a:lnTo>
                    <a:lnTo>
                      <a:pt x="1610731" y="2645587"/>
                    </a:lnTo>
                    <a:lnTo>
                      <a:pt x="1639090" y="2623329"/>
                    </a:lnTo>
                    <a:lnTo>
                      <a:pt x="1696730" y="2661520"/>
                    </a:lnTo>
                    <a:lnTo>
                      <a:pt x="1713949" y="2651778"/>
                    </a:lnTo>
                    <a:lnTo>
                      <a:pt x="1739188" y="2669246"/>
                    </a:lnTo>
                    <a:lnTo>
                      <a:pt x="1756577" y="2656521"/>
                    </a:lnTo>
                    <a:lnTo>
                      <a:pt x="1769806" y="2685156"/>
                    </a:lnTo>
                    <a:lnTo>
                      <a:pt x="1705556" y="2718074"/>
                    </a:lnTo>
                    <a:lnTo>
                      <a:pt x="1652176" y="2699933"/>
                    </a:lnTo>
                    <a:lnTo>
                      <a:pt x="1663071" y="2726386"/>
                    </a:lnTo>
                    <a:lnTo>
                      <a:pt x="1645864" y="2779127"/>
                    </a:lnTo>
                    <a:lnTo>
                      <a:pt x="1666555" y="2799808"/>
                    </a:lnTo>
                    <a:lnTo>
                      <a:pt x="1659610" y="2813155"/>
                    </a:lnTo>
                    <a:lnTo>
                      <a:pt x="1645012" y="2807828"/>
                    </a:lnTo>
                    <a:lnTo>
                      <a:pt x="1646697" y="2843984"/>
                    </a:lnTo>
                    <a:lnTo>
                      <a:pt x="1626900" y="2851649"/>
                    </a:lnTo>
                    <a:lnTo>
                      <a:pt x="1657861" y="2910049"/>
                    </a:lnTo>
                    <a:lnTo>
                      <a:pt x="1682411" y="2919559"/>
                    </a:lnTo>
                    <a:lnTo>
                      <a:pt x="1681254" y="2939831"/>
                    </a:lnTo>
                    <a:lnTo>
                      <a:pt x="1659488" y="2957191"/>
                    </a:lnTo>
                    <a:lnTo>
                      <a:pt x="1662276" y="3011481"/>
                    </a:lnTo>
                    <a:lnTo>
                      <a:pt x="1628006" y="3046905"/>
                    </a:lnTo>
                    <a:lnTo>
                      <a:pt x="1636188" y="3069763"/>
                    </a:lnTo>
                    <a:lnTo>
                      <a:pt x="1551682" y="3128745"/>
                    </a:lnTo>
                    <a:lnTo>
                      <a:pt x="1572360" y="3154570"/>
                    </a:lnTo>
                    <a:lnTo>
                      <a:pt x="1542493" y="3172476"/>
                    </a:lnTo>
                    <a:lnTo>
                      <a:pt x="1532147" y="3209977"/>
                    </a:lnTo>
                    <a:lnTo>
                      <a:pt x="1551737" y="3277043"/>
                    </a:lnTo>
                    <a:lnTo>
                      <a:pt x="1619038" y="3300675"/>
                    </a:lnTo>
                    <a:lnTo>
                      <a:pt x="1623978" y="3360203"/>
                    </a:lnTo>
                    <a:lnTo>
                      <a:pt x="1589762" y="3356989"/>
                    </a:lnTo>
                    <a:lnTo>
                      <a:pt x="1567334" y="3388359"/>
                    </a:lnTo>
                    <a:lnTo>
                      <a:pt x="1586371" y="3421129"/>
                    </a:lnTo>
                    <a:lnTo>
                      <a:pt x="1607466" y="3423687"/>
                    </a:lnTo>
                    <a:lnTo>
                      <a:pt x="1621610" y="3473413"/>
                    </a:lnTo>
                    <a:lnTo>
                      <a:pt x="1578217" y="3515618"/>
                    </a:lnTo>
                    <a:lnTo>
                      <a:pt x="1582058" y="3545084"/>
                    </a:lnTo>
                    <a:lnTo>
                      <a:pt x="1554861" y="3557471"/>
                    </a:lnTo>
                    <a:lnTo>
                      <a:pt x="1532544" y="3531135"/>
                    </a:lnTo>
                    <a:lnTo>
                      <a:pt x="1507156" y="3540256"/>
                    </a:lnTo>
                    <a:lnTo>
                      <a:pt x="1513534" y="3518269"/>
                    </a:lnTo>
                    <a:lnTo>
                      <a:pt x="1464909" y="3496935"/>
                    </a:lnTo>
                    <a:lnTo>
                      <a:pt x="1449152" y="3465476"/>
                    </a:lnTo>
                    <a:lnTo>
                      <a:pt x="1458102" y="3459134"/>
                    </a:lnTo>
                    <a:lnTo>
                      <a:pt x="1432953" y="3453236"/>
                    </a:lnTo>
                    <a:lnTo>
                      <a:pt x="1417622" y="3473554"/>
                    </a:lnTo>
                    <a:lnTo>
                      <a:pt x="1392169" y="3475704"/>
                    </a:lnTo>
                    <a:lnTo>
                      <a:pt x="1400317" y="3545017"/>
                    </a:lnTo>
                    <a:lnTo>
                      <a:pt x="1284115" y="3647362"/>
                    </a:lnTo>
                    <a:lnTo>
                      <a:pt x="1287088" y="3668086"/>
                    </a:lnTo>
                    <a:lnTo>
                      <a:pt x="1260892" y="3683265"/>
                    </a:lnTo>
                    <a:lnTo>
                      <a:pt x="1274399" y="3742477"/>
                    </a:lnTo>
                    <a:lnTo>
                      <a:pt x="1257273" y="3757042"/>
                    </a:lnTo>
                    <a:lnTo>
                      <a:pt x="1226836" y="3733499"/>
                    </a:lnTo>
                    <a:lnTo>
                      <a:pt x="1199161" y="3652350"/>
                    </a:lnTo>
                    <a:lnTo>
                      <a:pt x="1167048" y="3650943"/>
                    </a:lnTo>
                    <a:lnTo>
                      <a:pt x="1146276" y="3696550"/>
                    </a:lnTo>
                    <a:lnTo>
                      <a:pt x="1108617" y="3707237"/>
                    </a:lnTo>
                    <a:lnTo>
                      <a:pt x="1023833" y="3688136"/>
                    </a:lnTo>
                    <a:lnTo>
                      <a:pt x="968678" y="3810582"/>
                    </a:lnTo>
                    <a:lnTo>
                      <a:pt x="996158" y="3820903"/>
                    </a:lnTo>
                    <a:lnTo>
                      <a:pt x="978175" y="3842829"/>
                    </a:lnTo>
                    <a:lnTo>
                      <a:pt x="1004914" y="3848401"/>
                    </a:lnTo>
                    <a:lnTo>
                      <a:pt x="1010922" y="3914350"/>
                    </a:lnTo>
                    <a:lnTo>
                      <a:pt x="983168" y="3913299"/>
                    </a:lnTo>
                    <a:lnTo>
                      <a:pt x="983619" y="3942789"/>
                    </a:lnTo>
                    <a:lnTo>
                      <a:pt x="964168" y="3966297"/>
                    </a:lnTo>
                    <a:lnTo>
                      <a:pt x="944952" y="3952991"/>
                    </a:lnTo>
                    <a:lnTo>
                      <a:pt x="930929" y="3993082"/>
                    </a:lnTo>
                    <a:lnTo>
                      <a:pt x="912729" y="4001973"/>
                    </a:lnTo>
                    <a:lnTo>
                      <a:pt x="923264" y="4076298"/>
                    </a:lnTo>
                    <a:lnTo>
                      <a:pt x="897563" y="4086778"/>
                    </a:lnTo>
                    <a:lnTo>
                      <a:pt x="900152" y="4140276"/>
                    </a:lnTo>
                    <a:lnTo>
                      <a:pt x="881237" y="4197299"/>
                    </a:lnTo>
                    <a:lnTo>
                      <a:pt x="838873" y="4188049"/>
                    </a:lnTo>
                    <a:lnTo>
                      <a:pt x="799069" y="4228390"/>
                    </a:lnTo>
                    <a:lnTo>
                      <a:pt x="887822" y="4343897"/>
                    </a:lnTo>
                    <a:lnTo>
                      <a:pt x="865250" y="4355017"/>
                    </a:lnTo>
                    <a:lnTo>
                      <a:pt x="847043" y="4337462"/>
                    </a:lnTo>
                    <a:lnTo>
                      <a:pt x="833600" y="4362801"/>
                    </a:lnTo>
                    <a:lnTo>
                      <a:pt x="799362" y="4349331"/>
                    </a:lnTo>
                    <a:lnTo>
                      <a:pt x="767915" y="4372160"/>
                    </a:lnTo>
                    <a:lnTo>
                      <a:pt x="751192" y="4354988"/>
                    </a:lnTo>
                    <a:lnTo>
                      <a:pt x="733444" y="4369831"/>
                    </a:lnTo>
                    <a:lnTo>
                      <a:pt x="704390" y="4366112"/>
                    </a:lnTo>
                    <a:lnTo>
                      <a:pt x="680757" y="4437182"/>
                    </a:lnTo>
                    <a:lnTo>
                      <a:pt x="643856" y="4446519"/>
                    </a:lnTo>
                    <a:lnTo>
                      <a:pt x="591666" y="4538783"/>
                    </a:lnTo>
                    <a:lnTo>
                      <a:pt x="509554" y="4589801"/>
                    </a:lnTo>
                    <a:lnTo>
                      <a:pt x="476802" y="4593357"/>
                    </a:lnTo>
                    <a:lnTo>
                      <a:pt x="432198" y="4591322"/>
                    </a:lnTo>
                    <a:lnTo>
                      <a:pt x="339882" y="4552092"/>
                    </a:lnTo>
                    <a:lnTo>
                      <a:pt x="317640" y="4557300"/>
                    </a:lnTo>
                    <a:lnTo>
                      <a:pt x="292555" y="4515337"/>
                    </a:lnTo>
                    <a:lnTo>
                      <a:pt x="334958" y="4450111"/>
                    </a:lnTo>
                    <a:lnTo>
                      <a:pt x="370984" y="4448366"/>
                    </a:lnTo>
                    <a:lnTo>
                      <a:pt x="395855" y="4411451"/>
                    </a:lnTo>
                    <a:lnTo>
                      <a:pt x="398262" y="4373460"/>
                    </a:lnTo>
                    <a:lnTo>
                      <a:pt x="425730" y="4370172"/>
                    </a:lnTo>
                    <a:lnTo>
                      <a:pt x="445943" y="4345572"/>
                    </a:lnTo>
                    <a:lnTo>
                      <a:pt x="410458" y="4270151"/>
                    </a:lnTo>
                    <a:lnTo>
                      <a:pt x="427925" y="4228282"/>
                    </a:lnTo>
                    <a:lnTo>
                      <a:pt x="407307" y="4159277"/>
                    </a:lnTo>
                    <a:lnTo>
                      <a:pt x="379733" y="4132644"/>
                    </a:lnTo>
                    <a:lnTo>
                      <a:pt x="386039" y="4102895"/>
                    </a:lnTo>
                    <a:lnTo>
                      <a:pt x="348374" y="4089024"/>
                    </a:lnTo>
                    <a:lnTo>
                      <a:pt x="350961" y="4064773"/>
                    </a:lnTo>
                    <a:lnTo>
                      <a:pt x="320145" y="4045904"/>
                    </a:lnTo>
                    <a:lnTo>
                      <a:pt x="255085" y="4058739"/>
                    </a:lnTo>
                    <a:lnTo>
                      <a:pt x="226142" y="4037105"/>
                    </a:lnTo>
                    <a:lnTo>
                      <a:pt x="226482" y="4005033"/>
                    </a:lnTo>
                    <a:lnTo>
                      <a:pt x="193203" y="3983092"/>
                    </a:lnTo>
                    <a:lnTo>
                      <a:pt x="273386" y="3926634"/>
                    </a:lnTo>
                    <a:lnTo>
                      <a:pt x="252697" y="3855036"/>
                    </a:lnTo>
                    <a:lnTo>
                      <a:pt x="225019" y="3840189"/>
                    </a:lnTo>
                    <a:lnTo>
                      <a:pt x="215037" y="3798199"/>
                    </a:lnTo>
                    <a:lnTo>
                      <a:pt x="237186" y="3787172"/>
                    </a:lnTo>
                    <a:lnTo>
                      <a:pt x="227743" y="3771813"/>
                    </a:lnTo>
                    <a:lnTo>
                      <a:pt x="244818" y="3728790"/>
                    </a:lnTo>
                    <a:lnTo>
                      <a:pt x="228196" y="3720828"/>
                    </a:lnTo>
                    <a:lnTo>
                      <a:pt x="249341" y="3711248"/>
                    </a:lnTo>
                    <a:lnTo>
                      <a:pt x="267165" y="3671760"/>
                    </a:lnTo>
                    <a:lnTo>
                      <a:pt x="282766" y="3677207"/>
                    </a:lnTo>
                    <a:lnTo>
                      <a:pt x="292074" y="3653774"/>
                    </a:lnTo>
                    <a:lnTo>
                      <a:pt x="310582" y="3656590"/>
                    </a:lnTo>
                    <a:lnTo>
                      <a:pt x="317734" y="3612662"/>
                    </a:lnTo>
                    <a:lnTo>
                      <a:pt x="221092" y="3563573"/>
                    </a:lnTo>
                    <a:lnTo>
                      <a:pt x="216969" y="3499818"/>
                    </a:lnTo>
                    <a:lnTo>
                      <a:pt x="263638" y="3447303"/>
                    </a:lnTo>
                    <a:lnTo>
                      <a:pt x="302112" y="3433286"/>
                    </a:lnTo>
                    <a:lnTo>
                      <a:pt x="292992" y="3388774"/>
                    </a:lnTo>
                    <a:lnTo>
                      <a:pt x="235182" y="3385142"/>
                    </a:lnTo>
                    <a:lnTo>
                      <a:pt x="216058" y="3317141"/>
                    </a:lnTo>
                    <a:lnTo>
                      <a:pt x="190248" y="3309554"/>
                    </a:lnTo>
                    <a:lnTo>
                      <a:pt x="188443" y="3278060"/>
                    </a:lnTo>
                    <a:lnTo>
                      <a:pt x="156577" y="3260970"/>
                    </a:lnTo>
                    <a:lnTo>
                      <a:pt x="7267" y="3238996"/>
                    </a:lnTo>
                    <a:lnTo>
                      <a:pt x="0" y="3226195"/>
                    </a:lnTo>
                    <a:lnTo>
                      <a:pt x="29130" y="3170357"/>
                    </a:lnTo>
                    <a:lnTo>
                      <a:pt x="7108" y="3083774"/>
                    </a:lnTo>
                    <a:lnTo>
                      <a:pt x="126854" y="3042801"/>
                    </a:lnTo>
                    <a:lnTo>
                      <a:pt x="125392" y="3029241"/>
                    </a:lnTo>
                    <a:lnTo>
                      <a:pt x="153616" y="3016659"/>
                    </a:lnTo>
                    <a:lnTo>
                      <a:pt x="147289" y="2997663"/>
                    </a:lnTo>
                    <a:lnTo>
                      <a:pt x="69823" y="2946974"/>
                    </a:lnTo>
                    <a:lnTo>
                      <a:pt x="66035" y="2884227"/>
                    </a:lnTo>
                    <a:lnTo>
                      <a:pt x="176849" y="2774502"/>
                    </a:lnTo>
                    <a:lnTo>
                      <a:pt x="173264" y="2750932"/>
                    </a:lnTo>
                    <a:lnTo>
                      <a:pt x="192859" y="2725758"/>
                    </a:lnTo>
                    <a:lnTo>
                      <a:pt x="173791" y="2721444"/>
                    </a:lnTo>
                    <a:lnTo>
                      <a:pt x="153395" y="2682401"/>
                    </a:lnTo>
                    <a:lnTo>
                      <a:pt x="174938" y="2675829"/>
                    </a:lnTo>
                    <a:lnTo>
                      <a:pt x="197303" y="2636903"/>
                    </a:lnTo>
                    <a:lnTo>
                      <a:pt x="232510" y="2624596"/>
                    </a:lnTo>
                    <a:lnTo>
                      <a:pt x="245516" y="2539712"/>
                    </a:lnTo>
                    <a:lnTo>
                      <a:pt x="241335" y="2503083"/>
                    </a:lnTo>
                    <a:lnTo>
                      <a:pt x="199762" y="2503809"/>
                    </a:lnTo>
                    <a:lnTo>
                      <a:pt x="192144" y="2471827"/>
                    </a:lnTo>
                    <a:lnTo>
                      <a:pt x="149119" y="2465220"/>
                    </a:lnTo>
                    <a:lnTo>
                      <a:pt x="183603" y="2389251"/>
                    </a:lnTo>
                    <a:lnTo>
                      <a:pt x="161402" y="2331795"/>
                    </a:lnTo>
                    <a:lnTo>
                      <a:pt x="129090" y="2319773"/>
                    </a:lnTo>
                    <a:lnTo>
                      <a:pt x="124856" y="2281112"/>
                    </a:lnTo>
                    <a:lnTo>
                      <a:pt x="146848" y="2264865"/>
                    </a:lnTo>
                    <a:lnTo>
                      <a:pt x="128179" y="2215055"/>
                    </a:lnTo>
                    <a:lnTo>
                      <a:pt x="150607" y="2189325"/>
                    </a:lnTo>
                    <a:lnTo>
                      <a:pt x="99469" y="2084270"/>
                    </a:lnTo>
                    <a:lnTo>
                      <a:pt x="127487" y="2044188"/>
                    </a:lnTo>
                    <a:lnTo>
                      <a:pt x="102538" y="1978689"/>
                    </a:lnTo>
                    <a:lnTo>
                      <a:pt x="141543" y="1981518"/>
                    </a:lnTo>
                    <a:lnTo>
                      <a:pt x="175540" y="1926813"/>
                    </a:lnTo>
                    <a:lnTo>
                      <a:pt x="181995" y="1887203"/>
                    </a:lnTo>
                    <a:lnTo>
                      <a:pt x="199091" y="1878016"/>
                    </a:lnTo>
                    <a:lnTo>
                      <a:pt x="181996" y="1813689"/>
                    </a:lnTo>
                    <a:lnTo>
                      <a:pt x="194394" y="1799890"/>
                    </a:lnTo>
                    <a:lnTo>
                      <a:pt x="161141" y="1783870"/>
                    </a:lnTo>
                    <a:lnTo>
                      <a:pt x="174253" y="1762518"/>
                    </a:lnTo>
                    <a:lnTo>
                      <a:pt x="165113" y="1743719"/>
                    </a:lnTo>
                    <a:lnTo>
                      <a:pt x="150155" y="1769492"/>
                    </a:lnTo>
                    <a:lnTo>
                      <a:pt x="112743" y="1770409"/>
                    </a:lnTo>
                    <a:lnTo>
                      <a:pt x="106854" y="1749924"/>
                    </a:lnTo>
                    <a:lnTo>
                      <a:pt x="56726" y="1730902"/>
                    </a:lnTo>
                    <a:lnTo>
                      <a:pt x="50927" y="1677900"/>
                    </a:lnTo>
                    <a:lnTo>
                      <a:pt x="29716" y="1665632"/>
                    </a:lnTo>
                    <a:lnTo>
                      <a:pt x="29716" y="1635258"/>
                    </a:lnTo>
                    <a:lnTo>
                      <a:pt x="63222" y="1618810"/>
                    </a:lnTo>
                    <a:lnTo>
                      <a:pt x="66019" y="1602704"/>
                    </a:lnTo>
                    <a:lnTo>
                      <a:pt x="76227" y="1610932"/>
                    </a:lnTo>
                    <a:lnTo>
                      <a:pt x="125293" y="1573977"/>
                    </a:lnTo>
                    <a:lnTo>
                      <a:pt x="160782" y="1583555"/>
                    </a:lnTo>
                    <a:lnTo>
                      <a:pt x="149752" y="1572397"/>
                    </a:lnTo>
                    <a:lnTo>
                      <a:pt x="165383" y="1553541"/>
                    </a:lnTo>
                    <a:lnTo>
                      <a:pt x="170532" y="1488291"/>
                    </a:lnTo>
                    <a:lnTo>
                      <a:pt x="111841" y="1414946"/>
                    </a:lnTo>
                    <a:lnTo>
                      <a:pt x="130935" y="1387388"/>
                    </a:lnTo>
                    <a:lnTo>
                      <a:pt x="163217" y="1395611"/>
                    </a:lnTo>
                    <a:lnTo>
                      <a:pt x="176859" y="1362990"/>
                    </a:lnTo>
                    <a:lnTo>
                      <a:pt x="196028" y="1360138"/>
                    </a:lnTo>
                    <a:lnTo>
                      <a:pt x="121380" y="1286083"/>
                    </a:lnTo>
                    <a:lnTo>
                      <a:pt x="139173" y="1245652"/>
                    </a:lnTo>
                    <a:lnTo>
                      <a:pt x="128948" y="1169606"/>
                    </a:lnTo>
                    <a:lnTo>
                      <a:pt x="128925" y="1169606"/>
                    </a:lnTo>
                    <a:lnTo>
                      <a:pt x="166819" y="1108164"/>
                    </a:lnTo>
                    <a:lnTo>
                      <a:pt x="253390" y="1079818"/>
                    </a:lnTo>
                    <a:lnTo>
                      <a:pt x="293176" y="1081664"/>
                    </a:lnTo>
                    <a:lnTo>
                      <a:pt x="379293" y="1018250"/>
                    </a:lnTo>
                    <a:lnTo>
                      <a:pt x="423801" y="1024845"/>
                    </a:lnTo>
                    <a:lnTo>
                      <a:pt x="444731" y="1011100"/>
                    </a:lnTo>
                    <a:lnTo>
                      <a:pt x="463043" y="962010"/>
                    </a:lnTo>
                    <a:lnTo>
                      <a:pt x="552441" y="934629"/>
                    </a:lnTo>
                    <a:lnTo>
                      <a:pt x="570709" y="882895"/>
                    </a:lnTo>
                    <a:lnTo>
                      <a:pt x="612580" y="880968"/>
                    </a:lnTo>
                    <a:lnTo>
                      <a:pt x="637587" y="899566"/>
                    </a:lnTo>
                    <a:lnTo>
                      <a:pt x="640931" y="858688"/>
                    </a:lnTo>
                    <a:lnTo>
                      <a:pt x="657922" y="842047"/>
                    </a:lnTo>
                    <a:lnTo>
                      <a:pt x="703869" y="835173"/>
                    </a:lnTo>
                    <a:lnTo>
                      <a:pt x="748501" y="866826"/>
                    </a:lnTo>
                    <a:lnTo>
                      <a:pt x="799955" y="843554"/>
                    </a:lnTo>
                    <a:lnTo>
                      <a:pt x="814327" y="801443"/>
                    </a:lnTo>
                    <a:lnTo>
                      <a:pt x="905973" y="795213"/>
                    </a:lnTo>
                    <a:lnTo>
                      <a:pt x="919711" y="732222"/>
                    </a:lnTo>
                    <a:lnTo>
                      <a:pt x="1032395" y="645211"/>
                    </a:lnTo>
                    <a:lnTo>
                      <a:pt x="1067539" y="642968"/>
                    </a:lnTo>
                    <a:lnTo>
                      <a:pt x="1153204" y="694892"/>
                    </a:lnTo>
                    <a:lnTo>
                      <a:pt x="1174938" y="654582"/>
                    </a:lnTo>
                    <a:lnTo>
                      <a:pt x="1235600" y="644487"/>
                    </a:lnTo>
                    <a:lnTo>
                      <a:pt x="1293067" y="581019"/>
                    </a:lnTo>
                    <a:close/>
                    <a:moveTo>
                      <a:pt x="888710" y="0"/>
                    </a:moveTo>
                    <a:lnTo>
                      <a:pt x="985116" y="23773"/>
                    </a:lnTo>
                    <a:lnTo>
                      <a:pt x="1054069" y="4164"/>
                    </a:lnTo>
                    <a:lnTo>
                      <a:pt x="1094933" y="14916"/>
                    </a:lnTo>
                    <a:lnTo>
                      <a:pt x="1171575" y="109982"/>
                    </a:lnTo>
                    <a:lnTo>
                      <a:pt x="1146153" y="173531"/>
                    </a:lnTo>
                    <a:lnTo>
                      <a:pt x="1155198" y="193243"/>
                    </a:lnTo>
                    <a:lnTo>
                      <a:pt x="1201452" y="208451"/>
                    </a:lnTo>
                    <a:lnTo>
                      <a:pt x="1244351" y="290134"/>
                    </a:lnTo>
                    <a:lnTo>
                      <a:pt x="1312709" y="303445"/>
                    </a:lnTo>
                    <a:lnTo>
                      <a:pt x="1376272" y="356397"/>
                    </a:lnTo>
                    <a:lnTo>
                      <a:pt x="1426795" y="433128"/>
                    </a:lnTo>
                    <a:lnTo>
                      <a:pt x="1511597" y="488035"/>
                    </a:lnTo>
                    <a:lnTo>
                      <a:pt x="1512547" y="537953"/>
                    </a:lnTo>
                    <a:lnTo>
                      <a:pt x="1473278" y="558239"/>
                    </a:lnTo>
                    <a:lnTo>
                      <a:pt x="1371565" y="526456"/>
                    </a:lnTo>
                    <a:lnTo>
                      <a:pt x="1312745" y="555079"/>
                    </a:lnTo>
                    <a:lnTo>
                      <a:pt x="1263730" y="550279"/>
                    </a:lnTo>
                    <a:lnTo>
                      <a:pt x="1203862" y="585538"/>
                    </a:lnTo>
                    <a:lnTo>
                      <a:pt x="1151890" y="581520"/>
                    </a:lnTo>
                    <a:lnTo>
                      <a:pt x="1134168" y="549274"/>
                    </a:lnTo>
                    <a:lnTo>
                      <a:pt x="1140186" y="522050"/>
                    </a:lnTo>
                    <a:lnTo>
                      <a:pt x="1085420" y="447215"/>
                    </a:lnTo>
                    <a:lnTo>
                      <a:pt x="991261" y="403639"/>
                    </a:lnTo>
                    <a:lnTo>
                      <a:pt x="912839" y="395254"/>
                    </a:lnTo>
                    <a:lnTo>
                      <a:pt x="887725" y="373219"/>
                    </a:lnTo>
                    <a:lnTo>
                      <a:pt x="877669" y="327731"/>
                    </a:lnTo>
                    <a:lnTo>
                      <a:pt x="838487" y="296401"/>
                    </a:lnTo>
                    <a:lnTo>
                      <a:pt x="836587" y="271833"/>
                    </a:lnTo>
                    <a:lnTo>
                      <a:pt x="860033" y="245663"/>
                    </a:lnTo>
                    <a:lnTo>
                      <a:pt x="858353" y="195804"/>
                    </a:lnTo>
                    <a:lnTo>
                      <a:pt x="915008" y="109227"/>
                    </a:lnTo>
                    <a:lnTo>
                      <a:pt x="858572" y="65409"/>
                    </a:lnTo>
                    <a:lnTo>
                      <a:pt x="848030" y="36228"/>
                    </a:lnTo>
                    <a:lnTo>
                      <a:pt x="848032" y="36228"/>
                    </a:lnTo>
                    <a:lnTo>
                      <a:pt x="861966" y="10250"/>
                    </a:lnTo>
                    <a:close/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103" name="Томская область">
                <a:extLst>
                  <a:ext uri="{FF2B5EF4-FFF2-40B4-BE49-F238E27FC236}">
                    <a16:creationId xmlns:a16="http://schemas.microsoft.com/office/drawing/2014/main" id="{D400ECDF-1822-48C3-B1D5-AEC56FF3BB00}"/>
                  </a:ext>
                </a:extLst>
              </p:cNvPr>
              <p:cNvSpPr/>
              <p:nvPr/>
            </p:nvSpPr>
            <p:spPr>
              <a:xfrm>
                <a:off x="4634984" y="4106582"/>
                <a:ext cx="1124653" cy="924192"/>
              </a:xfrm>
              <a:custGeom>
                <a:avLst/>
                <a:gdLst>
                  <a:gd name="connsiteX0" fmla="*/ 10282 w 1124653"/>
                  <a:gd name="connsiteY0" fmla="*/ 315510 h 924192"/>
                  <a:gd name="connsiteX1" fmla="*/ 40966 w 1124653"/>
                  <a:gd name="connsiteY1" fmla="*/ 307747 h 924192"/>
                  <a:gd name="connsiteX2" fmla="*/ 33590 w 1124653"/>
                  <a:gd name="connsiteY2" fmla="*/ 270175 h 924192"/>
                  <a:gd name="connsiteX3" fmla="*/ 93031 w 1124653"/>
                  <a:gd name="connsiteY3" fmla="*/ 241368 h 924192"/>
                  <a:gd name="connsiteX4" fmla="*/ 101302 w 1124653"/>
                  <a:gd name="connsiteY4" fmla="*/ 204084 h 924192"/>
                  <a:gd name="connsiteX5" fmla="*/ 158181 w 1124653"/>
                  <a:gd name="connsiteY5" fmla="*/ 171742 h 924192"/>
                  <a:gd name="connsiteX6" fmla="*/ 196637 w 1124653"/>
                  <a:gd name="connsiteY6" fmla="*/ 178403 h 924192"/>
                  <a:gd name="connsiteX7" fmla="*/ 244685 w 1124653"/>
                  <a:gd name="connsiteY7" fmla="*/ 62371 h 924192"/>
                  <a:gd name="connsiteX8" fmla="*/ 274717 w 1124653"/>
                  <a:gd name="connsiteY8" fmla="*/ 48213 h 924192"/>
                  <a:gd name="connsiteX9" fmla="*/ 294085 w 1124653"/>
                  <a:gd name="connsiteY9" fmla="*/ -157 h 924192"/>
                  <a:gd name="connsiteX10" fmla="*/ 350318 w 1124653"/>
                  <a:gd name="connsiteY10" fmla="*/ 37377 h 924192"/>
                  <a:gd name="connsiteX11" fmla="*/ 441973 w 1124653"/>
                  <a:gd name="connsiteY11" fmla="*/ 52746 h 924192"/>
                  <a:gd name="connsiteX12" fmla="*/ 450058 w 1124653"/>
                  <a:gd name="connsiteY12" fmla="*/ 86125 h 924192"/>
                  <a:gd name="connsiteX13" fmla="*/ 552859 w 1124653"/>
                  <a:gd name="connsiteY13" fmla="*/ 89174 h 924192"/>
                  <a:gd name="connsiteX14" fmla="*/ 576386 w 1124653"/>
                  <a:gd name="connsiteY14" fmla="*/ 103378 h 924192"/>
                  <a:gd name="connsiteX15" fmla="*/ 575467 w 1124653"/>
                  <a:gd name="connsiteY15" fmla="*/ 121509 h 924192"/>
                  <a:gd name="connsiteX16" fmla="*/ 632631 w 1124653"/>
                  <a:gd name="connsiteY16" fmla="*/ 137342 h 924192"/>
                  <a:gd name="connsiteX17" fmla="*/ 649079 w 1124653"/>
                  <a:gd name="connsiteY17" fmla="*/ 161552 h 924192"/>
                  <a:gd name="connsiteX18" fmla="*/ 738296 w 1124653"/>
                  <a:gd name="connsiteY18" fmla="*/ 104376 h 924192"/>
                  <a:gd name="connsiteX19" fmla="*/ 765543 w 1124653"/>
                  <a:gd name="connsiteY19" fmla="*/ 107268 h 924192"/>
                  <a:gd name="connsiteX20" fmla="*/ 793272 w 1124653"/>
                  <a:gd name="connsiteY20" fmla="*/ 145782 h 924192"/>
                  <a:gd name="connsiteX21" fmla="*/ 821836 w 1124653"/>
                  <a:gd name="connsiteY21" fmla="*/ 157868 h 924192"/>
                  <a:gd name="connsiteX22" fmla="*/ 839470 w 1124653"/>
                  <a:gd name="connsiteY22" fmla="*/ 233596 h 924192"/>
                  <a:gd name="connsiteX23" fmla="*/ 819870 w 1124653"/>
                  <a:gd name="connsiteY23" fmla="*/ 258788 h 924192"/>
                  <a:gd name="connsiteX24" fmla="*/ 815884 w 1124653"/>
                  <a:gd name="connsiteY24" fmla="*/ 300659 h 924192"/>
                  <a:gd name="connsiteX25" fmla="*/ 966917 w 1124653"/>
                  <a:gd name="connsiteY25" fmla="*/ 324210 h 924192"/>
                  <a:gd name="connsiteX26" fmla="*/ 998782 w 1124653"/>
                  <a:gd name="connsiteY26" fmla="*/ 341300 h 924192"/>
                  <a:gd name="connsiteX27" fmla="*/ 1000587 w 1124653"/>
                  <a:gd name="connsiteY27" fmla="*/ 372794 h 924192"/>
                  <a:gd name="connsiteX28" fmla="*/ 1026398 w 1124653"/>
                  <a:gd name="connsiteY28" fmla="*/ 380380 h 924192"/>
                  <a:gd name="connsiteX29" fmla="*/ 1045521 w 1124653"/>
                  <a:gd name="connsiteY29" fmla="*/ 448382 h 924192"/>
                  <a:gd name="connsiteX30" fmla="*/ 1103333 w 1124653"/>
                  <a:gd name="connsiteY30" fmla="*/ 452014 h 924192"/>
                  <a:gd name="connsiteX31" fmla="*/ 1112452 w 1124653"/>
                  <a:gd name="connsiteY31" fmla="*/ 496526 h 924192"/>
                  <a:gd name="connsiteX32" fmla="*/ 1073864 w 1124653"/>
                  <a:gd name="connsiteY32" fmla="*/ 510644 h 924192"/>
                  <a:gd name="connsiteX33" fmla="*/ 1027308 w 1124653"/>
                  <a:gd name="connsiteY33" fmla="*/ 563058 h 924192"/>
                  <a:gd name="connsiteX34" fmla="*/ 1026866 w 1124653"/>
                  <a:gd name="connsiteY34" fmla="*/ 609977 h 924192"/>
                  <a:gd name="connsiteX35" fmla="*/ 1031431 w 1124653"/>
                  <a:gd name="connsiteY35" fmla="*/ 626813 h 924192"/>
                  <a:gd name="connsiteX36" fmla="*/ 1088494 w 1124653"/>
                  <a:gd name="connsiteY36" fmla="*/ 661179 h 924192"/>
                  <a:gd name="connsiteX37" fmla="*/ 1123988 w 1124653"/>
                  <a:gd name="connsiteY37" fmla="*/ 667744 h 924192"/>
                  <a:gd name="connsiteX38" fmla="*/ 1123822 w 1124653"/>
                  <a:gd name="connsiteY38" fmla="*/ 713934 h 924192"/>
                  <a:gd name="connsiteX39" fmla="*/ 1102409 w 1124653"/>
                  <a:gd name="connsiteY39" fmla="*/ 717014 h 924192"/>
                  <a:gd name="connsiteX40" fmla="*/ 1099791 w 1124653"/>
                  <a:gd name="connsiteY40" fmla="*/ 737513 h 924192"/>
                  <a:gd name="connsiteX41" fmla="*/ 1077501 w 1124653"/>
                  <a:gd name="connsiteY41" fmla="*/ 734999 h 924192"/>
                  <a:gd name="connsiteX42" fmla="*/ 1059677 w 1124653"/>
                  <a:gd name="connsiteY42" fmla="*/ 774488 h 924192"/>
                  <a:gd name="connsiteX43" fmla="*/ 1038735 w 1124653"/>
                  <a:gd name="connsiteY43" fmla="*/ 784348 h 924192"/>
                  <a:gd name="connsiteX44" fmla="*/ 1055153 w 1124653"/>
                  <a:gd name="connsiteY44" fmla="*/ 792029 h 924192"/>
                  <a:gd name="connsiteX45" fmla="*/ 1031058 w 1124653"/>
                  <a:gd name="connsiteY45" fmla="*/ 839144 h 924192"/>
                  <a:gd name="connsiteX46" fmla="*/ 1018410 w 1124653"/>
                  <a:gd name="connsiteY46" fmla="*/ 828091 h 924192"/>
                  <a:gd name="connsiteX47" fmla="*/ 951941 w 1124653"/>
                  <a:gd name="connsiteY47" fmla="*/ 861197 h 924192"/>
                  <a:gd name="connsiteX48" fmla="*/ 950379 w 1124653"/>
                  <a:gd name="connsiteY48" fmla="*/ 841911 h 924192"/>
                  <a:gd name="connsiteX49" fmla="*/ 928909 w 1124653"/>
                  <a:gd name="connsiteY49" fmla="*/ 849229 h 924192"/>
                  <a:gd name="connsiteX50" fmla="*/ 911765 w 1124653"/>
                  <a:gd name="connsiteY50" fmla="*/ 835762 h 924192"/>
                  <a:gd name="connsiteX51" fmla="*/ 916684 w 1124653"/>
                  <a:gd name="connsiteY51" fmla="*/ 850462 h 924192"/>
                  <a:gd name="connsiteX52" fmla="*/ 904199 w 1124653"/>
                  <a:gd name="connsiteY52" fmla="*/ 854006 h 924192"/>
                  <a:gd name="connsiteX53" fmla="*/ 833506 w 1124653"/>
                  <a:gd name="connsiteY53" fmla="*/ 825448 h 924192"/>
                  <a:gd name="connsiteX54" fmla="*/ 767718 w 1124653"/>
                  <a:gd name="connsiteY54" fmla="*/ 867267 h 924192"/>
                  <a:gd name="connsiteX55" fmla="*/ 774707 w 1124653"/>
                  <a:gd name="connsiteY55" fmla="*/ 879685 h 924192"/>
                  <a:gd name="connsiteX56" fmla="*/ 738019 w 1124653"/>
                  <a:gd name="connsiteY56" fmla="*/ 869752 h 924192"/>
                  <a:gd name="connsiteX57" fmla="*/ 654209 w 1124653"/>
                  <a:gd name="connsiteY57" fmla="*/ 890382 h 924192"/>
                  <a:gd name="connsiteX58" fmla="*/ 645485 w 1124653"/>
                  <a:gd name="connsiteY58" fmla="*/ 875807 h 924192"/>
                  <a:gd name="connsiteX59" fmla="*/ 622807 w 1124653"/>
                  <a:gd name="connsiteY59" fmla="*/ 877628 h 924192"/>
                  <a:gd name="connsiteX60" fmla="*/ 581679 w 1124653"/>
                  <a:gd name="connsiteY60" fmla="*/ 924036 h 924192"/>
                  <a:gd name="connsiteX61" fmla="*/ 567224 w 1124653"/>
                  <a:gd name="connsiteY61" fmla="*/ 919680 h 924192"/>
                  <a:gd name="connsiteX62" fmla="*/ 549641 w 1124653"/>
                  <a:gd name="connsiteY62" fmla="*/ 905775 h 924192"/>
                  <a:gd name="connsiteX63" fmla="*/ 571821 w 1124653"/>
                  <a:gd name="connsiteY63" fmla="*/ 884721 h 924192"/>
                  <a:gd name="connsiteX64" fmla="*/ 555916 w 1124653"/>
                  <a:gd name="connsiteY64" fmla="*/ 827045 h 924192"/>
                  <a:gd name="connsiteX65" fmla="*/ 582526 w 1124653"/>
                  <a:gd name="connsiteY65" fmla="*/ 799453 h 924192"/>
                  <a:gd name="connsiteX66" fmla="*/ 571564 w 1124653"/>
                  <a:gd name="connsiteY66" fmla="*/ 779687 h 924192"/>
                  <a:gd name="connsiteX67" fmla="*/ 545220 w 1124653"/>
                  <a:gd name="connsiteY67" fmla="*/ 778503 h 924192"/>
                  <a:gd name="connsiteX68" fmla="*/ 535825 w 1124653"/>
                  <a:gd name="connsiteY68" fmla="*/ 794877 h 924192"/>
                  <a:gd name="connsiteX69" fmla="*/ 431723 w 1124653"/>
                  <a:gd name="connsiteY69" fmla="*/ 793171 h 924192"/>
                  <a:gd name="connsiteX70" fmla="*/ 414530 w 1124653"/>
                  <a:gd name="connsiteY70" fmla="*/ 740729 h 924192"/>
                  <a:gd name="connsiteX71" fmla="*/ 330686 w 1124653"/>
                  <a:gd name="connsiteY71" fmla="*/ 735722 h 924192"/>
                  <a:gd name="connsiteX72" fmla="*/ 297503 w 1124653"/>
                  <a:gd name="connsiteY72" fmla="*/ 644581 h 924192"/>
                  <a:gd name="connsiteX73" fmla="*/ 217773 w 1124653"/>
                  <a:gd name="connsiteY73" fmla="*/ 580514 h 924192"/>
                  <a:gd name="connsiteX74" fmla="*/ 32354 w 1124653"/>
                  <a:gd name="connsiteY74" fmla="*/ 506561 h 924192"/>
                  <a:gd name="connsiteX75" fmla="*/ 22052 w 1124653"/>
                  <a:gd name="connsiteY75" fmla="*/ 438386 h 924192"/>
                  <a:gd name="connsiteX76" fmla="*/ 10011 w 1124653"/>
                  <a:gd name="connsiteY76" fmla="*/ 433981 h 924192"/>
                  <a:gd name="connsiteX77" fmla="*/ 27723 w 1124653"/>
                  <a:gd name="connsiteY77" fmla="*/ 389115 h 924192"/>
                  <a:gd name="connsiteX78" fmla="*/ -666 w 1124653"/>
                  <a:gd name="connsiteY78" fmla="*/ 348416 h 924192"/>
                  <a:gd name="connsiteX79" fmla="*/ 17134 w 1124653"/>
                  <a:gd name="connsiteY79" fmla="*/ 340745 h 924192"/>
                  <a:gd name="connsiteX80" fmla="*/ 10279 w 1124653"/>
                  <a:gd name="connsiteY80" fmla="*/ 315510 h 924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1124653" h="924192">
                    <a:moveTo>
                      <a:pt x="10282" y="315510"/>
                    </a:moveTo>
                    <a:lnTo>
                      <a:pt x="40966" y="307747"/>
                    </a:lnTo>
                    <a:lnTo>
                      <a:pt x="33590" y="270175"/>
                    </a:lnTo>
                    <a:lnTo>
                      <a:pt x="93031" y="241368"/>
                    </a:lnTo>
                    <a:lnTo>
                      <a:pt x="101302" y="204084"/>
                    </a:lnTo>
                    <a:lnTo>
                      <a:pt x="158181" y="171742"/>
                    </a:lnTo>
                    <a:lnTo>
                      <a:pt x="196637" y="178403"/>
                    </a:lnTo>
                    <a:lnTo>
                      <a:pt x="244685" y="62371"/>
                    </a:lnTo>
                    <a:lnTo>
                      <a:pt x="274717" y="48213"/>
                    </a:lnTo>
                    <a:lnTo>
                      <a:pt x="294085" y="-157"/>
                    </a:lnTo>
                    <a:lnTo>
                      <a:pt x="350318" y="37377"/>
                    </a:lnTo>
                    <a:lnTo>
                      <a:pt x="441973" y="52746"/>
                    </a:lnTo>
                    <a:lnTo>
                      <a:pt x="450058" y="86125"/>
                    </a:lnTo>
                    <a:lnTo>
                      <a:pt x="552859" y="89174"/>
                    </a:lnTo>
                    <a:lnTo>
                      <a:pt x="576386" y="103378"/>
                    </a:lnTo>
                    <a:lnTo>
                      <a:pt x="575467" y="121509"/>
                    </a:lnTo>
                    <a:lnTo>
                      <a:pt x="632631" y="137342"/>
                    </a:lnTo>
                    <a:lnTo>
                      <a:pt x="649079" y="161552"/>
                    </a:lnTo>
                    <a:lnTo>
                      <a:pt x="738296" y="104376"/>
                    </a:lnTo>
                    <a:lnTo>
                      <a:pt x="765543" y="107268"/>
                    </a:lnTo>
                    <a:lnTo>
                      <a:pt x="793272" y="145782"/>
                    </a:lnTo>
                    <a:lnTo>
                      <a:pt x="821836" y="157868"/>
                    </a:lnTo>
                    <a:lnTo>
                      <a:pt x="839470" y="233596"/>
                    </a:lnTo>
                    <a:lnTo>
                      <a:pt x="819870" y="258788"/>
                    </a:lnTo>
                    <a:lnTo>
                      <a:pt x="815884" y="300659"/>
                    </a:lnTo>
                    <a:lnTo>
                      <a:pt x="966917" y="324210"/>
                    </a:lnTo>
                    <a:lnTo>
                      <a:pt x="998782" y="341300"/>
                    </a:lnTo>
                    <a:lnTo>
                      <a:pt x="1000587" y="372794"/>
                    </a:lnTo>
                    <a:lnTo>
                      <a:pt x="1026398" y="380380"/>
                    </a:lnTo>
                    <a:lnTo>
                      <a:pt x="1045521" y="448382"/>
                    </a:lnTo>
                    <a:lnTo>
                      <a:pt x="1103333" y="452014"/>
                    </a:lnTo>
                    <a:lnTo>
                      <a:pt x="1112452" y="496526"/>
                    </a:lnTo>
                    <a:lnTo>
                      <a:pt x="1073864" y="510644"/>
                    </a:lnTo>
                    <a:lnTo>
                      <a:pt x="1027308" y="563058"/>
                    </a:lnTo>
                    <a:lnTo>
                      <a:pt x="1026866" y="609977"/>
                    </a:lnTo>
                    <a:lnTo>
                      <a:pt x="1031431" y="626813"/>
                    </a:lnTo>
                    <a:lnTo>
                      <a:pt x="1088494" y="661179"/>
                    </a:lnTo>
                    <a:lnTo>
                      <a:pt x="1123988" y="667744"/>
                    </a:lnTo>
                    <a:lnTo>
                      <a:pt x="1123822" y="713934"/>
                    </a:lnTo>
                    <a:lnTo>
                      <a:pt x="1102409" y="717014"/>
                    </a:lnTo>
                    <a:lnTo>
                      <a:pt x="1099791" y="737513"/>
                    </a:lnTo>
                    <a:lnTo>
                      <a:pt x="1077501" y="734999"/>
                    </a:lnTo>
                    <a:lnTo>
                      <a:pt x="1059677" y="774488"/>
                    </a:lnTo>
                    <a:lnTo>
                      <a:pt x="1038735" y="784348"/>
                    </a:lnTo>
                    <a:lnTo>
                      <a:pt x="1055153" y="792029"/>
                    </a:lnTo>
                    <a:lnTo>
                      <a:pt x="1031058" y="839144"/>
                    </a:lnTo>
                    <a:lnTo>
                      <a:pt x="1018410" y="828091"/>
                    </a:lnTo>
                    <a:lnTo>
                      <a:pt x="951941" y="861197"/>
                    </a:lnTo>
                    <a:lnTo>
                      <a:pt x="950379" y="841911"/>
                    </a:lnTo>
                    <a:lnTo>
                      <a:pt x="928909" y="849229"/>
                    </a:lnTo>
                    <a:lnTo>
                      <a:pt x="911765" y="835762"/>
                    </a:lnTo>
                    <a:lnTo>
                      <a:pt x="916684" y="850462"/>
                    </a:lnTo>
                    <a:lnTo>
                      <a:pt x="904199" y="854006"/>
                    </a:lnTo>
                    <a:lnTo>
                      <a:pt x="833506" y="825448"/>
                    </a:lnTo>
                    <a:lnTo>
                      <a:pt x="767718" y="867267"/>
                    </a:lnTo>
                    <a:lnTo>
                      <a:pt x="774707" y="879685"/>
                    </a:lnTo>
                    <a:lnTo>
                      <a:pt x="738019" y="869752"/>
                    </a:lnTo>
                    <a:lnTo>
                      <a:pt x="654209" y="890382"/>
                    </a:lnTo>
                    <a:lnTo>
                      <a:pt x="645485" y="875807"/>
                    </a:lnTo>
                    <a:lnTo>
                      <a:pt x="622807" y="877628"/>
                    </a:lnTo>
                    <a:lnTo>
                      <a:pt x="581679" y="924036"/>
                    </a:lnTo>
                    <a:lnTo>
                      <a:pt x="567224" y="919680"/>
                    </a:lnTo>
                    <a:lnTo>
                      <a:pt x="549641" y="905775"/>
                    </a:lnTo>
                    <a:lnTo>
                      <a:pt x="571821" y="884721"/>
                    </a:lnTo>
                    <a:lnTo>
                      <a:pt x="555916" y="827045"/>
                    </a:lnTo>
                    <a:lnTo>
                      <a:pt x="582526" y="799453"/>
                    </a:lnTo>
                    <a:lnTo>
                      <a:pt x="571564" y="779687"/>
                    </a:lnTo>
                    <a:lnTo>
                      <a:pt x="545220" y="778503"/>
                    </a:lnTo>
                    <a:lnTo>
                      <a:pt x="535825" y="794877"/>
                    </a:lnTo>
                    <a:lnTo>
                      <a:pt x="431723" y="793171"/>
                    </a:lnTo>
                    <a:lnTo>
                      <a:pt x="414530" y="740729"/>
                    </a:lnTo>
                    <a:lnTo>
                      <a:pt x="330686" y="735722"/>
                    </a:lnTo>
                    <a:lnTo>
                      <a:pt x="297503" y="644581"/>
                    </a:lnTo>
                    <a:lnTo>
                      <a:pt x="217773" y="580514"/>
                    </a:lnTo>
                    <a:lnTo>
                      <a:pt x="32354" y="506561"/>
                    </a:lnTo>
                    <a:lnTo>
                      <a:pt x="22052" y="438386"/>
                    </a:lnTo>
                    <a:lnTo>
                      <a:pt x="10011" y="433981"/>
                    </a:lnTo>
                    <a:lnTo>
                      <a:pt x="27723" y="389115"/>
                    </a:lnTo>
                    <a:lnTo>
                      <a:pt x="-666" y="348416"/>
                    </a:lnTo>
                    <a:lnTo>
                      <a:pt x="17134" y="340745"/>
                    </a:lnTo>
                    <a:lnTo>
                      <a:pt x="10279" y="315510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4" name="Новосибирская область">
                <a:extLst>
                  <a:ext uri="{FF2B5EF4-FFF2-40B4-BE49-F238E27FC236}">
                    <a16:creationId xmlns:a16="http://schemas.microsoft.com/office/drawing/2014/main" id="{A1AF267A-13BA-41E9-843D-B45CB0143FE8}"/>
                  </a:ext>
                </a:extLst>
              </p:cNvPr>
              <p:cNvSpPr/>
              <p:nvPr/>
            </p:nvSpPr>
            <p:spPr>
              <a:xfrm>
                <a:off x="4470803" y="4613300"/>
                <a:ext cx="846216" cy="723633"/>
              </a:xfrm>
              <a:custGeom>
                <a:avLst/>
                <a:gdLst>
                  <a:gd name="connsiteX0" fmla="*/ 35065 w 846216"/>
                  <a:gd name="connsiteY0" fmla="*/ 191355 h 723633"/>
                  <a:gd name="connsiteX1" fmla="*/ 58887 w 846216"/>
                  <a:gd name="connsiteY1" fmla="*/ 197852 h 723633"/>
                  <a:gd name="connsiteX2" fmla="*/ 55692 w 846216"/>
                  <a:gd name="connsiteY2" fmla="*/ 179495 h 723633"/>
                  <a:gd name="connsiteX3" fmla="*/ 108328 w 846216"/>
                  <a:gd name="connsiteY3" fmla="*/ 154151 h 723633"/>
                  <a:gd name="connsiteX4" fmla="*/ 157535 w 846216"/>
                  <a:gd name="connsiteY4" fmla="*/ 164311 h 723633"/>
                  <a:gd name="connsiteX5" fmla="*/ 146043 w 846216"/>
                  <a:gd name="connsiteY5" fmla="*/ 137805 h 723633"/>
                  <a:gd name="connsiteX6" fmla="*/ 156349 w 846216"/>
                  <a:gd name="connsiteY6" fmla="*/ 116106 h 723633"/>
                  <a:gd name="connsiteX7" fmla="*/ 132546 w 846216"/>
                  <a:gd name="connsiteY7" fmla="*/ 112313 h 723633"/>
                  <a:gd name="connsiteX8" fmla="*/ 184046 w 846216"/>
                  <a:gd name="connsiteY8" fmla="*/ 84462 h 723633"/>
                  <a:gd name="connsiteX9" fmla="*/ 196537 w 846216"/>
                  <a:gd name="connsiteY9" fmla="*/ -157 h 723633"/>
                  <a:gd name="connsiteX10" fmla="*/ 381956 w 846216"/>
                  <a:gd name="connsiteY10" fmla="*/ 73796 h 723633"/>
                  <a:gd name="connsiteX11" fmla="*/ 461686 w 846216"/>
                  <a:gd name="connsiteY11" fmla="*/ 137863 h 723633"/>
                  <a:gd name="connsiteX12" fmla="*/ 494869 w 846216"/>
                  <a:gd name="connsiteY12" fmla="*/ 229004 h 723633"/>
                  <a:gd name="connsiteX13" fmla="*/ 578713 w 846216"/>
                  <a:gd name="connsiteY13" fmla="*/ 234012 h 723633"/>
                  <a:gd name="connsiteX14" fmla="*/ 595906 w 846216"/>
                  <a:gd name="connsiteY14" fmla="*/ 286454 h 723633"/>
                  <a:gd name="connsiteX15" fmla="*/ 700008 w 846216"/>
                  <a:gd name="connsiteY15" fmla="*/ 288160 h 723633"/>
                  <a:gd name="connsiteX16" fmla="*/ 709914 w 846216"/>
                  <a:gd name="connsiteY16" fmla="*/ 271685 h 723633"/>
                  <a:gd name="connsiteX17" fmla="*/ 735748 w 846216"/>
                  <a:gd name="connsiteY17" fmla="*/ 272970 h 723633"/>
                  <a:gd name="connsiteX18" fmla="*/ 746710 w 846216"/>
                  <a:gd name="connsiteY18" fmla="*/ 292736 h 723633"/>
                  <a:gd name="connsiteX19" fmla="*/ 720101 w 846216"/>
                  <a:gd name="connsiteY19" fmla="*/ 320328 h 723633"/>
                  <a:gd name="connsiteX20" fmla="*/ 736005 w 846216"/>
                  <a:gd name="connsiteY20" fmla="*/ 378004 h 723633"/>
                  <a:gd name="connsiteX21" fmla="*/ 714284 w 846216"/>
                  <a:gd name="connsiteY21" fmla="*/ 397467 h 723633"/>
                  <a:gd name="connsiteX22" fmla="*/ 721167 w 846216"/>
                  <a:gd name="connsiteY22" fmla="*/ 407473 h 723633"/>
                  <a:gd name="connsiteX23" fmla="*/ 745864 w 846216"/>
                  <a:gd name="connsiteY23" fmla="*/ 417318 h 723633"/>
                  <a:gd name="connsiteX24" fmla="*/ 786990 w 846216"/>
                  <a:gd name="connsiteY24" fmla="*/ 370911 h 723633"/>
                  <a:gd name="connsiteX25" fmla="*/ 837824 w 846216"/>
                  <a:gd name="connsiteY25" fmla="*/ 380646 h 723633"/>
                  <a:gd name="connsiteX26" fmla="*/ 826502 w 846216"/>
                  <a:gd name="connsiteY26" fmla="*/ 427339 h 723633"/>
                  <a:gd name="connsiteX27" fmla="*/ 841172 w 846216"/>
                  <a:gd name="connsiteY27" fmla="*/ 460250 h 723633"/>
                  <a:gd name="connsiteX28" fmla="*/ 822795 w 846216"/>
                  <a:gd name="connsiteY28" fmla="*/ 476728 h 723633"/>
                  <a:gd name="connsiteX29" fmla="*/ 845551 w 846216"/>
                  <a:gd name="connsiteY29" fmla="*/ 494635 h 723633"/>
                  <a:gd name="connsiteX30" fmla="*/ 827812 w 846216"/>
                  <a:gd name="connsiteY30" fmla="*/ 542850 h 723633"/>
                  <a:gd name="connsiteX31" fmla="*/ 843666 w 846216"/>
                  <a:gd name="connsiteY31" fmla="*/ 575151 h 723633"/>
                  <a:gd name="connsiteX32" fmla="*/ 823820 w 846216"/>
                  <a:gd name="connsiteY32" fmla="*/ 584810 h 723633"/>
                  <a:gd name="connsiteX33" fmla="*/ 833742 w 846216"/>
                  <a:gd name="connsiteY33" fmla="*/ 633343 h 723633"/>
                  <a:gd name="connsiteX34" fmla="*/ 772714 w 846216"/>
                  <a:gd name="connsiteY34" fmla="*/ 664670 h 723633"/>
                  <a:gd name="connsiteX35" fmla="*/ 684216 w 846216"/>
                  <a:gd name="connsiteY35" fmla="*/ 651844 h 723633"/>
                  <a:gd name="connsiteX36" fmla="*/ 668531 w 846216"/>
                  <a:gd name="connsiteY36" fmla="*/ 674896 h 723633"/>
                  <a:gd name="connsiteX37" fmla="*/ 651101 w 846216"/>
                  <a:gd name="connsiteY37" fmla="*/ 650792 h 723633"/>
                  <a:gd name="connsiteX38" fmla="*/ 597361 w 846216"/>
                  <a:gd name="connsiteY38" fmla="*/ 683860 h 723633"/>
                  <a:gd name="connsiteX39" fmla="*/ 573597 w 846216"/>
                  <a:gd name="connsiteY39" fmla="*/ 723477 h 723633"/>
                  <a:gd name="connsiteX40" fmla="*/ 540448 w 846216"/>
                  <a:gd name="connsiteY40" fmla="*/ 696804 h 723633"/>
                  <a:gd name="connsiteX41" fmla="*/ 547172 w 846216"/>
                  <a:gd name="connsiteY41" fmla="*/ 687076 h 723633"/>
                  <a:gd name="connsiteX42" fmla="*/ 514117 w 846216"/>
                  <a:gd name="connsiteY42" fmla="*/ 676774 h 723633"/>
                  <a:gd name="connsiteX43" fmla="*/ 508485 w 846216"/>
                  <a:gd name="connsiteY43" fmla="*/ 660707 h 723633"/>
                  <a:gd name="connsiteX44" fmla="*/ 526241 w 846216"/>
                  <a:gd name="connsiteY44" fmla="*/ 635090 h 723633"/>
                  <a:gd name="connsiteX45" fmla="*/ 498294 w 846216"/>
                  <a:gd name="connsiteY45" fmla="*/ 637235 h 723633"/>
                  <a:gd name="connsiteX46" fmla="*/ 509413 w 846216"/>
                  <a:gd name="connsiteY46" fmla="*/ 621747 h 723633"/>
                  <a:gd name="connsiteX47" fmla="*/ 471657 w 846216"/>
                  <a:gd name="connsiteY47" fmla="*/ 596721 h 723633"/>
                  <a:gd name="connsiteX48" fmla="*/ 466025 w 846216"/>
                  <a:gd name="connsiteY48" fmla="*/ 552455 h 723633"/>
                  <a:gd name="connsiteX49" fmla="*/ 416631 w 846216"/>
                  <a:gd name="connsiteY49" fmla="*/ 582618 h 723633"/>
                  <a:gd name="connsiteX50" fmla="*/ 374820 w 846216"/>
                  <a:gd name="connsiteY50" fmla="*/ 579347 h 723633"/>
                  <a:gd name="connsiteX51" fmla="*/ 323641 w 846216"/>
                  <a:gd name="connsiteY51" fmla="*/ 614081 h 723633"/>
                  <a:gd name="connsiteX52" fmla="*/ 228845 w 846216"/>
                  <a:gd name="connsiteY52" fmla="*/ 602108 h 723633"/>
                  <a:gd name="connsiteX53" fmla="*/ 225709 w 846216"/>
                  <a:gd name="connsiteY53" fmla="*/ 621447 h 723633"/>
                  <a:gd name="connsiteX54" fmla="*/ 199953 w 846216"/>
                  <a:gd name="connsiteY54" fmla="*/ 619756 h 723633"/>
                  <a:gd name="connsiteX55" fmla="*/ 194225 w 846216"/>
                  <a:gd name="connsiteY55" fmla="*/ 594342 h 723633"/>
                  <a:gd name="connsiteX56" fmla="*/ 168568 w 846216"/>
                  <a:gd name="connsiteY56" fmla="*/ 591864 h 723633"/>
                  <a:gd name="connsiteX57" fmla="*/ 171439 w 846216"/>
                  <a:gd name="connsiteY57" fmla="*/ 616099 h 723633"/>
                  <a:gd name="connsiteX58" fmla="*/ 143238 w 846216"/>
                  <a:gd name="connsiteY58" fmla="*/ 621902 h 723633"/>
                  <a:gd name="connsiteX59" fmla="*/ 63151 w 846216"/>
                  <a:gd name="connsiteY59" fmla="*/ 467550 h 723633"/>
                  <a:gd name="connsiteX60" fmla="*/ 93176 w 846216"/>
                  <a:gd name="connsiteY60" fmla="*/ 470682 h 723633"/>
                  <a:gd name="connsiteX61" fmla="*/ 122275 w 846216"/>
                  <a:gd name="connsiteY61" fmla="*/ 432816 h 723633"/>
                  <a:gd name="connsiteX62" fmla="*/ 93690 w 846216"/>
                  <a:gd name="connsiteY62" fmla="*/ 442184 h 723633"/>
                  <a:gd name="connsiteX63" fmla="*/ 60756 w 846216"/>
                  <a:gd name="connsiteY63" fmla="*/ 427343 h 723633"/>
                  <a:gd name="connsiteX64" fmla="*/ 51819 w 846216"/>
                  <a:gd name="connsiteY64" fmla="*/ 440172 h 723633"/>
                  <a:gd name="connsiteX65" fmla="*/ -666 w 846216"/>
                  <a:gd name="connsiteY65" fmla="*/ 444449 h 723633"/>
                  <a:gd name="connsiteX66" fmla="*/ 21967 w 846216"/>
                  <a:gd name="connsiteY66" fmla="*/ 382569 h 723633"/>
                  <a:gd name="connsiteX67" fmla="*/ 38835 w 846216"/>
                  <a:gd name="connsiteY67" fmla="*/ 378450 h 723633"/>
                  <a:gd name="connsiteX68" fmla="*/ 26599 w 846216"/>
                  <a:gd name="connsiteY68" fmla="*/ 323350 h 723633"/>
                  <a:gd name="connsiteX69" fmla="*/ 11225 w 846216"/>
                  <a:gd name="connsiteY69" fmla="*/ 318077 h 723633"/>
                  <a:gd name="connsiteX70" fmla="*/ 22107 w 846216"/>
                  <a:gd name="connsiteY70" fmla="*/ 307402 h 723633"/>
                  <a:gd name="connsiteX71" fmla="*/ 16346 w 846216"/>
                  <a:gd name="connsiteY71" fmla="*/ 242627 h 723633"/>
                  <a:gd name="connsiteX72" fmla="*/ 43308 w 846216"/>
                  <a:gd name="connsiteY72" fmla="*/ 225785 h 723633"/>
                  <a:gd name="connsiteX73" fmla="*/ 35065 w 846216"/>
                  <a:gd name="connsiteY73" fmla="*/ 191355 h 72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846216" h="723633">
                    <a:moveTo>
                      <a:pt x="35065" y="191355"/>
                    </a:moveTo>
                    <a:lnTo>
                      <a:pt x="58887" y="197852"/>
                    </a:lnTo>
                    <a:lnTo>
                      <a:pt x="55692" y="179495"/>
                    </a:lnTo>
                    <a:lnTo>
                      <a:pt x="108328" y="154151"/>
                    </a:lnTo>
                    <a:lnTo>
                      <a:pt x="157535" y="164311"/>
                    </a:lnTo>
                    <a:lnTo>
                      <a:pt x="146043" y="137805"/>
                    </a:lnTo>
                    <a:lnTo>
                      <a:pt x="156349" y="116106"/>
                    </a:lnTo>
                    <a:lnTo>
                      <a:pt x="132546" y="112313"/>
                    </a:lnTo>
                    <a:lnTo>
                      <a:pt x="184046" y="84462"/>
                    </a:lnTo>
                    <a:lnTo>
                      <a:pt x="196537" y="-157"/>
                    </a:lnTo>
                    <a:lnTo>
                      <a:pt x="381956" y="73796"/>
                    </a:lnTo>
                    <a:lnTo>
                      <a:pt x="461686" y="137863"/>
                    </a:lnTo>
                    <a:lnTo>
                      <a:pt x="494869" y="229004"/>
                    </a:lnTo>
                    <a:lnTo>
                      <a:pt x="578713" y="234012"/>
                    </a:lnTo>
                    <a:lnTo>
                      <a:pt x="595906" y="286454"/>
                    </a:lnTo>
                    <a:lnTo>
                      <a:pt x="700008" y="288160"/>
                    </a:lnTo>
                    <a:lnTo>
                      <a:pt x="709914" y="271685"/>
                    </a:lnTo>
                    <a:lnTo>
                      <a:pt x="735748" y="272970"/>
                    </a:lnTo>
                    <a:lnTo>
                      <a:pt x="746710" y="292736"/>
                    </a:lnTo>
                    <a:lnTo>
                      <a:pt x="720101" y="320328"/>
                    </a:lnTo>
                    <a:lnTo>
                      <a:pt x="736005" y="378004"/>
                    </a:lnTo>
                    <a:lnTo>
                      <a:pt x="714284" y="397467"/>
                    </a:lnTo>
                    <a:lnTo>
                      <a:pt x="721167" y="407473"/>
                    </a:lnTo>
                    <a:lnTo>
                      <a:pt x="745864" y="417318"/>
                    </a:lnTo>
                    <a:lnTo>
                      <a:pt x="786990" y="370911"/>
                    </a:lnTo>
                    <a:lnTo>
                      <a:pt x="837824" y="380646"/>
                    </a:lnTo>
                    <a:lnTo>
                      <a:pt x="826502" y="427339"/>
                    </a:lnTo>
                    <a:lnTo>
                      <a:pt x="841172" y="460250"/>
                    </a:lnTo>
                    <a:lnTo>
                      <a:pt x="822795" y="476728"/>
                    </a:lnTo>
                    <a:lnTo>
                      <a:pt x="845551" y="494635"/>
                    </a:lnTo>
                    <a:lnTo>
                      <a:pt x="827812" y="542850"/>
                    </a:lnTo>
                    <a:lnTo>
                      <a:pt x="843666" y="575151"/>
                    </a:lnTo>
                    <a:lnTo>
                      <a:pt x="823820" y="584810"/>
                    </a:lnTo>
                    <a:lnTo>
                      <a:pt x="833742" y="633343"/>
                    </a:lnTo>
                    <a:lnTo>
                      <a:pt x="772714" y="664670"/>
                    </a:lnTo>
                    <a:lnTo>
                      <a:pt x="684216" y="651844"/>
                    </a:lnTo>
                    <a:lnTo>
                      <a:pt x="668531" y="674896"/>
                    </a:lnTo>
                    <a:lnTo>
                      <a:pt x="651101" y="650792"/>
                    </a:lnTo>
                    <a:lnTo>
                      <a:pt x="597361" y="683860"/>
                    </a:lnTo>
                    <a:lnTo>
                      <a:pt x="573597" y="723477"/>
                    </a:lnTo>
                    <a:lnTo>
                      <a:pt x="540448" y="696804"/>
                    </a:lnTo>
                    <a:lnTo>
                      <a:pt x="547172" y="687076"/>
                    </a:lnTo>
                    <a:lnTo>
                      <a:pt x="514117" y="676774"/>
                    </a:lnTo>
                    <a:lnTo>
                      <a:pt x="508485" y="660707"/>
                    </a:lnTo>
                    <a:lnTo>
                      <a:pt x="526241" y="635090"/>
                    </a:lnTo>
                    <a:lnTo>
                      <a:pt x="498294" y="637235"/>
                    </a:lnTo>
                    <a:lnTo>
                      <a:pt x="509413" y="621747"/>
                    </a:lnTo>
                    <a:lnTo>
                      <a:pt x="471657" y="596721"/>
                    </a:lnTo>
                    <a:lnTo>
                      <a:pt x="466025" y="552455"/>
                    </a:lnTo>
                    <a:lnTo>
                      <a:pt x="416631" y="582618"/>
                    </a:lnTo>
                    <a:lnTo>
                      <a:pt x="374820" y="579347"/>
                    </a:lnTo>
                    <a:lnTo>
                      <a:pt x="323641" y="614081"/>
                    </a:lnTo>
                    <a:lnTo>
                      <a:pt x="228845" y="602108"/>
                    </a:lnTo>
                    <a:lnTo>
                      <a:pt x="225709" y="621447"/>
                    </a:lnTo>
                    <a:lnTo>
                      <a:pt x="199953" y="619756"/>
                    </a:lnTo>
                    <a:lnTo>
                      <a:pt x="194225" y="594342"/>
                    </a:lnTo>
                    <a:lnTo>
                      <a:pt x="168568" y="591864"/>
                    </a:lnTo>
                    <a:lnTo>
                      <a:pt x="171439" y="616099"/>
                    </a:lnTo>
                    <a:lnTo>
                      <a:pt x="143238" y="621902"/>
                    </a:lnTo>
                    <a:lnTo>
                      <a:pt x="63151" y="467550"/>
                    </a:lnTo>
                    <a:lnTo>
                      <a:pt x="93176" y="470682"/>
                    </a:lnTo>
                    <a:lnTo>
                      <a:pt x="122275" y="432816"/>
                    </a:lnTo>
                    <a:lnTo>
                      <a:pt x="93690" y="442184"/>
                    </a:lnTo>
                    <a:lnTo>
                      <a:pt x="60756" y="427343"/>
                    </a:lnTo>
                    <a:lnTo>
                      <a:pt x="51819" y="440172"/>
                    </a:lnTo>
                    <a:lnTo>
                      <a:pt x="-666" y="444449"/>
                    </a:lnTo>
                    <a:lnTo>
                      <a:pt x="21967" y="382569"/>
                    </a:lnTo>
                    <a:lnTo>
                      <a:pt x="38835" y="378450"/>
                    </a:lnTo>
                    <a:lnTo>
                      <a:pt x="26599" y="323350"/>
                    </a:lnTo>
                    <a:lnTo>
                      <a:pt x="11225" y="318077"/>
                    </a:lnTo>
                    <a:lnTo>
                      <a:pt x="22107" y="307402"/>
                    </a:lnTo>
                    <a:lnTo>
                      <a:pt x="16346" y="242627"/>
                    </a:lnTo>
                    <a:lnTo>
                      <a:pt x="43308" y="225785"/>
                    </a:lnTo>
                    <a:lnTo>
                      <a:pt x="35065" y="191355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5" name="Алтайский край">
                <a:extLst>
                  <a:ext uri="{FF2B5EF4-FFF2-40B4-BE49-F238E27FC236}">
                    <a16:creationId xmlns:a16="http://schemas.microsoft.com/office/drawing/2014/main" id="{E481DC17-E01E-4118-ADEC-99A2EB5A1E84}"/>
                  </a:ext>
                </a:extLst>
              </p:cNvPr>
              <p:cNvSpPr/>
              <p:nvPr/>
            </p:nvSpPr>
            <p:spPr>
              <a:xfrm>
                <a:off x="4623568" y="5165911"/>
                <a:ext cx="815147" cy="638906"/>
              </a:xfrm>
              <a:custGeom>
                <a:avLst/>
                <a:gdLst>
                  <a:gd name="connsiteX0" fmla="*/ -666 w 815147"/>
                  <a:gd name="connsiteY0" fmla="*/ 69020 h 638906"/>
                  <a:gd name="connsiteX1" fmla="*/ 19476 w 815147"/>
                  <a:gd name="connsiteY1" fmla="*/ 62173 h 638906"/>
                  <a:gd name="connsiteX2" fmla="*/ 15804 w 815147"/>
                  <a:gd name="connsiteY2" fmla="*/ 39252 h 638906"/>
                  <a:gd name="connsiteX3" fmla="*/ 41461 w 815147"/>
                  <a:gd name="connsiteY3" fmla="*/ 41731 h 638906"/>
                  <a:gd name="connsiteX4" fmla="*/ 47189 w 815147"/>
                  <a:gd name="connsiteY4" fmla="*/ 67144 h 638906"/>
                  <a:gd name="connsiteX5" fmla="*/ 72944 w 815147"/>
                  <a:gd name="connsiteY5" fmla="*/ 68836 h 638906"/>
                  <a:gd name="connsiteX6" fmla="*/ 76080 w 815147"/>
                  <a:gd name="connsiteY6" fmla="*/ 49497 h 638906"/>
                  <a:gd name="connsiteX7" fmla="*/ 170876 w 815147"/>
                  <a:gd name="connsiteY7" fmla="*/ 61469 h 638906"/>
                  <a:gd name="connsiteX8" fmla="*/ 222056 w 815147"/>
                  <a:gd name="connsiteY8" fmla="*/ 26736 h 638906"/>
                  <a:gd name="connsiteX9" fmla="*/ 263867 w 815147"/>
                  <a:gd name="connsiteY9" fmla="*/ 30006 h 638906"/>
                  <a:gd name="connsiteX10" fmla="*/ 313260 w 815147"/>
                  <a:gd name="connsiteY10" fmla="*/ -157 h 638906"/>
                  <a:gd name="connsiteX11" fmla="*/ 318892 w 815147"/>
                  <a:gd name="connsiteY11" fmla="*/ 44109 h 638906"/>
                  <a:gd name="connsiteX12" fmla="*/ 356648 w 815147"/>
                  <a:gd name="connsiteY12" fmla="*/ 69135 h 638906"/>
                  <a:gd name="connsiteX13" fmla="*/ 345529 w 815147"/>
                  <a:gd name="connsiteY13" fmla="*/ 84624 h 638906"/>
                  <a:gd name="connsiteX14" fmla="*/ 373476 w 815147"/>
                  <a:gd name="connsiteY14" fmla="*/ 82479 h 638906"/>
                  <a:gd name="connsiteX15" fmla="*/ 355721 w 815147"/>
                  <a:gd name="connsiteY15" fmla="*/ 108095 h 638906"/>
                  <a:gd name="connsiteX16" fmla="*/ 361352 w 815147"/>
                  <a:gd name="connsiteY16" fmla="*/ 124162 h 638906"/>
                  <a:gd name="connsiteX17" fmla="*/ 394407 w 815147"/>
                  <a:gd name="connsiteY17" fmla="*/ 134464 h 638906"/>
                  <a:gd name="connsiteX18" fmla="*/ 387684 w 815147"/>
                  <a:gd name="connsiteY18" fmla="*/ 144192 h 638906"/>
                  <a:gd name="connsiteX19" fmla="*/ 420832 w 815147"/>
                  <a:gd name="connsiteY19" fmla="*/ 170865 h 638906"/>
                  <a:gd name="connsiteX20" fmla="*/ 444597 w 815147"/>
                  <a:gd name="connsiteY20" fmla="*/ 131248 h 638906"/>
                  <a:gd name="connsiteX21" fmla="*/ 498336 w 815147"/>
                  <a:gd name="connsiteY21" fmla="*/ 98180 h 638906"/>
                  <a:gd name="connsiteX22" fmla="*/ 507384 w 815147"/>
                  <a:gd name="connsiteY22" fmla="*/ 121797 h 638906"/>
                  <a:gd name="connsiteX23" fmla="*/ 531451 w 815147"/>
                  <a:gd name="connsiteY23" fmla="*/ 99232 h 638906"/>
                  <a:gd name="connsiteX24" fmla="*/ 611491 w 815147"/>
                  <a:gd name="connsiteY24" fmla="*/ 113089 h 638906"/>
                  <a:gd name="connsiteX25" fmla="*/ 685268 w 815147"/>
                  <a:gd name="connsiteY25" fmla="*/ 79289 h 638906"/>
                  <a:gd name="connsiteX26" fmla="*/ 699848 w 815147"/>
                  <a:gd name="connsiteY26" fmla="*/ 125490 h 638906"/>
                  <a:gd name="connsiteX27" fmla="*/ 718706 w 815147"/>
                  <a:gd name="connsiteY27" fmla="*/ 124304 h 638906"/>
                  <a:gd name="connsiteX28" fmla="*/ 756086 w 815147"/>
                  <a:gd name="connsiteY28" fmla="*/ 168791 h 638906"/>
                  <a:gd name="connsiteX29" fmla="*/ 768619 w 815147"/>
                  <a:gd name="connsiteY29" fmla="*/ 232560 h 638906"/>
                  <a:gd name="connsiteX30" fmla="*/ 802298 w 815147"/>
                  <a:gd name="connsiteY30" fmla="*/ 262219 h 638906"/>
                  <a:gd name="connsiteX31" fmla="*/ 814481 w 815147"/>
                  <a:gd name="connsiteY31" fmla="*/ 256261 h 638906"/>
                  <a:gd name="connsiteX32" fmla="*/ 778967 w 815147"/>
                  <a:gd name="connsiteY32" fmla="*/ 300766 h 638906"/>
                  <a:gd name="connsiteX33" fmla="*/ 812546 w 815147"/>
                  <a:gd name="connsiteY33" fmla="*/ 329271 h 638906"/>
                  <a:gd name="connsiteX34" fmla="*/ 793840 w 815147"/>
                  <a:gd name="connsiteY34" fmla="*/ 356526 h 638906"/>
                  <a:gd name="connsiteX35" fmla="*/ 813192 w 815147"/>
                  <a:gd name="connsiteY35" fmla="*/ 384073 h 638906"/>
                  <a:gd name="connsiteX36" fmla="*/ 760364 w 815147"/>
                  <a:gd name="connsiteY36" fmla="*/ 401643 h 638906"/>
                  <a:gd name="connsiteX37" fmla="*/ 763472 w 815147"/>
                  <a:gd name="connsiteY37" fmla="*/ 459947 h 638906"/>
                  <a:gd name="connsiteX38" fmla="*/ 705467 w 815147"/>
                  <a:gd name="connsiteY38" fmla="*/ 471684 h 638906"/>
                  <a:gd name="connsiteX39" fmla="*/ 679267 w 815147"/>
                  <a:gd name="connsiteY39" fmla="*/ 451765 h 638906"/>
                  <a:gd name="connsiteX40" fmla="*/ 666369 w 815147"/>
                  <a:gd name="connsiteY40" fmla="*/ 457864 h 638906"/>
                  <a:gd name="connsiteX41" fmla="*/ 667705 w 815147"/>
                  <a:gd name="connsiteY41" fmla="*/ 482646 h 638906"/>
                  <a:gd name="connsiteX42" fmla="*/ 618084 w 815147"/>
                  <a:gd name="connsiteY42" fmla="*/ 524933 h 638906"/>
                  <a:gd name="connsiteX43" fmla="*/ 495506 w 815147"/>
                  <a:gd name="connsiteY43" fmla="*/ 543271 h 638906"/>
                  <a:gd name="connsiteX44" fmla="*/ 475215 w 815147"/>
                  <a:gd name="connsiteY44" fmla="*/ 572414 h 638906"/>
                  <a:gd name="connsiteX45" fmla="*/ 459648 w 815147"/>
                  <a:gd name="connsiteY45" fmla="*/ 558289 h 638906"/>
                  <a:gd name="connsiteX46" fmla="*/ 506284 w 815147"/>
                  <a:gd name="connsiteY46" fmla="*/ 599186 h 638906"/>
                  <a:gd name="connsiteX47" fmla="*/ 498221 w 815147"/>
                  <a:gd name="connsiteY47" fmla="*/ 611559 h 638906"/>
                  <a:gd name="connsiteX48" fmla="*/ 511557 w 815147"/>
                  <a:gd name="connsiteY48" fmla="*/ 620187 h 638906"/>
                  <a:gd name="connsiteX49" fmla="*/ 494821 w 815147"/>
                  <a:gd name="connsiteY49" fmla="*/ 638750 h 638906"/>
                  <a:gd name="connsiteX50" fmla="*/ 455353 w 815147"/>
                  <a:gd name="connsiteY50" fmla="*/ 637621 h 638906"/>
                  <a:gd name="connsiteX51" fmla="*/ 440185 w 815147"/>
                  <a:gd name="connsiteY51" fmla="*/ 595674 h 638906"/>
                  <a:gd name="connsiteX52" fmla="*/ 405734 w 815147"/>
                  <a:gd name="connsiteY52" fmla="*/ 565228 h 638906"/>
                  <a:gd name="connsiteX53" fmla="*/ 377930 w 815147"/>
                  <a:gd name="connsiteY53" fmla="*/ 559001 h 638906"/>
                  <a:gd name="connsiteX54" fmla="*/ 359947 w 815147"/>
                  <a:gd name="connsiteY54" fmla="*/ 574806 h 638906"/>
                  <a:gd name="connsiteX55" fmla="*/ 337130 w 815147"/>
                  <a:gd name="connsiteY55" fmla="*/ 562567 h 638906"/>
                  <a:gd name="connsiteX56" fmla="*/ 314296 w 815147"/>
                  <a:gd name="connsiteY56" fmla="*/ 586468 h 638906"/>
                  <a:gd name="connsiteX57" fmla="*/ 242974 w 815147"/>
                  <a:gd name="connsiteY57" fmla="*/ 555347 h 638906"/>
                  <a:gd name="connsiteX58" fmla="*/ 209543 w 815147"/>
                  <a:gd name="connsiteY58" fmla="*/ 556823 h 638906"/>
                  <a:gd name="connsiteX59" fmla="*/ 214743 w 815147"/>
                  <a:gd name="connsiteY59" fmla="*/ 522963 h 638906"/>
                  <a:gd name="connsiteX60" fmla="*/ 180030 w 815147"/>
                  <a:gd name="connsiteY60" fmla="*/ 517298 h 638906"/>
                  <a:gd name="connsiteX61" fmla="*/ 199798 w 815147"/>
                  <a:gd name="connsiteY61" fmla="*/ 480298 h 638906"/>
                  <a:gd name="connsiteX62" fmla="*/ 159643 w 815147"/>
                  <a:gd name="connsiteY62" fmla="*/ 451504 h 638906"/>
                  <a:gd name="connsiteX63" fmla="*/ 150934 w 815147"/>
                  <a:gd name="connsiteY63" fmla="*/ 467502 h 638906"/>
                  <a:gd name="connsiteX64" fmla="*/ 131141 w 815147"/>
                  <a:gd name="connsiteY64" fmla="*/ 465745 h 638906"/>
                  <a:gd name="connsiteX65" fmla="*/ 126577 w 815147"/>
                  <a:gd name="connsiteY65" fmla="*/ 498259 h 638906"/>
                  <a:gd name="connsiteX66" fmla="*/ 82450 w 815147"/>
                  <a:gd name="connsiteY66" fmla="*/ 504767 h 638906"/>
                  <a:gd name="connsiteX67" fmla="*/ 78137 w 815147"/>
                  <a:gd name="connsiteY67" fmla="*/ 522001 h 638906"/>
                  <a:gd name="connsiteX68" fmla="*/ -666 w 815147"/>
                  <a:gd name="connsiteY68" fmla="*/ 69020 h 638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815147" h="638906">
                    <a:moveTo>
                      <a:pt x="-666" y="69020"/>
                    </a:moveTo>
                    <a:lnTo>
                      <a:pt x="19476" y="62173"/>
                    </a:lnTo>
                    <a:lnTo>
                      <a:pt x="15804" y="39252"/>
                    </a:lnTo>
                    <a:lnTo>
                      <a:pt x="41461" y="41731"/>
                    </a:lnTo>
                    <a:lnTo>
                      <a:pt x="47189" y="67144"/>
                    </a:lnTo>
                    <a:lnTo>
                      <a:pt x="72944" y="68836"/>
                    </a:lnTo>
                    <a:lnTo>
                      <a:pt x="76080" y="49497"/>
                    </a:lnTo>
                    <a:lnTo>
                      <a:pt x="170876" y="61469"/>
                    </a:lnTo>
                    <a:lnTo>
                      <a:pt x="222056" y="26736"/>
                    </a:lnTo>
                    <a:lnTo>
                      <a:pt x="263867" y="30006"/>
                    </a:lnTo>
                    <a:lnTo>
                      <a:pt x="313260" y="-157"/>
                    </a:lnTo>
                    <a:lnTo>
                      <a:pt x="318892" y="44109"/>
                    </a:lnTo>
                    <a:lnTo>
                      <a:pt x="356648" y="69135"/>
                    </a:lnTo>
                    <a:lnTo>
                      <a:pt x="345529" y="84624"/>
                    </a:lnTo>
                    <a:lnTo>
                      <a:pt x="373476" y="82479"/>
                    </a:lnTo>
                    <a:lnTo>
                      <a:pt x="355721" y="108095"/>
                    </a:lnTo>
                    <a:lnTo>
                      <a:pt x="361352" y="124162"/>
                    </a:lnTo>
                    <a:lnTo>
                      <a:pt x="394407" y="134464"/>
                    </a:lnTo>
                    <a:lnTo>
                      <a:pt x="387684" y="144192"/>
                    </a:lnTo>
                    <a:lnTo>
                      <a:pt x="420832" y="170865"/>
                    </a:lnTo>
                    <a:lnTo>
                      <a:pt x="444597" y="131248"/>
                    </a:lnTo>
                    <a:lnTo>
                      <a:pt x="498336" y="98180"/>
                    </a:lnTo>
                    <a:lnTo>
                      <a:pt x="507384" y="121797"/>
                    </a:lnTo>
                    <a:lnTo>
                      <a:pt x="531451" y="99232"/>
                    </a:lnTo>
                    <a:lnTo>
                      <a:pt x="611491" y="113089"/>
                    </a:lnTo>
                    <a:lnTo>
                      <a:pt x="685268" y="79289"/>
                    </a:lnTo>
                    <a:lnTo>
                      <a:pt x="699848" y="125490"/>
                    </a:lnTo>
                    <a:lnTo>
                      <a:pt x="718706" y="124304"/>
                    </a:lnTo>
                    <a:lnTo>
                      <a:pt x="756086" y="168791"/>
                    </a:lnTo>
                    <a:lnTo>
                      <a:pt x="768619" y="232560"/>
                    </a:lnTo>
                    <a:lnTo>
                      <a:pt x="802298" y="262219"/>
                    </a:lnTo>
                    <a:lnTo>
                      <a:pt x="814481" y="256261"/>
                    </a:lnTo>
                    <a:lnTo>
                      <a:pt x="778967" y="300766"/>
                    </a:lnTo>
                    <a:lnTo>
                      <a:pt x="812546" y="329271"/>
                    </a:lnTo>
                    <a:lnTo>
                      <a:pt x="793840" y="356526"/>
                    </a:lnTo>
                    <a:lnTo>
                      <a:pt x="813192" y="384073"/>
                    </a:lnTo>
                    <a:lnTo>
                      <a:pt x="760364" y="401643"/>
                    </a:lnTo>
                    <a:lnTo>
                      <a:pt x="763472" y="459947"/>
                    </a:lnTo>
                    <a:lnTo>
                      <a:pt x="705467" y="471684"/>
                    </a:lnTo>
                    <a:lnTo>
                      <a:pt x="679267" y="451765"/>
                    </a:lnTo>
                    <a:lnTo>
                      <a:pt x="666369" y="457864"/>
                    </a:lnTo>
                    <a:lnTo>
                      <a:pt x="667705" y="482646"/>
                    </a:lnTo>
                    <a:lnTo>
                      <a:pt x="618084" y="524933"/>
                    </a:lnTo>
                    <a:lnTo>
                      <a:pt x="495506" y="543271"/>
                    </a:lnTo>
                    <a:lnTo>
                      <a:pt x="475215" y="572414"/>
                    </a:lnTo>
                    <a:lnTo>
                      <a:pt x="459648" y="558289"/>
                    </a:lnTo>
                    <a:lnTo>
                      <a:pt x="506284" y="599186"/>
                    </a:lnTo>
                    <a:lnTo>
                      <a:pt x="498221" y="611559"/>
                    </a:lnTo>
                    <a:lnTo>
                      <a:pt x="511557" y="620187"/>
                    </a:lnTo>
                    <a:lnTo>
                      <a:pt x="494821" y="638750"/>
                    </a:lnTo>
                    <a:lnTo>
                      <a:pt x="455353" y="637621"/>
                    </a:lnTo>
                    <a:lnTo>
                      <a:pt x="440185" y="595674"/>
                    </a:lnTo>
                    <a:lnTo>
                      <a:pt x="405734" y="565228"/>
                    </a:lnTo>
                    <a:lnTo>
                      <a:pt x="377930" y="559001"/>
                    </a:lnTo>
                    <a:lnTo>
                      <a:pt x="359947" y="574806"/>
                    </a:lnTo>
                    <a:lnTo>
                      <a:pt x="337130" y="562567"/>
                    </a:lnTo>
                    <a:lnTo>
                      <a:pt x="314296" y="586468"/>
                    </a:lnTo>
                    <a:lnTo>
                      <a:pt x="242974" y="555347"/>
                    </a:lnTo>
                    <a:lnTo>
                      <a:pt x="209543" y="556823"/>
                    </a:lnTo>
                    <a:lnTo>
                      <a:pt x="214743" y="522963"/>
                    </a:lnTo>
                    <a:lnTo>
                      <a:pt x="180030" y="517298"/>
                    </a:lnTo>
                    <a:lnTo>
                      <a:pt x="199798" y="480298"/>
                    </a:lnTo>
                    <a:lnTo>
                      <a:pt x="159643" y="451504"/>
                    </a:lnTo>
                    <a:lnTo>
                      <a:pt x="150934" y="467502"/>
                    </a:lnTo>
                    <a:lnTo>
                      <a:pt x="131141" y="465745"/>
                    </a:lnTo>
                    <a:lnTo>
                      <a:pt x="126577" y="498259"/>
                    </a:lnTo>
                    <a:lnTo>
                      <a:pt x="82450" y="504767"/>
                    </a:lnTo>
                    <a:lnTo>
                      <a:pt x="78137" y="522001"/>
                    </a:lnTo>
                    <a:lnTo>
                      <a:pt x="-666" y="69020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1" name="Республика Алтай">
                <a:extLst>
                  <a:ext uri="{FF2B5EF4-FFF2-40B4-BE49-F238E27FC236}">
                    <a16:creationId xmlns:a16="http://schemas.microsoft.com/office/drawing/2014/main" id="{AE24594F-43E2-4A48-847B-EE07CA16B936}"/>
                  </a:ext>
                </a:extLst>
              </p:cNvPr>
              <p:cNvSpPr/>
              <p:nvPr/>
            </p:nvSpPr>
            <p:spPr>
              <a:xfrm>
                <a:off x="5079586" y="5551897"/>
                <a:ext cx="558232" cy="558518"/>
              </a:xfrm>
              <a:custGeom>
                <a:avLst/>
                <a:gdLst>
                  <a:gd name="connsiteX0" fmla="*/ 3630 w 558232"/>
                  <a:gd name="connsiteY0" fmla="*/ 172303 h 558518"/>
                  <a:gd name="connsiteX1" fmla="*/ 19196 w 558232"/>
                  <a:gd name="connsiteY1" fmla="*/ 186428 h 558518"/>
                  <a:gd name="connsiteX2" fmla="*/ 39703 w 558232"/>
                  <a:gd name="connsiteY2" fmla="*/ 157251 h 558518"/>
                  <a:gd name="connsiteX3" fmla="*/ 161430 w 558232"/>
                  <a:gd name="connsiteY3" fmla="*/ 139278 h 558518"/>
                  <a:gd name="connsiteX4" fmla="*/ 211686 w 558232"/>
                  <a:gd name="connsiteY4" fmla="*/ 96660 h 558518"/>
                  <a:gd name="connsiteX5" fmla="*/ 210387 w 558232"/>
                  <a:gd name="connsiteY5" fmla="*/ 71554 h 558518"/>
                  <a:gd name="connsiteX6" fmla="*/ 223248 w 558232"/>
                  <a:gd name="connsiteY6" fmla="*/ 65779 h 558518"/>
                  <a:gd name="connsiteX7" fmla="*/ 249448 w 558232"/>
                  <a:gd name="connsiteY7" fmla="*/ 85698 h 558518"/>
                  <a:gd name="connsiteX8" fmla="*/ 307454 w 558232"/>
                  <a:gd name="connsiteY8" fmla="*/ 73962 h 558518"/>
                  <a:gd name="connsiteX9" fmla="*/ 298619 w 558232"/>
                  <a:gd name="connsiteY9" fmla="*/ 30198 h 558518"/>
                  <a:gd name="connsiteX10" fmla="*/ 323248 w 558232"/>
                  <a:gd name="connsiteY10" fmla="*/ -157 h 558518"/>
                  <a:gd name="connsiteX11" fmla="*/ 346825 w 558232"/>
                  <a:gd name="connsiteY11" fmla="*/ 2288 h 558518"/>
                  <a:gd name="connsiteX12" fmla="*/ 394126 w 558232"/>
                  <a:gd name="connsiteY12" fmla="*/ 47928 h 558518"/>
                  <a:gd name="connsiteX13" fmla="*/ 419965 w 558232"/>
                  <a:gd name="connsiteY13" fmla="*/ 34189 h 558518"/>
                  <a:gd name="connsiteX14" fmla="*/ 447783 w 558232"/>
                  <a:gd name="connsiteY14" fmla="*/ 60926 h 558518"/>
                  <a:gd name="connsiteX15" fmla="*/ 466147 w 558232"/>
                  <a:gd name="connsiteY15" fmla="*/ 57064 h 558518"/>
                  <a:gd name="connsiteX16" fmla="*/ 454653 w 558232"/>
                  <a:gd name="connsiteY16" fmla="*/ 105723 h 558518"/>
                  <a:gd name="connsiteX17" fmla="*/ 423348 w 558232"/>
                  <a:gd name="connsiteY17" fmla="*/ 112253 h 558518"/>
                  <a:gd name="connsiteX18" fmla="*/ 400482 w 558232"/>
                  <a:gd name="connsiteY18" fmla="*/ 145799 h 558518"/>
                  <a:gd name="connsiteX19" fmla="*/ 419294 w 558232"/>
                  <a:gd name="connsiteY19" fmla="*/ 160489 h 558518"/>
                  <a:gd name="connsiteX20" fmla="*/ 394336 w 558232"/>
                  <a:gd name="connsiteY20" fmla="*/ 186023 h 558518"/>
                  <a:gd name="connsiteX21" fmla="*/ 437521 w 558232"/>
                  <a:gd name="connsiteY21" fmla="*/ 235339 h 558518"/>
                  <a:gd name="connsiteX22" fmla="*/ 466245 w 558232"/>
                  <a:gd name="connsiteY22" fmla="*/ 223908 h 558518"/>
                  <a:gd name="connsiteX23" fmla="*/ 476874 w 558232"/>
                  <a:gd name="connsiteY23" fmla="*/ 198342 h 558518"/>
                  <a:gd name="connsiteX24" fmla="*/ 495822 w 558232"/>
                  <a:gd name="connsiteY24" fmla="*/ 226651 h 558518"/>
                  <a:gd name="connsiteX25" fmla="*/ 492313 w 558232"/>
                  <a:gd name="connsiteY25" fmla="*/ 282098 h 558518"/>
                  <a:gd name="connsiteX26" fmla="*/ 557567 w 558232"/>
                  <a:gd name="connsiteY26" fmla="*/ 374211 h 558518"/>
                  <a:gd name="connsiteX27" fmla="*/ 534791 w 558232"/>
                  <a:gd name="connsiteY27" fmla="*/ 395299 h 558518"/>
                  <a:gd name="connsiteX28" fmla="*/ 521924 w 558232"/>
                  <a:gd name="connsiteY28" fmla="*/ 379175 h 558518"/>
                  <a:gd name="connsiteX29" fmla="*/ 496891 w 558232"/>
                  <a:gd name="connsiteY29" fmla="*/ 415068 h 558518"/>
                  <a:gd name="connsiteX30" fmla="*/ 517390 w 558232"/>
                  <a:gd name="connsiteY30" fmla="*/ 420745 h 558518"/>
                  <a:gd name="connsiteX31" fmla="*/ 526462 w 558232"/>
                  <a:gd name="connsiteY31" fmla="*/ 495131 h 558518"/>
                  <a:gd name="connsiteX32" fmla="*/ 487266 w 558232"/>
                  <a:gd name="connsiteY32" fmla="*/ 511913 h 558518"/>
                  <a:gd name="connsiteX33" fmla="*/ 474533 w 558232"/>
                  <a:gd name="connsiteY33" fmla="*/ 500867 h 558518"/>
                  <a:gd name="connsiteX34" fmla="*/ 469894 w 558232"/>
                  <a:gd name="connsiteY34" fmla="*/ 518948 h 558518"/>
                  <a:gd name="connsiteX35" fmla="*/ 446805 w 558232"/>
                  <a:gd name="connsiteY35" fmla="*/ 524647 h 558518"/>
                  <a:gd name="connsiteX36" fmla="*/ 440436 w 558232"/>
                  <a:gd name="connsiteY36" fmla="*/ 509066 h 558518"/>
                  <a:gd name="connsiteX37" fmla="*/ 432083 w 558232"/>
                  <a:gd name="connsiteY37" fmla="*/ 525785 h 558518"/>
                  <a:gd name="connsiteX38" fmla="*/ 370920 w 558232"/>
                  <a:gd name="connsiteY38" fmla="*/ 509667 h 558518"/>
                  <a:gd name="connsiteX39" fmla="*/ 339723 w 558232"/>
                  <a:gd name="connsiteY39" fmla="*/ 551226 h 558518"/>
                  <a:gd name="connsiteX40" fmla="*/ 280260 w 558232"/>
                  <a:gd name="connsiteY40" fmla="*/ 558362 h 558518"/>
                  <a:gd name="connsiteX41" fmla="*/ 267287 w 558232"/>
                  <a:gd name="connsiteY41" fmla="*/ 548878 h 558518"/>
                  <a:gd name="connsiteX42" fmla="*/ 273476 w 558232"/>
                  <a:gd name="connsiteY42" fmla="*/ 531863 h 558518"/>
                  <a:gd name="connsiteX43" fmla="*/ 245328 w 558232"/>
                  <a:gd name="connsiteY43" fmla="*/ 522746 h 558518"/>
                  <a:gd name="connsiteX44" fmla="*/ 232831 w 558232"/>
                  <a:gd name="connsiteY44" fmla="*/ 473560 h 558518"/>
                  <a:gd name="connsiteX45" fmla="*/ 213893 w 558232"/>
                  <a:gd name="connsiteY45" fmla="*/ 466131 h 558518"/>
                  <a:gd name="connsiteX46" fmla="*/ 236266 w 558232"/>
                  <a:gd name="connsiteY46" fmla="*/ 435690 h 558518"/>
                  <a:gd name="connsiteX47" fmla="*/ 218971 w 558232"/>
                  <a:gd name="connsiteY47" fmla="*/ 429871 h 558518"/>
                  <a:gd name="connsiteX48" fmla="*/ 168992 w 558232"/>
                  <a:gd name="connsiteY48" fmla="*/ 474080 h 558518"/>
                  <a:gd name="connsiteX49" fmla="*/ 113624 w 558232"/>
                  <a:gd name="connsiteY49" fmla="*/ 438804 h 558518"/>
                  <a:gd name="connsiteX50" fmla="*/ 80024 w 558232"/>
                  <a:gd name="connsiteY50" fmla="*/ 435867 h 558518"/>
                  <a:gd name="connsiteX51" fmla="*/ 63524 w 558232"/>
                  <a:gd name="connsiteY51" fmla="*/ 381829 h 558518"/>
                  <a:gd name="connsiteX52" fmla="*/ 72385 w 558232"/>
                  <a:gd name="connsiteY52" fmla="*/ 360549 h 558518"/>
                  <a:gd name="connsiteX53" fmla="*/ 4891 w 558232"/>
                  <a:gd name="connsiteY53" fmla="*/ 309532 h 558518"/>
                  <a:gd name="connsiteX54" fmla="*/ 11745 w 558232"/>
                  <a:gd name="connsiteY54" fmla="*/ 272759 h 558518"/>
                  <a:gd name="connsiteX55" fmla="*/ -666 w 558232"/>
                  <a:gd name="connsiteY55" fmla="*/ 251635 h 558518"/>
                  <a:gd name="connsiteX56" fmla="*/ 38802 w 558232"/>
                  <a:gd name="connsiteY56" fmla="*/ 252764 h 558518"/>
                  <a:gd name="connsiteX57" fmla="*/ 55516 w 558232"/>
                  <a:gd name="connsiteY57" fmla="*/ 234038 h 558518"/>
                  <a:gd name="connsiteX58" fmla="*/ 3630 w 558232"/>
                  <a:gd name="connsiteY58" fmla="*/ 172303 h 558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58232" h="558518">
                    <a:moveTo>
                      <a:pt x="3630" y="172303"/>
                    </a:moveTo>
                    <a:lnTo>
                      <a:pt x="19196" y="186428"/>
                    </a:lnTo>
                    <a:lnTo>
                      <a:pt x="39703" y="157251"/>
                    </a:lnTo>
                    <a:lnTo>
                      <a:pt x="161430" y="139278"/>
                    </a:lnTo>
                    <a:lnTo>
                      <a:pt x="211686" y="96660"/>
                    </a:lnTo>
                    <a:lnTo>
                      <a:pt x="210387" y="71554"/>
                    </a:lnTo>
                    <a:lnTo>
                      <a:pt x="223248" y="65779"/>
                    </a:lnTo>
                    <a:lnTo>
                      <a:pt x="249448" y="85698"/>
                    </a:lnTo>
                    <a:lnTo>
                      <a:pt x="307454" y="73962"/>
                    </a:lnTo>
                    <a:lnTo>
                      <a:pt x="298619" y="30198"/>
                    </a:lnTo>
                    <a:lnTo>
                      <a:pt x="323248" y="-157"/>
                    </a:lnTo>
                    <a:lnTo>
                      <a:pt x="346825" y="2288"/>
                    </a:lnTo>
                    <a:lnTo>
                      <a:pt x="394126" y="47928"/>
                    </a:lnTo>
                    <a:lnTo>
                      <a:pt x="419965" y="34189"/>
                    </a:lnTo>
                    <a:lnTo>
                      <a:pt x="447783" y="60926"/>
                    </a:lnTo>
                    <a:lnTo>
                      <a:pt x="466147" y="57064"/>
                    </a:lnTo>
                    <a:lnTo>
                      <a:pt x="454653" y="105723"/>
                    </a:lnTo>
                    <a:lnTo>
                      <a:pt x="423348" y="112253"/>
                    </a:lnTo>
                    <a:lnTo>
                      <a:pt x="400482" y="145799"/>
                    </a:lnTo>
                    <a:lnTo>
                      <a:pt x="419294" y="160489"/>
                    </a:lnTo>
                    <a:lnTo>
                      <a:pt x="394336" y="186023"/>
                    </a:lnTo>
                    <a:lnTo>
                      <a:pt x="437521" y="235339"/>
                    </a:lnTo>
                    <a:lnTo>
                      <a:pt x="466245" y="223908"/>
                    </a:lnTo>
                    <a:lnTo>
                      <a:pt x="476874" y="198342"/>
                    </a:lnTo>
                    <a:lnTo>
                      <a:pt x="495822" y="226651"/>
                    </a:lnTo>
                    <a:lnTo>
                      <a:pt x="492313" y="282098"/>
                    </a:lnTo>
                    <a:lnTo>
                      <a:pt x="557567" y="374211"/>
                    </a:lnTo>
                    <a:lnTo>
                      <a:pt x="534791" y="395299"/>
                    </a:lnTo>
                    <a:lnTo>
                      <a:pt x="521924" y="379175"/>
                    </a:lnTo>
                    <a:lnTo>
                      <a:pt x="496891" y="415068"/>
                    </a:lnTo>
                    <a:lnTo>
                      <a:pt x="517390" y="420745"/>
                    </a:lnTo>
                    <a:lnTo>
                      <a:pt x="526462" y="495131"/>
                    </a:lnTo>
                    <a:lnTo>
                      <a:pt x="487266" y="511913"/>
                    </a:lnTo>
                    <a:lnTo>
                      <a:pt x="474533" y="500867"/>
                    </a:lnTo>
                    <a:lnTo>
                      <a:pt x="469894" y="518948"/>
                    </a:lnTo>
                    <a:lnTo>
                      <a:pt x="446805" y="524647"/>
                    </a:lnTo>
                    <a:lnTo>
                      <a:pt x="440436" y="509066"/>
                    </a:lnTo>
                    <a:lnTo>
                      <a:pt x="432083" y="525785"/>
                    </a:lnTo>
                    <a:lnTo>
                      <a:pt x="370920" y="509667"/>
                    </a:lnTo>
                    <a:lnTo>
                      <a:pt x="339723" y="551226"/>
                    </a:lnTo>
                    <a:lnTo>
                      <a:pt x="280260" y="558362"/>
                    </a:lnTo>
                    <a:lnTo>
                      <a:pt x="267287" y="548878"/>
                    </a:lnTo>
                    <a:lnTo>
                      <a:pt x="273476" y="531863"/>
                    </a:lnTo>
                    <a:lnTo>
                      <a:pt x="245328" y="522746"/>
                    </a:lnTo>
                    <a:lnTo>
                      <a:pt x="232831" y="473560"/>
                    </a:lnTo>
                    <a:lnTo>
                      <a:pt x="213893" y="466131"/>
                    </a:lnTo>
                    <a:lnTo>
                      <a:pt x="236266" y="435690"/>
                    </a:lnTo>
                    <a:lnTo>
                      <a:pt x="218971" y="429871"/>
                    </a:lnTo>
                    <a:lnTo>
                      <a:pt x="168992" y="474080"/>
                    </a:lnTo>
                    <a:lnTo>
                      <a:pt x="113624" y="438804"/>
                    </a:lnTo>
                    <a:lnTo>
                      <a:pt x="80024" y="435867"/>
                    </a:lnTo>
                    <a:lnTo>
                      <a:pt x="63524" y="381829"/>
                    </a:lnTo>
                    <a:lnTo>
                      <a:pt x="72385" y="360549"/>
                    </a:lnTo>
                    <a:lnTo>
                      <a:pt x="4891" y="309532"/>
                    </a:lnTo>
                    <a:lnTo>
                      <a:pt x="11745" y="272759"/>
                    </a:lnTo>
                    <a:lnTo>
                      <a:pt x="-666" y="251635"/>
                    </a:lnTo>
                    <a:lnTo>
                      <a:pt x="38802" y="252764"/>
                    </a:lnTo>
                    <a:lnTo>
                      <a:pt x="55516" y="234038"/>
                    </a:lnTo>
                    <a:lnTo>
                      <a:pt x="3630" y="172303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2" name="Кемеровская область — Кузбасс">
                <a:extLst>
                  <a:ext uri="{FF2B5EF4-FFF2-40B4-BE49-F238E27FC236}">
                    <a16:creationId xmlns:a16="http://schemas.microsoft.com/office/drawing/2014/main" id="{354AB000-98FC-4C32-B2AA-01800F8E9430}"/>
                  </a:ext>
                </a:extLst>
              </p:cNvPr>
              <p:cNvSpPr/>
              <p:nvPr/>
            </p:nvSpPr>
            <p:spPr>
              <a:xfrm>
                <a:off x="5294264" y="4932187"/>
                <a:ext cx="425020" cy="720126"/>
              </a:xfrm>
              <a:custGeom>
                <a:avLst/>
                <a:gdLst>
                  <a:gd name="connsiteX0" fmla="*/ 6408 w 425020"/>
                  <a:gd name="connsiteY0" fmla="*/ 57755 h 720126"/>
                  <a:gd name="connsiteX1" fmla="*/ 78743 w 425020"/>
                  <a:gd name="connsiteY1" fmla="*/ 44148 h 720126"/>
                  <a:gd name="connsiteX2" fmla="*/ 115431 w 425020"/>
                  <a:gd name="connsiteY2" fmla="*/ 54081 h 720126"/>
                  <a:gd name="connsiteX3" fmla="*/ 108441 w 425020"/>
                  <a:gd name="connsiteY3" fmla="*/ 41662 h 720126"/>
                  <a:gd name="connsiteX4" fmla="*/ 174230 w 425020"/>
                  <a:gd name="connsiteY4" fmla="*/ -157 h 720126"/>
                  <a:gd name="connsiteX5" fmla="*/ 244922 w 425020"/>
                  <a:gd name="connsiteY5" fmla="*/ 28402 h 720126"/>
                  <a:gd name="connsiteX6" fmla="*/ 257492 w 425020"/>
                  <a:gd name="connsiteY6" fmla="*/ 24648 h 720126"/>
                  <a:gd name="connsiteX7" fmla="*/ 252489 w 425020"/>
                  <a:gd name="connsiteY7" fmla="*/ 10158 h 720126"/>
                  <a:gd name="connsiteX8" fmla="*/ 269632 w 425020"/>
                  <a:gd name="connsiteY8" fmla="*/ 23624 h 720126"/>
                  <a:gd name="connsiteX9" fmla="*/ 291103 w 425020"/>
                  <a:gd name="connsiteY9" fmla="*/ 16306 h 720126"/>
                  <a:gd name="connsiteX10" fmla="*/ 292664 w 425020"/>
                  <a:gd name="connsiteY10" fmla="*/ 35592 h 720126"/>
                  <a:gd name="connsiteX11" fmla="*/ 359827 w 425020"/>
                  <a:gd name="connsiteY11" fmla="*/ 2232 h 720126"/>
                  <a:gd name="connsiteX12" fmla="*/ 383492 w 425020"/>
                  <a:gd name="connsiteY12" fmla="*/ 7439 h 720126"/>
                  <a:gd name="connsiteX13" fmla="*/ 385952 w 425020"/>
                  <a:gd name="connsiteY13" fmla="*/ 29578 h 720126"/>
                  <a:gd name="connsiteX14" fmla="*/ 366096 w 425020"/>
                  <a:gd name="connsiteY14" fmla="*/ 35835 h 720126"/>
                  <a:gd name="connsiteX15" fmla="*/ 369065 w 425020"/>
                  <a:gd name="connsiteY15" fmla="*/ 66532 h 720126"/>
                  <a:gd name="connsiteX16" fmla="*/ 403756 w 425020"/>
                  <a:gd name="connsiteY16" fmla="*/ 92671 h 720126"/>
                  <a:gd name="connsiteX17" fmla="*/ 424355 w 425020"/>
                  <a:gd name="connsiteY17" fmla="*/ 164468 h 720126"/>
                  <a:gd name="connsiteX18" fmla="*/ 325964 w 425020"/>
                  <a:gd name="connsiteY18" fmla="*/ 241063 h 720126"/>
                  <a:gd name="connsiteX19" fmla="*/ 343805 w 425020"/>
                  <a:gd name="connsiteY19" fmla="*/ 312054 h 720126"/>
                  <a:gd name="connsiteX20" fmla="*/ 314432 w 425020"/>
                  <a:gd name="connsiteY20" fmla="*/ 372974 h 720126"/>
                  <a:gd name="connsiteX21" fmla="*/ 296906 w 425020"/>
                  <a:gd name="connsiteY21" fmla="*/ 379776 h 720126"/>
                  <a:gd name="connsiteX22" fmla="*/ 318088 w 425020"/>
                  <a:gd name="connsiteY22" fmla="*/ 397602 h 720126"/>
                  <a:gd name="connsiteX23" fmla="*/ 341223 w 425020"/>
                  <a:gd name="connsiteY23" fmla="*/ 379645 h 720126"/>
                  <a:gd name="connsiteX24" fmla="*/ 349364 w 425020"/>
                  <a:gd name="connsiteY24" fmla="*/ 401796 h 720126"/>
                  <a:gd name="connsiteX25" fmla="*/ 363952 w 425020"/>
                  <a:gd name="connsiteY25" fmla="*/ 394827 h 720126"/>
                  <a:gd name="connsiteX26" fmla="*/ 372110 w 425020"/>
                  <a:gd name="connsiteY26" fmla="*/ 408734 h 720126"/>
                  <a:gd name="connsiteX27" fmla="*/ 344866 w 425020"/>
                  <a:gd name="connsiteY27" fmla="*/ 445743 h 720126"/>
                  <a:gd name="connsiteX28" fmla="*/ 361393 w 425020"/>
                  <a:gd name="connsiteY28" fmla="*/ 477589 h 720126"/>
                  <a:gd name="connsiteX29" fmla="*/ 343183 w 425020"/>
                  <a:gd name="connsiteY29" fmla="*/ 478996 h 720126"/>
                  <a:gd name="connsiteX30" fmla="*/ 306797 w 425020"/>
                  <a:gd name="connsiteY30" fmla="*/ 539005 h 720126"/>
                  <a:gd name="connsiteX31" fmla="*/ 330068 w 425020"/>
                  <a:gd name="connsiteY31" fmla="*/ 557634 h 720126"/>
                  <a:gd name="connsiteX32" fmla="*/ 311661 w 425020"/>
                  <a:gd name="connsiteY32" fmla="*/ 600564 h 720126"/>
                  <a:gd name="connsiteX33" fmla="*/ 337227 w 425020"/>
                  <a:gd name="connsiteY33" fmla="*/ 634524 h 720126"/>
                  <a:gd name="connsiteX34" fmla="*/ 271529 w 425020"/>
                  <a:gd name="connsiteY34" fmla="*/ 712370 h 720126"/>
                  <a:gd name="connsiteX35" fmla="*/ 244022 w 425020"/>
                  <a:gd name="connsiteY35" fmla="*/ 719970 h 720126"/>
                  <a:gd name="connsiteX36" fmla="*/ 254218 w 425020"/>
                  <a:gd name="connsiteY36" fmla="*/ 679087 h 720126"/>
                  <a:gd name="connsiteX37" fmla="*/ 233105 w 425020"/>
                  <a:gd name="connsiteY37" fmla="*/ 680636 h 720126"/>
                  <a:gd name="connsiteX38" fmla="*/ 205288 w 425020"/>
                  <a:gd name="connsiteY38" fmla="*/ 653900 h 720126"/>
                  <a:gd name="connsiteX39" fmla="*/ 179928 w 425020"/>
                  <a:gd name="connsiteY39" fmla="*/ 667953 h 720126"/>
                  <a:gd name="connsiteX40" fmla="*/ 135106 w 425020"/>
                  <a:gd name="connsiteY40" fmla="*/ 631886 h 720126"/>
                  <a:gd name="connsiteX41" fmla="*/ 142436 w 425020"/>
                  <a:gd name="connsiteY41" fmla="*/ 615549 h 720126"/>
                  <a:gd name="connsiteX42" fmla="*/ 123143 w 425020"/>
                  <a:gd name="connsiteY42" fmla="*/ 590250 h 720126"/>
                  <a:gd name="connsiteX43" fmla="*/ 141850 w 425020"/>
                  <a:gd name="connsiteY43" fmla="*/ 562996 h 720126"/>
                  <a:gd name="connsiteX44" fmla="*/ 108488 w 425020"/>
                  <a:gd name="connsiteY44" fmla="*/ 525220 h 720126"/>
                  <a:gd name="connsiteX45" fmla="*/ 131019 w 425020"/>
                  <a:gd name="connsiteY45" fmla="*/ 516770 h 720126"/>
                  <a:gd name="connsiteX46" fmla="*/ 143785 w 425020"/>
                  <a:gd name="connsiteY46" fmla="*/ 489985 h 720126"/>
                  <a:gd name="connsiteX47" fmla="*/ 131602 w 425020"/>
                  <a:gd name="connsiteY47" fmla="*/ 495943 h 720126"/>
                  <a:gd name="connsiteX48" fmla="*/ 97923 w 425020"/>
                  <a:gd name="connsiteY48" fmla="*/ 466284 h 720126"/>
                  <a:gd name="connsiteX49" fmla="*/ 85390 w 425020"/>
                  <a:gd name="connsiteY49" fmla="*/ 402515 h 720126"/>
                  <a:gd name="connsiteX50" fmla="*/ 48010 w 425020"/>
                  <a:gd name="connsiteY50" fmla="*/ 358028 h 720126"/>
                  <a:gd name="connsiteX51" fmla="*/ 29152 w 425020"/>
                  <a:gd name="connsiteY51" fmla="*/ 359215 h 720126"/>
                  <a:gd name="connsiteX52" fmla="*/ -351 w 425020"/>
                  <a:gd name="connsiteY52" fmla="*/ 284880 h 720126"/>
                  <a:gd name="connsiteX53" fmla="*/ 20715 w 425020"/>
                  <a:gd name="connsiteY53" fmla="*/ 250090 h 720126"/>
                  <a:gd name="connsiteX54" fmla="*/ 4351 w 425020"/>
                  <a:gd name="connsiteY54" fmla="*/ 223963 h 720126"/>
                  <a:gd name="connsiteX55" fmla="*/ 21620 w 425020"/>
                  <a:gd name="connsiteY55" fmla="*/ 173447 h 720126"/>
                  <a:gd name="connsiteX56" fmla="*/ -666 w 425020"/>
                  <a:gd name="connsiteY56" fmla="*/ 157840 h 720126"/>
                  <a:gd name="connsiteX57" fmla="*/ 17711 w 425020"/>
                  <a:gd name="connsiteY57" fmla="*/ 141362 h 720126"/>
                  <a:gd name="connsiteX58" fmla="*/ 3041 w 425020"/>
                  <a:gd name="connsiteY58" fmla="*/ 108451 h 720126"/>
                  <a:gd name="connsiteX59" fmla="*/ 6408 w 425020"/>
                  <a:gd name="connsiteY59" fmla="*/ 57755 h 720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425020" h="720126">
                    <a:moveTo>
                      <a:pt x="6408" y="57755"/>
                    </a:moveTo>
                    <a:lnTo>
                      <a:pt x="78743" y="44148"/>
                    </a:lnTo>
                    <a:lnTo>
                      <a:pt x="115431" y="54081"/>
                    </a:lnTo>
                    <a:lnTo>
                      <a:pt x="108441" y="41662"/>
                    </a:lnTo>
                    <a:lnTo>
                      <a:pt x="174230" y="-157"/>
                    </a:lnTo>
                    <a:lnTo>
                      <a:pt x="244922" y="28402"/>
                    </a:lnTo>
                    <a:lnTo>
                      <a:pt x="257492" y="24648"/>
                    </a:lnTo>
                    <a:lnTo>
                      <a:pt x="252489" y="10158"/>
                    </a:lnTo>
                    <a:lnTo>
                      <a:pt x="269632" y="23624"/>
                    </a:lnTo>
                    <a:lnTo>
                      <a:pt x="291103" y="16306"/>
                    </a:lnTo>
                    <a:lnTo>
                      <a:pt x="292664" y="35592"/>
                    </a:lnTo>
                    <a:lnTo>
                      <a:pt x="359827" y="2232"/>
                    </a:lnTo>
                    <a:lnTo>
                      <a:pt x="383492" y="7439"/>
                    </a:lnTo>
                    <a:lnTo>
                      <a:pt x="385952" y="29578"/>
                    </a:lnTo>
                    <a:lnTo>
                      <a:pt x="366096" y="35835"/>
                    </a:lnTo>
                    <a:lnTo>
                      <a:pt x="369065" y="66532"/>
                    </a:lnTo>
                    <a:lnTo>
                      <a:pt x="403756" y="92671"/>
                    </a:lnTo>
                    <a:lnTo>
                      <a:pt x="424355" y="164468"/>
                    </a:lnTo>
                    <a:lnTo>
                      <a:pt x="325964" y="241063"/>
                    </a:lnTo>
                    <a:lnTo>
                      <a:pt x="343805" y="312054"/>
                    </a:lnTo>
                    <a:lnTo>
                      <a:pt x="314432" y="372974"/>
                    </a:lnTo>
                    <a:lnTo>
                      <a:pt x="296906" y="379776"/>
                    </a:lnTo>
                    <a:lnTo>
                      <a:pt x="318088" y="397602"/>
                    </a:lnTo>
                    <a:lnTo>
                      <a:pt x="341223" y="379645"/>
                    </a:lnTo>
                    <a:lnTo>
                      <a:pt x="349364" y="401796"/>
                    </a:lnTo>
                    <a:lnTo>
                      <a:pt x="363952" y="394827"/>
                    </a:lnTo>
                    <a:lnTo>
                      <a:pt x="372110" y="408734"/>
                    </a:lnTo>
                    <a:lnTo>
                      <a:pt x="344866" y="445743"/>
                    </a:lnTo>
                    <a:lnTo>
                      <a:pt x="361393" y="477589"/>
                    </a:lnTo>
                    <a:lnTo>
                      <a:pt x="343183" y="478996"/>
                    </a:lnTo>
                    <a:lnTo>
                      <a:pt x="306797" y="539005"/>
                    </a:lnTo>
                    <a:lnTo>
                      <a:pt x="330068" y="557634"/>
                    </a:lnTo>
                    <a:lnTo>
                      <a:pt x="311661" y="600564"/>
                    </a:lnTo>
                    <a:lnTo>
                      <a:pt x="337227" y="634524"/>
                    </a:lnTo>
                    <a:lnTo>
                      <a:pt x="271529" y="712370"/>
                    </a:lnTo>
                    <a:lnTo>
                      <a:pt x="244022" y="719970"/>
                    </a:lnTo>
                    <a:lnTo>
                      <a:pt x="254218" y="679087"/>
                    </a:lnTo>
                    <a:lnTo>
                      <a:pt x="233105" y="680636"/>
                    </a:lnTo>
                    <a:lnTo>
                      <a:pt x="205288" y="653900"/>
                    </a:lnTo>
                    <a:lnTo>
                      <a:pt x="179928" y="667953"/>
                    </a:lnTo>
                    <a:lnTo>
                      <a:pt x="135106" y="631886"/>
                    </a:lnTo>
                    <a:lnTo>
                      <a:pt x="142436" y="615549"/>
                    </a:lnTo>
                    <a:lnTo>
                      <a:pt x="123143" y="590250"/>
                    </a:lnTo>
                    <a:lnTo>
                      <a:pt x="141850" y="562996"/>
                    </a:lnTo>
                    <a:lnTo>
                      <a:pt x="108488" y="525220"/>
                    </a:lnTo>
                    <a:lnTo>
                      <a:pt x="131019" y="516770"/>
                    </a:lnTo>
                    <a:lnTo>
                      <a:pt x="143785" y="489985"/>
                    </a:lnTo>
                    <a:lnTo>
                      <a:pt x="131602" y="495943"/>
                    </a:lnTo>
                    <a:lnTo>
                      <a:pt x="97923" y="466284"/>
                    </a:lnTo>
                    <a:lnTo>
                      <a:pt x="85390" y="402515"/>
                    </a:lnTo>
                    <a:lnTo>
                      <a:pt x="48010" y="358028"/>
                    </a:lnTo>
                    <a:lnTo>
                      <a:pt x="29152" y="359215"/>
                    </a:lnTo>
                    <a:lnTo>
                      <a:pt x="-351" y="284880"/>
                    </a:lnTo>
                    <a:lnTo>
                      <a:pt x="20715" y="250090"/>
                    </a:lnTo>
                    <a:lnTo>
                      <a:pt x="4351" y="223963"/>
                    </a:lnTo>
                    <a:lnTo>
                      <a:pt x="21620" y="173447"/>
                    </a:lnTo>
                    <a:lnTo>
                      <a:pt x="-666" y="157840"/>
                    </a:lnTo>
                    <a:lnTo>
                      <a:pt x="17711" y="141362"/>
                    </a:lnTo>
                    <a:lnTo>
                      <a:pt x="3041" y="108451"/>
                    </a:lnTo>
                    <a:lnTo>
                      <a:pt x="6408" y="57755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3" name="Республика Хакасия">
                <a:extLst>
                  <a:ext uri="{FF2B5EF4-FFF2-40B4-BE49-F238E27FC236}">
                    <a16:creationId xmlns:a16="http://schemas.microsoft.com/office/drawing/2014/main" id="{A438B914-496A-43B4-A4F6-C023D1158EDC}"/>
                  </a:ext>
                </a:extLst>
              </p:cNvPr>
              <p:cNvSpPr/>
              <p:nvPr/>
            </p:nvSpPr>
            <p:spPr>
              <a:xfrm>
                <a:off x="5476550" y="5152640"/>
                <a:ext cx="415382" cy="634752"/>
              </a:xfrm>
              <a:custGeom>
                <a:avLst/>
                <a:gdLst>
                  <a:gd name="connsiteX0" fmla="*/ 1883 w 415382"/>
                  <a:gd name="connsiteY0" fmla="*/ 549465 h 634752"/>
                  <a:gd name="connsiteX1" fmla="*/ 26385 w 415382"/>
                  <a:gd name="connsiteY1" fmla="*/ 511510 h 634752"/>
                  <a:gd name="connsiteX2" fmla="*/ 91227 w 415382"/>
                  <a:gd name="connsiteY2" fmla="*/ 490591 h 634752"/>
                  <a:gd name="connsiteX3" fmla="*/ 154941 w 415382"/>
                  <a:gd name="connsiteY3" fmla="*/ 414071 h 634752"/>
                  <a:gd name="connsiteX4" fmla="*/ 129280 w 415382"/>
                  <a:gd name="connsiteY4" fmla="*/ 380074 h 634752"/>
                  <a:gd name="connsiteX5" fmla="*/ 147903 w 415382"/>
                  <a:gd name="connsiteY5" fmla="*/ 337628 h 634752"/>
                  <a:gd name="connsiteX6" fmla="*/ 138983 w 415382"/>
                  <a:gd name="connsiteY6" fmla="*/ 318096 h 634752"/>
                  <a:gd name="connsiteX7" fmla="*/ 124187 w 415382"/>
                  <a:gd name="connsiteY7" fmla="*/ 320536 h 634752"/>
                  <a:gd name="connsiteX8" fmla="*/ 160171 w 415382"/>
                  <a:gd name="connsiteY8" fmla="*/ 259315 h 634752"/>
                  <a:gd name="connsiteX9" fmla="*/ 179107 w 415382"/>
                  <a:gd name="connsiteY9" fmla="*/ 257136 h 634752"/>
                  <a:gd name="connsiteX10" fmla="*/ 162580 w 415382"/>
                  <a:gd name="connsiteY10" fmla="*/ 225290 h 634752"/>
                  <a:gd name="connsiteX11" fmla="*/ 189824 w 415382"/>
                  <a:gd name="connsiteY11" fmla="*/ 188281 h 634752"/>
                  <a:gd name="connsiteX12" fmla="*/ 181666 w 415382"/>
                  <a:gd name="connsiteY12" fmla="*/ 174374 h 634752"/>
                  <a:gd name="connsiteX13" fmla="*/ 167078 w 415382"/>
                  <a:gd name="connsiteY13" fmla="*/ 181343 h 634752"/>
                  <a:gd name="connsiteX14" fmla="*/ 159496 w 415382"/>
                  <a:gd name="connsiteY14" fmla="*/ 159419 h 634752"/>
                  <a:gd name="connsiteX15" fmla="*/ 136271 w 415382"/>
                  <a:gd name="connsiteY15" fmla="*/ 177247 h 634752"/>
                  <a:gd name="connsiteX16" fmla="*/ 114521 w 415382"/>
                  <a:gd name="connsiteY16" fmla="*/ 157750 h 634752"/>
                  <a:gd name="connsiteX17" fmla="*/ 132102 w 415382"/>
                  <a:gd name="connsiteY17" fmla="*/ 152710 h 634752"/>
                  <a:gd name="connsiteX18" fmla="*/ 159531 w 415382"/>
                  <a:gd name="connsiteY18" fmla="*/ 100643 h 634752"/>
                  <a:gd name="connsiteX19" fmla="*/ 143125 w 415382"/>
                  <a:gd name="connsiteY19" fmla="*/ 24307 h 634752"/>
                  <a:gd name="connsiteX20" fmla="*/ 168250 w 415382"/>
                  <a:gd name="connsiteY20" fmla="*/ -157 h 634752"/>
                  <a:gd name="connsiteX21" fmla="*/ 195256 w 415382"/>
                  <a:gd name="connsiteY21" fmla="*/ 22215 h 634752"/>
                  <a:gd name="connsiteX22" fmla="*/ 194915 w 415382"/>
                  <a:gd name="connsiteY22" fmla="*/ 54287 h 634752"/>
                  <a:gd name="connsiteX23" fmla="*/ 211842 w 415382"/>
                  <a:gd name="connsiteY23" fmla="*/ 69227 h 634752"/>
                  <a:gd name="connsiteX24" fmla="*/ 239467 w 415382"/>
                  <a:gd name="connsiteY24" fmla="*/ 66211 h 634752"/>
                  <a:gd name="connsiteX25" fmla="*/ 244863 w 415382"/>
                  <a:gd name="connsiteY25" fmla="*/ 80757 h 634752"/>
                  <a:gd name="connsiteX26" fmla="*/ 296883 w 415382"/>
                  <a:gd name="connsiteY26" fmla="*/ 64197 h 634752"/>
                  <a:gd name="connsiteX27" fmla="*/ 319735 w 415382"/>
                  <a:gd name="connsiteY27" fmla="*/ 81955 h 634752"/>
                  <a:gd name="connsiteX28" fmla="*/ 317147 w 415382"/>
                  <a:gd name="connsiteY28" fmla="*/ 106206 h 634752"/>
                  <a:gd name="connsiteX29" fmla="*/ 354813 w 415382"/>
                  <a:gd name="connsiteY29" fmla="*/ 120077 h 634752"/>
                  <a:gd name="connsiteX30" fmla="*/ 348506 w 415382"/>
                  <a:gd name="connsiteY30" fmla="*/ 149826 h 634752"/>
                  <a:gd name="connsiteX31" fmla="*/ 376081 w 415382"/>
                  <a:gd name="connsiteY31" fmla="*/ 176459 h 634752"/>
                  <a:gd name="connsiteX32" fmla="*/ 396599 w 415382"/>
                  <a:gd name="connsiteY32" fmla="*/ 244873 h 634752"/>
                  <a:gd name="connsiteX33" fmla="*/ 378702 w 415382"/>
                  <a:gd name="connsiteY33" fmla="*/ 278676 h 634752"/>
                  <a:gd name="connsiteX34" fmla="*/ 386533 w 415382"/>
                  <a:gd name="connsiteY34" fmla="*/ 320610 h 634752"/>
                  <a:gd name="connsiteX35" fmla="*/ 414716 w 415382"/>
                  <a:gd name="connsiteY35" fmla="*/ 362754 h 634752"/>
                  <a:gd name="connsiteX36" fmla="*/ 394503 w 415382"/>
                  <a:gd name="connsiteY36" fmla="*/ 387354 h 634752"/>
                  <a:gd name="connsiteX37" fmla="*/ 367035 w 415382"/>
                  <a:gd name="connsiteY37" fmla="*/ 390642 h 634752"/>
                  <a:gd name="connsiteX38" fmla="*/ 364835 w 415382"/>
                  <a:gd name="connsiteY38" fmla="*/ 428253 h 634752"/>
                  <a:gd name="connsiteX39" fmla="*/ 340172 w 415382"/>
                  <a:gd name="connsiteY39" fmla="*/ 465153 h 634752"/>
                  <a:gd name="connsiteX40" fmla="*/ 303731 w 415382"/>
                  <a:gd name="connsiteY40" fmla="*/ 467293 h 634752"/>
                  <a:gd name="connsiteX41" fmla="*/ 260955 w 415382"/>
                  <a:gd name="connsiteY41" fmla="*/ 522109 h 634752"/>
                  <a:gd name="connsiteX42" fmla="*/ 225025 w 415382"/>
                  <a:gd name="connsiteY42" fmla="*/ 526745 h 634752"/>
                  <a:gd name="connsiteX43" fmla="*/ 208082 w 415382"/>
                  <a:gd name="connsiteY43" fmla="*/ 554083 h 634752"/>
                  <a:gd name="connsiteX44" fmla="*/ 215381 w 415382"/>
                  <a:gd name="connsiteY44" fmla="*/ 586888 h 634752"/>
                  <a:gd name="connsiteX45" fmla="*/ 195536 w 415382"/>
                  <a:gd name="connsiteY45" fmla="*/ 584460 h 634752"/>
                  <a:gd name="connsiteX46" fmla="*/ 165013 w 415382"/>
                  <a:gd name="connsiteY46" fmla="*/ 614309 h 634752"/>
                  <a:gd name="connsiteX47" fmla="*/ 145057 w 415382"/>
                  <a:gd name="connsiteY47" fmla="*/ 600404 h 634752"/>
                  <a:gd name="connsiteX48" fmla="*/ 125925 w 415382"/>
                  <a:gd name="connsiteY48" fmla="*/ 607755 h 634752"/>
                  <a:gd name="connsiteX49" fmla="*/ 129026 w 415382"/>
                  <a:gd name="connsiteY49" fmla="*/ 591016 h 634752"/>
                  <a:gd name="connsiteX50" fmla="*/ 116175 w 415382"/>
                  <a:gd name="connsiteY50" fmla="*/ 590687 h 634752"/>
                  <a:gd name="connsiteX51" fmla="*/ 69469 w 415382"/>
                  <a:gd name="connsiteY51" fmla="*/ 600747 h 634752"/>
                  <a:gd name="connsiteX52" fmla="*/ 69951 w 415382"/>
                  <a:gd name="connsiteY52" fmla="*/ 622521 h 634752"/>
                  <a:gd name="connsiteX53" fmla="*/ 40551 w 415382"/>
                  <a:gd name="connsiteY53" fmla="*/ 634596 h 634752"/>
                  <a:gd name="connsiteX54" fmla="*/ -666 w 415382"/>
                  <a:gd name="connsiteY54" fmla="*/ 597113 h 634752"/>
                  <a:gd name="connsiteX55" fmla="*/ 22323 w 415382"/>
                  <a:gd name="connsiteY55" fmla="*/ 559746 h 634752"/>
                  <a:gd name="connsiteX56" fmla="*/ 1875 w 415382"/>
                  <a:gd name="connsiteY56" fmla="*/ 549464 h 634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415382" h="634752">
                    <a:moveTo>
                      <a:pt x="1883" y="549465"/>
                    </a:moveTo>
                    <a:lnTo>
                      <a:pt x="26385" y="511510"/>
                    </a:lnTo>
                    <a:lnTo>
                      <a:pt x="91227" y="490591"/>
                    </a:lnTo>
                    <a:lnTo>
                      <a:pt x="154941" y="414071"/>
                    </a:lnTo>
                    <a:lnTo>
                      <a:pt x="129280" y="380074"/>
                    </a:lnTo>
                    <a:lnTo>
                      <a:pt x="147903" y="337628"/>
                    </a:lnTo>
                    <a:lnTo>
                      <a:pt x="138983" y="318096"/>
                    </a:lnTo>
                    <a:lnTo>
                      <a:pt x="124187" y="320536"/>
                    </a:lnTo>
                    <a:lnTo>
                      <a:pt x="160171" y="259315"/>
                    </a:lnTo>
                    <a:lnTo>
                      <a:pt x="179107" y="257136"/>
                    </a:lnTo>
                    <a:lnTo>
                      <a:pt x="162580" y="225290"/>
                    </a:lnTo>
                    <a:lnTo>
                      <a:pt x="189824" y="188281"/>
                    </a:lnTo>
                    <a:lnTo>
                      <a:pt x="181666" y="174374"/>
                    </a:lnTo>
                    <a:lnTo>
                      <a:pt x="167078" y="181343"/>
                    </a:lnTo>
                    <a:lnTo>
                      <a:pt x="159496" y="159419"/>
                    </a:lnTo>
                    <a:lnTo>
                      <a:pt x="136271" y="177247"/>
                    </a:lnTo>
                    <a:lnTo>
                      <a:pt x="114521" y="157750"/>
                    </a:lnTo>
                    <a:lnTo>
                      <a:pt x="132102" y="152710"/>
                    </a:lnTo>
                    <a:lnTo>
                      <a:pt x="159531" y="100643"/>
                    </a:lnTo>
                    <a:lnTo>
                      <a:pt x="143125" y="24307"/>
                    </a:lnTo>
                    <a:lnTo>
                      <a:pt x="168250" y="-157"/>
                    </a:lnTo>
                    <a:lnTo>
                      <a:pt x="195256" y="22215"/>
                    </a:lnTo>
                    <a:lnTo>
                      <a:pt x="194915" y="54287"/>
                    </a:lnTo>
                    <a:lnTo>
                      <a:pt x="211842" y="69227"/>
                    </a:lnTo>
                    <a:lnTo>
                      <a:pt x="239467" y="66211"/>
                    </a:lnTo>
                    <a:lnTo>
                      <a:pt x="244863" y="80757"/>
                    </a:lnTo>
                    <a:lnTo>
                      <a:pt x="296883" y="64197"/>
                    </a:lnTo>
                    <a:lnTo>
                      <a:pt x="319735" y="81955"/>
                    </a:lnTo>
                    <a:lnTo>
                      <a:pt x="317147" y="106206"/>
                    </a:lnTo>
                    <a:lnTo>
                      <a:pt x="354813" y="120077"/>
                    </a:lnTo>
                    <a:lnTo>
                      <a:pt x="348506" y="149826"/>
                    </a:lnTo>
                    <a:lnTo>
                      <a:pt x="376081" y="176459"/>
                    </a:lnTo>
                    <a:lnTo>
                      <a:pt x="396599" y="244873"/>
                    </a:lnTo>
                    <a:lnTo>
                      <a:pt x="378702" y="278676"/>
                    </a:lnTo>
                    <a:lnTo>
                      <a:pt x="386533" y="320610"/>
                    </a:lnTo>
                    <a:lnTo>
                      <a:pt x="414716" y="362754"/>
                    </a:lnTo>
                    <a:lnTo>
                      <a:pt x="394503" y="387354"/>
                    </a:lnTo>
                    <a:lnTo>
                      <a:pt x="367035" y="390642"/>
                    </a:lnTo>
                    <a:lnTo>
                      <a:pt x="364835" y="428253"/>
                    </a:lnTo>
                    <a:lnTo>
                      <a:pt x="340172" y="465153"/>
                    </a:lnTo>
                    <a:lnTo>
                      <a:pt x="303731" y="467293"/>
                    </a:lnTo>
                    <a:lnTo>
                      <a:pt x="260955" y="522109"/>
                    </a:lnTo>
                    <a:lnTo>
                      <a:pt x="225025" y="526745"/>
                    </a:lnTo>
                    <a:lnTo>
                      <a:pt x="208082" y="554083"/>
                    </a:lnTo>
                    <a:lnTo>
                      <a:pt x="215381" y="586888"/>
                    </a:lnTo>
                    <a:lnTo>
                      <a:pt x="195536" y="584460"/>
                    </a:lnTo>
                    <a:lnTo>
                      <a:pt x="165013" y="614309"/>
                    </a:lnTo>
                    <a:lnTo>
                      <a:pt x="145057" y="600404"/>
                    </a:lnTo>
                    <a:lnTo>
                      <a:pt x="125925" y="607755"/>
                    </a:lnTo>
                    <a:lnTo>
                      <a:pt x="129026" y="591016"/>
                    </a:lnTo>
                    <a:lnTo>
                      <a:pt x="116175" y="590687"/>
                    </a:lnTo>
                    <a:lnTo>
                      <a:pt x="69469" y="600747"/>
                    </a:lnTo>
                    <a:lnTo>
                      <a:pt x="69951" y="622521"/>
                    </a:lnTo>
                    <a:lnTo>
                      <a:pt x="40551" y="634596"/>
                    </a:lnTo>
                    <a:lnTo>
                      <a:pt x="-666" y="597113"/>
                    </a:lnTo>
                    <a:lnTo>
                      <a:pt x="22323" y="559746"/>
                    </a:lnTo>
                    <a:lnTo>
                      <a:pt x="1875" y="549464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4" name="Республика тыва">
                <a:extLst>
                  <a:ext uri="{FF2B5EF4-FFF2-40B4-BE49-F238E27FC236}">
                    <a16:creationId xmlns:a16="http://schemas.microsoft.com/office/drawing/2014/main" id="{6F71CF76-07DE-474F-9D03-F7E8E30CA40E}"/>
                  </a:ext>
                </a:extLst>
              </p:cNvPr>
              <p:cNvSpPr/>
              <p:nvPr/>
            </p:nvSpPr>
            <p:spPr>
              <a:xfrm>
                <a:off x="5559654" y="5493152"/>
                <a:ext cx="1011536" cy="620822"/>
              </a:xfrm>
              <a:custGeom>
                <a:avLst/>
                <a:gdLst>
                  <a:gd name="connsiteX0" fmla="*/ -666 w 1011536"/>
                  <a:gd name="connsiteY0" fmla="*/ 258706 h 620822"/>
                  <a:gd name="connsiteX1" fmla="*/ 41791 w 1011536"/>
                  <a:gd name="connsiteY1" fmla="*/ 248920 h 620822"/>
                  <a:gd name="connsiteX2" fmla="*/ 43004 w 1011536"/>
                  <a:gd name="connsiteY2" fmla="*/ 267291 h 620822"/>
                  <a:gd name="connsiteX3" fmla="*/ 59704 w 1011536"/>
                  <a:gd name="connsiteY3" fmla="*/ 259547 h 620822"/>
                  <a:gd name="connsiteX4" fmla="*/ 82051 w 1011536"/>
                  <a:gd name="connsiteY4" fmla="*/ 273734 h 620822"/>
                  <a:gd name="connsiteX5" fmla="*/ 112224 w 1011536"/>
                  <a:gd name="connsiteY5" fmla="*/ 244169 h 620822"/>
                  <a:gd name="connsiteX6" fmla="*/ 132349 w 1011536"/>
                  <a:gd name="connsiteY6" fmla="*/ 246288 h 620822"/>
                  <a:gd name="connsiteX7" fmla="*/ 125298 w 1011536"/>
                  <a:gd name="connsiteY7" fmla="*/ 212683 h 620822"/>
                  <a:gd name="connsiteX8" fmla="*/ 163468 w 1011536"/>
                  <a:gd name="connsiteY8" fmla="*/ 180925 h 620822"/>
                  <a:gd name="connsiteX9" fmla="*/ 197516 w 1011536"/>
                  <a:gd name="connsiteY9" fmla="*/ 206490 h 620822"/>
                  <a:gd name="connsiteX10" fmla="*/ 203313 w 1011536"/>
                  <a:gd name="connsiteY10" fmla="*/ 233970 h 620822"/>
                  <a:gd name="connsiteX11" fmla="*/ 294003 w 1011536"/>
                  <a:gd name="connsiteY11" fmla="*/ 247427 h 620822"/>
                  <a:gd name="connsiteX12" fmla="*/ 317872 w 1011536"/>
                  <a:gd name="connsiteY12" fmla="*/ 267992 h 620822"/>
                  <a:gd name="connsiteX13" fmla="*/ 395226 w 1011536"/>
                  <a:gd name="connsiteY13" fmla="*/ 266471 h 620822"/>
                  <a:gd name="connsiteX14" fmla="*/ 477339 w 1011536"/>
                  <a:gd name="connsiteY14" fmla="*/ 215453 h 620822"/>
                  <a:gd name="connsiteX15" fmla="*/ 529528 w 1011536"/>
                  <a:gd name="connsiteY15" fmla="*/ 123189 h 620822"/>
                  <a:gd name="connsiteX16" fmla="*/ 566430 w 1011536"/>
                  <a:gd name="connsiteY16" fmla="*/ 113852 h 620822"/>
                  <a:gd name="connsiteX17" fmla="*/ 588039 w 1011536"/>
                  <a:gd name="connsiteY17" fmla="*/ 64383 h 620822"/>
                  <a:gd name="connsiteX18" fmla="*/ 580101 w 1011536"/>
                  <a:gd name="connsiteY18" fmla="*/ 49086 h 620822"/>
                  <a:gd name="connsiteX19" fmla="*/ 637057 w 1011536"/>
                  <a:gd name="connsiteY19" fmla="*/ 31620 h 620822"/>
                  <a:gd name="connsiteX20" fmla="*/ 653260 w 1011536"/>
                  <a:gd name="connsiteY20" fmla="*/ 48910 h 620822"/>
                  <a:gd name="connsiteX21" fmla="*/ 685035 w 1011536"/>
                  <a:gd name="connsiteY21" fmla="*/ 26001 h 620822"/>
                  <a:gd name="connsiteX22" fmla="*/ 719272 w 1011536"/>
                  <a:gd name="connsiteY22" fmla="*/ 39471 h 620822"/>
                  <a:gd name="connsiteX23" fmla="*/ 732715 w 1011536"/>
                  <a:gd name="connsiteY23" fmla="*/ 14132 h 620822"/>
                  <a:gd name="connsiteX24" fmla="*/ 750922 w 1011536"/>
                  <a:gd name="connsiteY24" fmla="*/ 31686 h 620822"/>
                  <a:gd name="connsiteX25" fmla="*/ 770746 w 1011536"/>
                  <a:gd name="connsiteY25" fmla="*/ 24582 h 620822"/>
                  <a:gd name="connsiteX26" fmla="*/ 779380 w 1011536"/>
                  <a:gd name="connsiteY26" fmla="*/ -157 h 620822"/>
                  <a:gd name="connsiteX27" fmla="*/ 832691 w 1011536"/>
                  <a:gd name="connsiteY27" fmla="*/ 23427 h 620822"/>
                  <a:gd name="connsiteX28" fmla="*/ 856465 w 1011536"/>
                  <a:gd name="connsiteY28" fmla="*/ 58318 h 620822"/>
                  <a:gd name="connsiteX29" fmla="*/ 920375 w 1011536"/>
                  <a:gd name="connsiteY29" fmla="*/ 82515 h 620822"/>
                  <a:gd name="connsiteX30" fmla="*/ 920502 w 1011536"/>
                  <a:gd name="connsiteY30" fmla="*/ 102849 h 620822"/>
                  <a:gd name="connsiteX31" fmla="*/ 978027 w 1011536"/>
                  <a:gd name="connsiteY31" fmla="*/ 94893 h 620822"/>
                  <a:gd name="connsiteX32" fmla="*/ 1010871 w 1011536"/>
                  <a:gd name="connsiteY32" fmla="*/ 130192 h 620822"/>
                  <a:gd name="connsiteX33" fmla="*/ 975137 w 1011536"/>
                  <a:gd name="connsiteY33" fmla="*/ 135201 h 620822"/>
                  <a:gd name="connsiteX34" fmla="*/ 981141 w 1011536"/>
                  <a:gd name="connsiteY34" fmla="*/ 163474 h 620822"/>
                  <a:gd name="connsiteX35" fmla="*/ 949303 w 1011536"/>
                  <a:gd name="connsiteY35" fmla="*/ 208605 h 620822"/>
                  <a:gd name="connsiteX36" fmla="*/ 950360 w 1011536"/>
                  <a:gd name="connsiteY36" fmla="*/ 231128 h 620822"/>
                  <a:gd name="connsiteX37" fmla="*/ 982344 w 1011536"/>
                  <a:gd name="connsiteY37" fmla="*/ 250096 h 620822"/>
                  <a:gd name="connsiteX38" fmla="*/ 960231 w 1011536"/>
                  <a:gd name="connsiteY38" fmla="*/ 294957 h 620822"/>
                  <a:gd name="connsiteX39" fmla="*/ 920334 w 1011536"/>
                  <a:gd name="connsiteY39" fmla="*/ 315712 h 620822"/>
                  <a:gd name="connsiteX40" fmla="*/ 906737 w 1011536"/>
                  <a:gd name="connsiteY40" fmla="*/ 358223 h 620822"/>
                  <a:gd name="connsiteX41" fmla="*/ 889847 w 1011536"/>
                  <a:gd name="connsiteY41" fmla="*/ 358786 h 620822"/>
                  <a:gd name="connsiteX42" fmla="*/ 866689 w 1011536"/>
                  <a:gd name="connsiteY42" fmla="*/ 423751 h 620822"/>
                  <a:gd name="connsiteX43" fmla="*/ 885404 w 1011536"/>
                  <a:gd name="connsiteY43" fmla="*/ 450531 h 620822"/>
                  <a:gd name="connsiteX44" fmla="*/ 882306 w 1011536"/>
                  <a:gd name="connsiteY44" fmla="*/ 480349 h 620822"/>
                  <a:gd name="connsiteX45" fmla="*/ 913588 w 1011536"/>
                  <a:gd name="connsiteY45" fmla="*/ 507844 h 620822"/>
                  <a:gd name="connsiteX46" fmla="*/ 910532 w 1011536"/>
                  <a:gd name="connsiteY46" fmla="*/ 534586 h 620822"/>
                  <a:gd name="connsiteX47" fmla="*/ 866821 w 1011536"/>
                  <a:gd name="connsiteY47" fmla="*/ 596171 h 620822"/>
                  <a:gd name="connsiteX48" fmla="*/ 854716 w 1011536"/>
                  <a:gd name="connsiteY48" fmla="*/ 583787 h 620822"/>
                  <a:gd name="connsiteX49" fmla="*/ 809274 w 1011536"/>
                  <a:gd name="connsiteY49" fmla="*/ 620666 h 620822"/>
                  <a:gd name="connsiteX50" fmla="*/ 775670 w 1011536"/>
                  <a:gd name="connsiteY50" fmla="*/ 597258 h 620822"/>
                  <a:gd name="connsiteX51" fmla="*/ 730140 w 1011536"/>
                  <a:gd name="connsiteY51" fmla="*/ 587421 h 620822"/>
                  <a:gd name="connsiteX52" fmla="*/ 719203 w 1011536"/>
                  <a:gd name="connsiteY52" fmla="*/ 598026 h 620822"/>
                  <a:gd name="connsiteX53" fmla="*/ 664061 w 1011536"/>
                  <a:gd name="connsiteY53" fmla="*/ 567976 h 620822"/>
                  <a:gd name="connsiteX54" fmla="*/ 629826 w 1011536"/>
                  <a:gd name="connsiteY54" fmla="*/ 589383 h 620822"/>
                  <a:gd name="connsiteX55" fmla="*/ 576690 w 1011536"/>
                  <a:gd name="connsiteY55" fmla="*/ 561639 h 620822"/>
                  <a:gd name="connsiteX56" fmla="*/ 539559 w 1011536"/>
                  <a:gd name="connsiteY56" fmla="*/ 560904 h 620822"/>
                  <a:gd name="connsiteX57" fmla="*/ 520011 w 1011536"/>
                  <a:gd name="connsiteY57" fmla="*/ 530787 h 620822"/>
                  <a:gd name="connsiteX58" fmla="*/ 513779 w 1011536"/>
                  <a:gd name="connsiteY58" fmla="*/ 475003 h 620822"/>
                  <a:gd name="connsiteX59" fmla="*/ 400389 w 1011536"/>
                  <a:gd name="connsiteY59" fmla="*/ 463014 h 620822"/>
                  <a:gd name="connsiteX60" fmla="*/ 385059 w 1011536"/>
                  <a:gd name="connsiteY60" fmla="*/ 449378 h 620822"/>
                  <a:gd name="connsiteX61" fmla="*/ 391958 w 1011536"/>
                  <a:gd name="connsiteY61" fmla="*/ 429504 h 620822"/>
                  <a:gd name="connsiteX62" fmla="*/ 355046 w 1011536"/>
                  <a:gd name="connsiteY62" fmla="*/ 439451 h 620822"/>
                  <a:gd name="connsiteX63" fmla="*/ 329815 w 1011536"/>
                  <a:gd name="connsiteY63" fmla="*/ 408586 h 620822"/>
                  <a:gd name="connsiteX64" fmla="*/ 318588 w 1011536"/>
                  <a:gd name="connsiteY64" fmla="*/ 430995 h 620822"/>
                  <a:gd name="connsiteX65" fmla="*/ 271686 w 1011536"/>
                  <a:gd name="connsiteY65" fmla="*/ 427250 h 620822"/>
                  <a:gd name="connsiteX66" fmla="*/ 228979 w 1011536"/>
                  <a:gd name="connsiteY66" fmla="*/ 465025 h 620822"/>
                  <a:gd name="connsiteX67" fmla="*/ 180255 w 1011536"/>
                  <a:gd name="connsiteY67" fmla="*/ 463889 h 620822"/>
                  <a:gd name="connsiteX68" fmla="*/ 151678 w 1011536"/>
                  <a:gd name="connsiteY68" fmla="*/ 492215 h 620822"/>
                  <a:gd name="connsiteX69" fmla="*/ 37883 w 1011536"/>
                  <a:gd name="connsiteY69" fmla="*/ 523803 h 620822"/>
                  <a:gd name="connsiteX70" fmla="*/ 37330 w 1011536"/>
                  <a:gd name="connsiteY70" fmla="*/ 479489 h 620822"/>
                  <a:gd name="connsiteX71" fmla="*/ 16832 w 1011536"/>
                  <a:gd name="connsiteY71" fmla="*/ 473812 h 620822"/>
                  <a:gd name="connsiteX72" fmla="*/ 41865 w 1011536"/>
                  <a:gd name="connsiteY72" fmla="*/ 437919 h 620822"/>
                  <a:gd name="connsiteX73" fmla="*/ 54731 w 1011536"/>
                  <a:gd name="connsiteY73" fmla="*/ 454043 h 620822"/>
                  <a:gd name="connsiteX74" fmla="*/ 77508 w 1011536"/>
                  <a:gd name="connsiteY74" fmla="*/ 432955 h 620822"/>
                  <a:gd name="connsiteX75" fmla="*/ 12142 w 1011536"/>
                  <a:gd name="connsiteY75" fmla="*/ 340708 h 620822"/>
                  <a:gd name="connsiteX76" fmla="*/ 16216 w 1011536"/>
                  <a:gd name="connsiteY76" fmla="*/ 286578 h 620822"/>
                  <a:gd name="connsiteX77" fmla="*/ -658 w 1011536"/>
                  <a:gd name="connsiteY77" fmla="*/ 258705 h 620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011536" h="620822">
                    <a:moveTo>
                      <a:pt x="-666" y="258706"/>
                    </a:moveTo>
                    <a:lnTo>
                      <a:pt x="41791" y="248920"/>
                    </a:lnTo>
                    <a:lnTo>
                      <a:pt x="43004" y="267291"/>
                    </a:lnTo>
                    <a:lnTo>
                      <a:pt x="59704" y="259547"/>
                    </a:lnTo>
                    <a:lnTo>
                      <a:pt x="82051" y="273734"/>
                    </a:lnTo>
                    <a:lnTo>
                      <a:pt x="112224" y="244169"/>
                    </a:lnTo>
                    <a:lnTo>
                      <a:pt x="132349" y="246288"/>
                    </a:lnTo>
                    <a:lnTo>
                      <a:pt x="125298" y="212683"/>
                    </a:lnTo>
                    <a:lnTo>
                      <a:pt x="163468" y="180925"/>
                    </a:lnTo>
                    <a:lnTo>
                      <a:pt x="197516" y="206490"/>
                    </a:lnTo>
                    <a:lnTo>
                      <a:pt x="203313" y="233970"/>
                    </a:lnTo>
                    <a:lnTo>
                      <a:pt x="294003" y="247427"/>
                    </a:lnTo>
                    <a:lnTo>
                      <a:pt x="317872" y="267992"/>
                    </a:lnTo>
                    <a:lnTo>
                      <a:pt x="395226" y="266471"/>
                    </a:lnTo>
                    <a:lnTo>
                      <a:pt x="477339" y="215453"/>
                    </a:lnTo>
                    <a:lnTo>
                      <a:pt x="529528" y="123189"/>
                    </a:lnTo>
                    <a:lnTo>
                      <a:pt x="566430" y="113852"/>
                    </a:lnTo>
                    <a:lnTo>
                      <a:pt x="588039" y="64383"/>
                    </a:lnTo>
                    <a:lnTo>
                      <a:pt x="580101" y="49086"/>
                    </a:lnTo>
                    <a:lnTo>
                      <a:pt x="637057" y="31620"/>
                    </a:lnTo>
                    <a:lnTo>
                      <a:pt x="653260" y="48910"/>
                    </a:lnTo>
                    <a:lnTo>
                      <a:pt x="685035" y="26001"/>
                    </a:lnTo>
                    <a:lnTo>
                      <a:pt x="719272" y="39471"/>
                    </a:lnTo>
                    <a:lnTo>
                      <a:pt x="732715" y="14132"/>
                    </a:lnTo>
                    <a:lnTo>
                      <a:pt x="750922" y="31686"/>
                    </a:lnTo>
                    <a:lnTo>
                      <a:pt x="770746" y="24582"/>
                    </a:lnTo>
                    <a:lnTo>
                      <a:pt x="779380" y="-157"/>
                    </a:lnTo>
                    <a:lnTo>
                      <a:pt x="832691" y="23427"/>
                    </a:lnTo>
                    <a:lnTo>
                      <a:pt x="856465" y="58318"/>
                    </a:lnTo>
                    <a:lnTo>
                      <a:pt x="920375" y="82515"/>
                    </a:lnTo>
                    <a:lnTo>
                      <a:pt x="920502" y="102849"/>
                    </a:lnTo>
                    <a:lnTo>
                      <a:pt x="978027" y="94893"/>
                    </a:lnTo>
                    <a:lnTo>
                      <a:pt x="1010871" y="130192"/>
                    </a:lnTo>
                    <a:lnTo>
                      <a:pt x="975137" y="135201"/>
                    </a:lnTo>
                    <a:lnTo>
                      <a:pt x="981141" y="163474"/>
                    </a:lnTo>
                    <a:lnTo>
                      <a:pt x="949303" y="208605"/>
                    </a:lnTo>
                    <a:lnTo>
                      <a:pt x="950360" y="231128"/>
                    </a:lnTo>
                    <a:lnTo>
                      <a:pt x="982344" y="250096"/>
                    </a:lnTo>
                    <a:lnTo>
                      <a:pt x="960231" y="294957"/>
                    </a:lnTo>
                    <a:lnTo>
                      <a:pt x="920334" y="315712"/>
                    </a:lnTo>
                    <a:lnTo>
                      <a:pt x="906737" y="358223"/>
                    </a:lnTo>
                    <a:lnTo>
                      <a:pt x="889847" y="358786"/>
                    </a:lnTo>
                    <a:lnTo>
                      <a:pt x="866689" y="423751"/>
                    </a:lnTo>
                    <a:lnTo>
                      <a:pt x="885404" y="450531"/>
                    </a:lnTo>
                    <a:lnTo>
                      <a:pt x="882306" y="480349"/>
                    </a:lnTo>
                    <a:lnTo>
                      <a:pt x="913588" y="507844"/>
                    </a:lnTo>
                    <a:lnTo>
                      <a:pt x="910532" y="534586"/>
                    </a:lnTo>
                    <a:lnTo>
                      <a:pt x="866821" y="596171"/>
                    </a:lnTo>
                    <a:lnTo>
                      <a:pt x="854716" y="583787"/>
                    </a:lnTo>
                    <a:lnTo>
                      <a:pt x="809274" y="620666"/>
                    </a:lnTo>
                    <a:lnTo>
                      <a:pt x="775670" y="597258"/>
                    </a:lnTo>
                    <a:lnTo>
                      <a:pt x="730140" y="587421"/>
                    </a:lnTo>
                    <a:lnTo>
                      <a:pt x="719203" y="598026"/>
                    </a:lnTo>
                    <a:lnTo>
                      <a:pt x="664061" y="567976"/>
                    </a:lnTo>
                    <a:lnTo>
                      <a:pt x="629826" y="589383"/>
                    </a:lnTo>
                    <a:lnTo>
                      <a:pt x="576690" y="561639"/>
                    </a:lnTo>
                    <a:lnTo>
                      <a:pt x="539559" y="560904"/>
                    </a:lnTo>
                    <a:lnTo>
                      <a:pt x="520011" y="530787"/>
                    </a:lnTo>
                    <a:lnTo>
                      <a:pt x="513779" y="475003"/>
                    </a:lnTo>
                    <a:lnTo>
                      <a:pt x="400389" y="463014"/>
                    </a:lnTo>
                    <a:lnTo>
                      <a:pt x="385059" y="449378"/>
                    </a:lnTo>
                    <a:lnTo>
                      <a:pt x="391958" y="429504"/>
                    </a:lnTo>
                    <a:lnTo>
                      <a:pt x="355046" y="439451"/>
                    </a:lnTo>
                    <a:lnTo>
                      <a:pt x="329815" y="408586"/>
                    </a:lnTo>
                    <a:lnTo>
                      <a:pt x="318588" y="430995"/>
                    </a:lnTo>
                    <a:lnTo>
                      <a:pt x="271686" y="427250"/>
                    </a:lnTo>
                    <a:lnTo>
                      <a:pt x="228979" y="465025"/>
                    </a:lnTo>
                    <a:lnTo>
                      <a:pt x="180255" y="463889"/>
                    </a:lnTo>
                    <a:lnTo>
                      <a:pt x="151678" y="492215"/>
                    </a:lnTo>
                    <a:lnTo>
                      <a:pt x="37883" y="523803"/>
                    </a:lnTo>
                    <a:lnTo>
                      <a:pt x="37330" y="479489"/>
                    </a:lnTo>
                    <a:lnTo>
                      <a:pt x="16832" y="473812"/>
                    </a:lnTo>
                    <a:lnTo>
                      <a:pt x="41865" y="437919"/>
                    </a:lnTo>
                    <a:lnTo>
                      <a:pt x="54731" y="454043"/>
                    </a:lnTo>
                    <a:lnTo>
                      <a:pt x="77508" y="432955"/>
                    </a:lnTo>
                    <a:lnTo>
                      <a:pt x="12142" y="340708"/>
                    </a:lnTo>
                    <a:lnTo>
                      <a:pt x="16216" y="286578"/>
                    </a:lnTo>
                    <a:lnTo>
                      <a:pt x="-658" y="258705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5" name="Иркутская область">
                <a:extLst>
                  <a:ext uri="{FF2B5EF4-FFF2-40B4-BE49-F238E27FC236}">
                    <a16:creationId xmlns:a16="http://schemas.microsoft.com/office/drawing/2014/main" id="{BD249739-7406-481B-9D1F-DA9DC3695156}"/>
                  </a:ext>
                </a:extLst>
              </p:cNvPr>
              <p:cNvSpPr/>
              <p:nvPr/>
            </p:nvSpPr>
            <p:spPr>
              <a:xfrm>
                <a:off x="6244983" y="3814020"/>
                <a:ext cx="1939496" cy="2080458"/>
              </a:xfrm>
              <a:custGeom>
                <a:avLst/>
                <a:gdLst>
                  <a:gd name="connsiteX0" fmla="*/ -666 w 1939496"/>
                  <a:gd name="connsiteY0" fmla="*/ 1584460 h 2080458"/>
                  <a:gd name="connsiteX1" fmla="*/ 39217 w 1939496"/>
                  <a:gd name="connsiteY1" fmla="*/ 1543852 h 2080458"/>
                  <a:gd name="connsiteX2" fmla="*/ 81667 w 1939496"/>
                  <a:gd name="connsiteY2" fmla="*/ 1553000 h 2080458"/>
                  <a:gd name="connsiteX3" fmla="*/ 99729 w 1939496"/>
                  <a:gd name="connsiteY3" fmla="*/ 1501357 h 2080458"/>
                  <a:gd name="connsiteX4" fmla="*/ 97908 w 1939496"/>
                  <a:gd name="connsiteY4" fmla="*/ 1442581 h 2080458"/>
                  <a:gd name="connsiteX5" fmla="*/ 123684 w 1939496"/>
                  <a:gd name="connsiteY5" fmla="*/ 1431955 h 2080458"/>
                  <a:gd name="connsiteX6" fmla="*/ 113213 w 1939496"/>
                  <a:gd name="connsiteY6" fmla="*/ 1357601 h 2080458"/>
                  <a:gd name="connsiteX7" fmla="*/ 131296 w 1939496"/>
                  <a:gd name="connsiteY7" fmla="*/ 1348690 h 2080458"/>
                  <a:gd name="connsiteX8" fmla="*/ 145296 w 1939496"/>
                  <a:gd name="connsiteY8" fmla="*/ 1308793 h 2080458"/>
                  <a:gd name="connsiteX9" fmla="*/ 164511 w 1939496"/>
                  <a:gd name="connsiteY9" fmla="*/ 1322099 h 2080458"/>
                  <a:gd name="connsiteX10" fmla="*/ 183962 w 1939496"/>
                  <a:gd name="connsiteY10" fmla="*/ 1298591 h 2080458"/>
                  <a:gd name="connsiteX11" fmla="*/ 183503 w 1939496"/>
                  <a:gd name="connsiteY11" fmla="*/ 1269102 h 2080458"/>
                  <a:gd name="connsiteX12" fmla="*/ 211258 w 1939496"/>
                  <a:gd name="connsiteY12" fmla="*/ 1270152 h 2080458"/>
                  <a:gd name="connsiteX13" fmla="*/ 206287 w 1939496"/>
                  <a:gd name="connsiteY13" fmla="*/ 1206432 h 2080458"/>
                  <a:gd name="connsiteX14" fmla="*/ 178536 w 1939496"/>
                  <a:gd name="connsiteY14" fmla="*/ 1198252 h 2080458"/>
                  <a:gd name="connsiteX15" fmla="*/ 196525 w 1939496"/>
                  <a:gd name="connsiteY15" fmla="*/ 1176521 h 2080458"/>
                  <a:gd name="connsiteX16" fmla="*/ 169014 w 1939496"/>
                  <a:gd name="connsiteY16" fmla="*/ 1166385 h 2080458"/>
                  <a:gd name="connsiteX17" fmla="*/ 224221 w 1939496"/>
                  <a:gd name="connsiteY17" fmla="*/ 1043860 h 2080458"/>
                  <a:gd name="connsiteX18" fmla="*/ 308788 w 1939496"/>
                  <a:gd name="connsiteY18" fmla="*/ 1063065 h 2080458"/>
                  <a:gd name="connsiteX19" fmla="*/ 346612 w 1939496"/>
                  <a:gd name="connsiteY19" fmla="*/ 1052353 h 2080458"/>
                  <a:gd name="connsiteX20" fmla="*/ 367384 w 1939496"/>
                  <a:gd name="connsiteY20" fmla="*/ 1006745 h 2080458"/>
                  <a:gd name="connsiteX21" fmla="*/ 399496 w 1939496"/>
                  <a:gd name="connsiteY21" fmla="*/ 1008152 h 2080458"/>
                  <a:gd name="connsiteX22" fmla="*/ 427173 w 1939496"/>
                  <a:gd name="connsiteY22" fmla="*/ 1089301 h 2080458"/>
                  <a:gd name="connsiteX23" fmla="*/ 456902 w 1939496"/>
                  <a:gd name="connsiteY23" fmla="*/ 1112745 h 2080458"/>
                  <a:gd name="connsiteX24" fmla="*/ 470939 w 1939496"/>
                  <a:gd name="connsiteY24" fmla="*/ 1105712 h 2080458"/>
                  <a:gd name="connsiteX25" fmla="*/ 461281 w 1939496"/>
                  <a:gd name="connsiteY25" fmla="*/ 1038655 h 2080458"/>
                  <a:gd name="connsiteX26" fmla="*/ 478042 w 1939496"/>
                  <a:gd name="connsiteY26" fmla="*/ 1037702 h 2080458"/>
                  <a:gd name="connsiteX27" fmla="*/ 484452 w 1939496"/>
                  <a:gd name="connsiteY27" fmla="*/ 1003165 h 2080458"/>
                  <a:gd name="connsiteX28" fmla="*/ 597038 w 1939496"/>
                  <a:gd name="connsiteY28" fmla="*/ 905692 h 2080458"/>
                  <a:gd name="connsiteX29" fmla="*/ 587125 w 1939496"/>
                  <a:gd name="connsiteY29" fmla="*/ 838011 h 2080458"/>
                  <a:gd name="connsiteX30" fmla="*/ 633289 w 1939496"/>
                  <a:gd name="connsiteY30" fmla="*/ 809039 h 2080458"/>
                  <a:gd name="connsiteX31" fmla="*/ 660196 w 1939496"/>
                  <a:gd name="connsiteY31" fmla="*/ 815932 h 2080458"/>
                  <a:gd name="connsiteX32" fmla="*/ 651797 w 1939496"/>
                  <a:gd name="connsiteY32" fmla="*/ 830883 h 2080458"/>
                  <a:gd name="connsiteX33" fmla="*/ 684663 w 1939496"/>
                  <a:gd name="connsiteY33" fmla="*/ 868286 h 2080458"/>
                  <a:gd name="connsiteX34" fmla="*/ 710562 w 1939496"/>
                  <a:gd name="connsiteY34" fmla="*/ 870041 h 2080458"/>
                  <a:gd name="connsiteX35" fmla="*/ 707302 w 1939496"/>
                  <a:gd name="connsiteY35" fmla="*/ 895869 h 2080458"/>
                  <a:gd name="connsiteX36" fmla="*/ 732589 w 1939496"/>
                  <a:gd name="connsiteY36" fmla="*/ 887107 h 2080458"/>
                  <a:gd name="connsiteX37" fmla="*/ 755288 w 1939496"/>
                  <a:gd name="connsiteY37" fmla="*/ 913266 h 2080458"/>
                  <a:gd name="connsiteX38" fmla="*/ 782520 w 1939496"/>
                  <a:gd name="connsiteY38" fmla="*/ 900729 h 2080458"/>
                  <a:gd name="connsiteX39" fmla="*/ 778664 w 1939496"/>
                  <a:gd name="connsiteY39" fmla="*/ 871282 h 2080458"/>
                  <a:gd name="connsiteX40" fmla="*/ 821995 w 1939496"/>
                  <a:gd name="connsiteY40" fmla="*/ 828998 h 2080458"/>
                  <a:gd name="connsiteX41" fmla="*/ 807669 w 1939496"/>
                  <a:gd name="connsiteY41" fmla="*/ 779295 h 2080458"/>
                  <a:gd name="connsiteX42" fmla="*/ 786207 w 1939496"/>
                  <a:gd name="connsiteY42" fmla="*/ 776549 h 2080458"/>
                  <a:gd name="connsiteX43" fmla="*/ 767670 w 1939496"/>
                  <a:gd name="connsiteY43" fmla="*/ 744162 h 2080458"/>
                  <a:gd name="connsiteX44" fmla="*/ 789263 w 1939496"/>
                  <a:gd name="connsiteY44" fmla="*/ 713028 h 2080458"/>
                  <a:gd name="connsiteX45" fmla="*/ 824437 w 1939496"/>
                  <a:gd name="connsiteY45" fmla="*/ 715923 h 2080458"/>
                  <a:gd name="connsiteX46" fmla="*/ 819600 w 1939496"/>
                  <a:gd name="connsiteY46" fmla="*/ 655858 h 2080458"/>
                  <a:gd name="connsiteX47" fmla="*/ 751975 w 1939496"/>
                  <a:gd name="connsiteY47" fmla="*/ 632771 h 2080458"/>
                  <a:gd name="connsiteX48" fmla="*/ 732470 w 1939496"/>
                  <a:gd name="connsiteY48" fmla="*/ 565622 h 2080458"/>
                  <a:gd name="connsiteX49" fmla="*/ 742941 w 1939496"/>
                  <a:gd name="connsiteY49" fmla="*/ 528271 h 2080458"/>
                  <a:gd name="connsiteX50" fmla="*/ 772840 w 1939496"/>
                  <a:gd name="connsiteY50" fmla="*/ 510826 h 2080458"/>
                  <a:gd name="connsiteX51" fmla="*/ 752019 w 1939496"/>
                  <a:gd name="connsiteY51" fmla="*/ 484548 h 2080458"/>
                  <a:gd name="connsiteX52" fmla="*/ 836525 w 1939496"/>
                  <a:gd name="connsiteY52" fmla="*/ 425566 h 2080458"/>
                  <a:gd name="connsiteX53" fmla="*/ 828461 w 1939496"/>
                  <a:gd name="connsiteY53" fmla="*/ 402031 h 2080458"/>
                  <a:gd name="connsiteX54" fmla="*/ 862097 w 1939496"/>
                  <a:gd name="connsiteY54" fmla="*/ 368321 h 2080458"/>
                  <a:gd name="connsiteX55" fmla="*/ 859823 w 1939496"/>
                  <a:gd name="connsiteY55" fmla="*/ 312993 h 2080458"/>
                  <a:gd name="connsiteX56" fmla="*/ 881717 w 1939496"/>
                  <a:gd name="connsiteY56" fmla="*/ 295050 h 2080458"/>
                  <a:gd name="connsiteX57" fmla="*/ 882746 w 1939496"/>
                  <a:gd name="connsiteY57" fmla="*/ 275361 h 2080458"/>
                  <a:gd name="connsiteX58" fmla="*/ 858430 w 1939496"/>
                  <a:gd name="connsiteY58" fmla="*/ 266024 h 2080458"/>
                  <a:gd name="connsiteX59" fmla="*/ 827349 w 1939496"/>
                  <a:gd name="connsiteY59" fmla="*/ 207991 h 2080458"/>
                  <a:gd name="connsiteX60" fmla="*/ 846921 w 1939496"/>
                  <a:gd name="connsiteY60" fmla="*/ 200082 h 2080458"/>
                  <a:gd name="connsiteX61" fmla="*/ 845349 w 1939496"/>
                  <a:gd name="connsiteY61" fmla="*/ 163630 h 2080458"/>
                  <a:gd name="connsiteX62" fmla="*/ 859946 w 1939496"/>
                  <a:gd name="connsiteY62" fmla="*/ 168958 h 2080458"/>
                  <a:gd name="connsiteX63" fmla="*/ 866891 w 1939496"/>
                  <a:gd name="connsiteY63" fmla="*/ 155610 h 2080458"/>
                  <a:gd name="connsiteX64" fmla="*/ 846020 w 1939496"/>
                  <a:gd name="connsiteY64" fmla="*/ 133960 h 2080458"/>
                  <a:gd name="connsiteX65" fmla="*/ 863449 w 1939496"/>
                  <a:gd name="connsiteY65" fmla="*/ 81842 h 2080458"/>
                  <a:gd name="connsiteX66" fmla="*/ 852224 w 1939496"/>
                  <a:gd name="connsiteY66" fmla="*/ 55783 h 2080458"/>
                  <a:gd name="connsiteX67" fmla="*/ 906199 w 1939496"/>
                  <a:gd name="connsiteY67" fmla="*/ 73856 h 2080458"/>
                  <a:gd name="connsiteX68" fmla="*/ 928021 w 1939496"/>
                  <a:gd name="connsiteY68" fmla="*/ 51561 h 2080458"/>
                  <a:gd name="connsiteX69" fmla="*/ 965845 w 1939496"/>
                  <a:gd name="connsiteY69" fmla="*/ 48811 h 2080458"/>
                  <a:gd name="connsiteX70" fmla="*/ 960680 w 1939496"/>
                  <a:gd name="connsiteY70" fmla="*/ 17456 h 2080458"/>
                  <a:gd name="connsiteX71" fmla="*/ 946021 w 1939496"/>
                  <a:gd name="connsiteY71" fmla="*/ 14188 h 2080458"/>
                  <a:gd name="connsiteX72" fmla="*/ 967706 w 1939496"/>
                  <a:gd name="connsiteY72" fmla="*/ -157 h 2080458"/>
                  <a:gd name="connsiteX73" fmla="*/ 1002104 w 1939496"/>
                  <a:gd name="connsiteY73" fmla="*/ 66385 h 2080458"/>
                  <a:gd name="connsiteX74" fmla="*/ 968393 w 1939496"/>
                  <a:gd name="connsiteY74" fmla="*/ 74233 h 2080458"/>
                  <a:gd name="connsiteX75" fmla="*/ 960975 w 1939496"/>
                  <a:gd name="connsiteY75" fmla="*/ 112671 h 2080458"/>
                  <a:gd name="connsiteX76" fmla="*/ 1027176 w 1939496"/>
                  <a:gd name="connsiteY76" fmla="*/ 109311 h 2080458"/>
                  <a:gd name="connsiteX77" fmla="*/ 1053920 w 1939496"/>
                  <a:gd name="connsiteY77" fmla="*/ 137234 h 2080458"/>
                  <a:gd name="connsiteX78" fmla="*/ 1084444 w 1939496"/>
                  <a:gd name="connsiteY78" fmla="*/ 216679 h 2080458"/>
                  <a:gd name="connsiteX79" fmla="*/ 1059553 w 1939496"/>
                  <a:gd name="connsiteY79" fmla="*/ 262303 h 2080458"/>
                  <a:gd name="connsiteX80" fmla="*/ 1077060 w 1939496"/>
                  <a:gd name="connsiteY80" fmla="*/ 283931 h 2080458"/>
                  <a:gd name="connsiteX81" fmla="*/ 1109759 w 1939496"/>
                  <a:gd name="connsiteY81" fmla="*/ 277375 h 2080458"/>
                  <a:gd name="connsiteX82" fmla="*/ 1118701 w 1939496"/>
                  <a:gd name="connsiteY82" fmla="*/ 296042 h 2080458"/>
                  <a:gd name="connsiteX83" fmla="*/ 1096755 w 1939496"/>
                  <a:gd name="connsiteY83" fmla="*/ 361399 h 2080458"/>
                  <a:gd name="connsiteX84" fmla="*/ 1126290 w 1939496"/>
                  <a:gd name="connsiteY84" fmla="*/ 414769 h 2080458"/>
                  <a:gd name="connsiteX85" fmla="*/ 1122784 w 1939496"/>
                  <a:gd name="connsiteY85" fmla="*/ 449248 h 2080458"/>
                  <a:gd name="connsiteX86" fmla="*/ 1184927 w 1939496"/>
                  <a:gd name="connsiteY86" fmla="*/ 467534 h 2080458"/>
                  <a:gd name="connsiteX87" fmla="*/ 1176444 w 1939496"/>
                  <a:gd name="connsiteY87" fmla="*/ 540951 h 2080458"/>
                  <a:gd name="connsiteX88" fmla="*/ 1159343 w 1939496"/>
                  <a:gd name="connsiteY88" fmla="*/ 546399 h 2080458"/>
                  <a:gd name="connsiteX89" fmla="*/ 1167439 w 1939496"/>
                  <a:gd name="connsiteY89" fmla="*/ 558823 h 2080458"/>
                  <a:gd name="connsiteX90" fmla="*/ 1143873 w 1939496"/>
                  <a:gd name="connsiteY90" fmla="*/ 618202 h 2080458"/>
                  <a:gd name="connsiteX91" fmla="*/ 1142014 w 1939496"/>
                  <a:gd name="connsiteY91" fmla="*/ 708753 h 2080458"/>
                  <a:gd name="connsiteX92" fmla="*/ 1123427 w 1939496"/>
                  <a:gd name="connsiteY92" fmla="*/ 742779 h 2080458"/>
                  <a:gd name="connsiteX93" fmla="*/ 1162720 w 1939496"/>
                  <a:gd name="connsiteY93" fmla="*/ 801325 h 2080458"/>
                  <a:gd name="connsiteX94" fmla="*/ 1213640 w 1939496"/>
                  <a:gd name="connsiteY94" fmla="*/ 804930 h 2080458"/>
                  <a:gd name="connsiteX95" fmla="*/ 1242581 w 1939496"/>
                  <a:gd name="connsiteY95" fmla="*/ 755060 h 2080458"/>
                  <a:gd name="connsiteX96" fmla="*/ 1317268 w 1939496"/>
                  <a:gd name="connsiteY96" fmla="*/ 751938 h 2080458"/>
                  <a:gd name="connsiteX97" fmla="*/ 1339077 w 1939496"/>
                  <a:gd name="connsiteY97" fmla="*/ 739290 h 2080458"/>
                  <a:gd name="connsiteX98" fmla="*/ 1357880 w 1939496"/>
                  <a:gd name="connsiteY98" fmla="*/ 696275 h 2080458"/>
                  <a:gd name="connsiteX99" fmla="*/ 1364022 w 1939496"/>
                  <a:gd name="connsiteY99" fmla="*/ 731453 h 2080458"/>
                  <a:gd name="connsiteX100" fmla="*/ 1393344 w 1939496"/>
                  <a:gd name="connsiteY100" fmla="*/ 724401 h 2080458"/>
                  <a:gd name="connsiteX101" fmla="*/ 1381742 w 1939496"/>
                  <a:gd name="connsiteY101" fmla="*/ 752145 h 2080458"/>
                  <a:gd name="connsiteX102" fmla="*/ 1394766 w 1939496"/>
                  <a:gd name="connsiteY102" fmla="*/ 791133 h 2080458"/>
                  <a:gd name="connsiteX103" fmla="*/ 1395510 w 1939496"/>
                  <a:gd name="connsiteY103" fmla="*/ 756611 h 2080458"/>
                  <a:gd name="connsiteX104" fmla="*/ 1407722 w 1939496"/>
                  <a:gd name="connsiteY104" fmla="*/ 763612 h 2080458"/>
                  <a:gd name="connsiteX105" fmla="*/ 1458317 w 1939496"/>
                  <a:gd name="connsiteY105" fmla="*/ 719762 h 2080458"/>
                  <a:gd name="connsiteX106" fmla="*/ 1458167 w 1939496"/>
                  <a:gd name="connsiteY106" fmla="*/ 667725 h 2080458"/>
                  <a:gd name="connsiteX107" fmla="*/ 1496761 w 1939496"/>
                  <a:gd name="connsiteY107" fmla="*/ 635799 h 2080458"/>
                  <a:gd name="connsiteX108" fmla="*/ 1521215 w 1939496"/>
                  <a:gd name="connsiteY108" fmla="*/ 561679 h 2080458"/>
                  <a:gd name="connsiteX109" fmla="*/ 1547543 w 1939496"/>
                  <a:gd name="connsiteY109" fmla="*/ 546923 h 2080458"/>
                  <a:gd name="connsiteX110" fmla="*/ 1553260 w 1939496"/>
                  <a:gd name="connsiteY110" fmla="*/ 505303 h 2080458"/>
                  <a:gd name="connsiteX111" fmla="*/ 1589317 w 1939496"/>
                  <a:gd name="connsiteY111" fmla="*/ 487648 h 2080458"/>
                  <a:gd name="connsiteX112" fmla="*/ 1661087 w 1939496"/>
                  <a:gd name="connsiteY112" fmla="*/ 497824 h 2080458"/>
                  <a:gd name="connsiteX113" fmla="*/ 1702705 w 1939496"/>
                  <a:gd name="connsiteY113" fmla="*/ 540782 h 2080458"/>
                  <a:gd name="connsiteX114" fmla="*/ 1730719 w 1939496"/>
                  <a:gd name="connsiteY114" fmla="*/ 537743 h 2080458"/>
                  <a:gd name="connsiteX115" fmla="*/ 1708974 w 1939496"/>
                  <a:gd name="connsiteY115" fmla="*/ 560059 h 2080458"/>
                  <a:gd name="connsiteX116" fmla="*/ 1727372 w 1939496"/>
                  <a:gd name="connsiteY116" fmla="*/ 563124 h 2080458"/>
                  <a:gd name="connsiteX117" fmla="*/ 1728583 w 1939496"/>
                  <a:gd name="connsiteY117" fmla="*/ 604872 h 2080458"/>
                  <a:gd name="connsiteX118" fmla="*/ 1742896 w 1939496"/>
                  <a:gd name="connsiteY118" fmla="*/ 616706 h 2080458"/>
                  <a:gd name="connsiteX119" fmla="*/ 1768661 w 1939496"/>
                  <a:gd name="connsiteY119" fmla="*/ 616003 h 2080458"/>
                  <a:gd name="connsiteX120" fmla="*/ 1780582 w 1939496"/>
                  <a:gd name="connsiteY120" fmla="*/ 598711 h 2080458"/>
                  <a:gd name="connsiteX121" fmla="*/ 1795846 w 1939496"/>
                  <a:gd name="connsiteY121" fmla="*/ 613288 h 2080458"/>
                  <a:gd name="connsiteX122" fmla="*/ 1799041 w 1939496"/>
                  <a:gd name="connsiteY122" fmla="*/ 581557 h 2080458"/>
                  <a:gd name="connsiteX123" fmla="*/ 1813856 w 1939496"/>
                  <a:gd name="connsiteY123" fmla="*/ 576213 h 2080458"/>
                  <a:gd name="connsiteX124" fmla="*/ 1861188 w 1939496"/>
                  <a:gd name="connsiteY124" fmla="*/ 598749 h 2080458"/>
                  <a:gd name="connsiteX125" fmla="*/ 1894260 w 1939496"/>
                  <a:gd name="connsiteY125" fmla="*/ 719476 h 2080458"/>
                  <a:gd name="connsiteX126" fmla="*/ 1929565 w 1939496"/>
                  <a:gd name="connsiteY126" fmla="*/ 732541 h 2080458"/>
                  <a:gd name="connsiteX127" fmla="*/ 1938830 w 1939496"/>
                  <a:gd name="connsiteY127" fmla="*/ 770222 h 2080458"/>
                  <a:gd name="connsiteX128" fmla="*/ 1906850 w 1939496"/>
                  <a:gd name="connsiteY128" fmla="*/ 788820 h 2080458"/>
                  <a:gd name="connsiteX129" fmla="*/ 1864246 w 1939496"/>
                  <a:gd name="connsiteY129" fmla="*/ 764958 h 2080458"/>
                  <a:gd name="connsiteX130" fmla="*/ 1817465 w 1939496"/>
                  <a:gd name="connsiteY130" fmla="*/ 772324 h 2080458"/>
                  <a:gd name="connsiteX131" fmla="*/ 1805467 w 1939496"/>
                  <a:gd name="connsiteY131" fmla="*/ 791899 h 2080458"/>
                  <a:gd name="connsiteX132" fmla="*/ 1820914 w 1939496"/>
                  <a:gd name="connsiteY132" fmla="*/ 812086 h 2080458"/>
                  <a:gd name="connsiteX133" fmla="*/ 1807941 w 1939496"/>
                  <a:gd name="connsiteY133" fmla="*/ 817965 h 2080458"/>
                  <a:gd name="connsiteX134" fmla="*/ 1817516 w 1939496"/>
                  <a:gd name="connsiteY134" fmla="*/ 852402 h 2080458"/>
                  <a:gd name="connsiteX135" fmla="*/ 1792968 w 1939496"/>
                  <a:gd name="connsiteY135" fmla="*/ 875309 h 2080458"/>
                  <a:gd name="connsiteX136" fmla="*/ 1804719 w 1939496"/>
                  <a:gd name="connsiteY136" fmla="*/ 900952 h 2080458"/>
                  <a:gd name="connsiteX137" fmla="*/ 1821047 w 1939496"/>
                  <a:gd name="connsiteY137" fmla="*/ 899030 h 2080458"/>
                  <a:gd name="connsiteX138" fmla="*/ 1844890 w 1939496"/>
                  <a:gd name="connsiteY138" fmla="*/ 953448 h 2080458"/>
                  <a:gd name="connsiteX139" fmla="*/ 1851783 w 1939496"/>
                  <a:gd name="connsiteY139" fmla="*/ 936245 h 2080458"/>
                  <a:gd name="connsiteX140" fmla="*/ 1869152 w 1939496"/>
                  <a:gd name="connsiteY140" fmla="*/ 937471 h 2080458"/>
                  <a:gd name="connsiteX141" fmla="*/ 1861104 w 1939496"/>
                  <a:gd name="connsiteY141" fmla="*/ 1017275 h 2080458"/>
                  <a:gd name="connsiteX142" fmla="*/ 1845432 w 1939496"/>
                  <a:gd name="connsiteY142" fmla="*/ 1000524 h 2080458"/>
                  <a:gd name="connsiteX143" fmla="*/ 1807148 w 1939496"/>
                  <a:gd name="connsiteY143" fmla="*/ 1046487 h 2080458"/>
                  <a:gd name="connsiteX144" fmla="*/ 1767086 w 1939496"/>
                  <a:gd name="connsiteY144" fmla="*/ 1035136 h 2080458"/>
                  <a:gd name="connsiteX145" fmla="*/ 1747472 w 1939496"/>
                  <a:gd name="connsiteY145" fmla="*/ 1046069 h 2080458"/>
                  <a:gd name="connsiteX146" fmla="*/ 1714591 w 1939496"/>
                  <a:gd name="connsiteY146" fmla="*/ 1032437 h 2080458"/>
                  <a:gd name="connsiteX147" fmla="*/ 1751873 w 1939496"/>
                  <a:gd name="connsiteY147" fmla="*/ 998327 h 2080458"/>
                  <a:gd name="connsiteX148" fmla="*/ 1723274 w 1939496"/>
                  <a:gd name="connsiteY148" fmla="*/ 984468 h 2080458"/>
                  <a:gd name="connsiteX149" fmla="*/ 1702987 w 1939496"/>
                  <a:gd name="connsiteY149" fmla="*/ 1009853 h 2080458"/>
                  <a:gd name="connsiteX150" fmla="*/ 1655028 w 1939496"/>
                  <a:gd name="connsiteY150" fmla="*/ 1021837 h 2080458"/>
                  <a:gd name="connsiteX151" fmla="*/ 1643951 w 1939496"/>
                  <a:gd name="connsiteY151" fmla="*/ 1092026 h 2080458"/>
                  <a:gd name="connsiteX152" fmla="*/ 1592136 w 1939496"/>
                  <a:gd name="connsiteY152" fmla="*/ 1101344 h 2080458"/>
                  <a:gd name="connsiteX153" fmla="*/ 1573117 w 1939496"/>
                  <a:gd name="connsiteY153" fmla="*/ 1133233 h 2080458"/>
                  <a:gd name="connsiteX154" fmla="*/ 1536804 w 1939496"/>
                  <a:gd name="connsiteY154" fmla="*/ 1113475 h 2080458"/>
                  <a:gd name="connsiteX155" fmla="*/ 1484957 w 1939496"/>
                  <a:gd name="connsiteY155" fmla="*/ 1123992 h 2080458"/>
                  <a:gd name="connsiteX156" fmla="*/ 1461503 w 1939496"/>
                  <a:gd name="connsiteY156" fmla="*/ 1083941 h 2080458"/>
                  <a:gd name="connsiteX157" fmla="*/ 1441317 w 1939496"/>
                  <a:gd name="connsiteY157" fmla="*/ 1104724 h 2080458"/>
                  <a:gd name="connsiteX158" fmla="*/ 1411988 w 1939496"/>
                  <a:gd name="connsiteY158" fmla="*/ 1094252 h 2080458"/>
                  <a:gd name="connsiteX159" fmla="*/ 1388699 w 1939496"/>
                  <a:gd name="connsiteY159" fmla="*/ 1105671 h 2080458"/>
                  <a:gd name="connsiteX160" fmla="*/ 1361502 w 1939496"/>
                  <a:gd name="connsiteY160" fmla="*/ 1075223 h 2080458"/>
                  <a:gd name="connsiteX161" fmla="*/ 1338040 w 1939496"/>
                  <a:gd name="connsiteY161" fmla="*/ 1128000 h 2080458"/>
                  <a:gd name="connsiteX162" fmla="*/ 1288864 w 1939496"/>
                  <a:gd name="connsiteY162" fmla="*/ 1133534 h 2080458"/>
                  <a:gd name="connsiteX163" fmla="*/ 1244179 w 1939496"/>
                  <a:gd name="connsiteY163" fmla="*/ 1116066 h 2080458"/>
                  <a:gd name="connsiteX164" fmla="*/ 1223687 w 1939496"/>
                  <a:gd name="connsiteY164" fmla="*/ 1163104 h 2080458"/>
                  <a:gd name="connsiteX165" fmla="*/ 1193922 w 1939496"/>
                  <a:gd name="connsiteY165" fmla="*/ 1162391 h 2080458"/>
                  <a:gd name="connsiteX166" fmla="*/ 1133633 w 1939496"/>
                  <a:gd name="connsiteY166" fmla="*/ 1197230 h 2080458"/>
                  <a:gd name="connsiteX167" fmla="*/ 1127954 w 1939496"/>
                  <a:gd name="connsiteY167" fmla="*/ 1235456 h 2080458"/>
                  <a:gd name="connsiteX168" fmla="*/ 1171584 w 1939496"/>
                  <a:gd name="connsiteY168" fmla="*/ 1280421 h 2080458"/>
                  <a:gd name="connsiteX169" fmla="*/ 1196684 w 1939496"/>
                  <a:gd name="connsiteY169" fmla="*/ 1284177 h 2080458"/>
                  <a:gd name="connsiteX170" fmla="*/ 1160626 w 1939496"/>
                  <a:gd name="connsiteY170" fmla="*/ 1306713 h 2080458"/>
                  <a:gd name="connsiteX171" fmla="*/ 1149698 w 1939496"/>
                  <a:gd name="connsiteY171" fmla="*/ 1372205 h 2080458"/>
                  <a:gd name="connsiteX172" fmla="*/ 1171684 w 1939496"/>
                  <a:gd name="connsiteY172" fmla="*/ 1412430 h 2080458"/>
                  <a:gd name="connsiteX173" fmla="*/ 1173950 w 1939496"/>
                  <a:gd name="connsiteY173" fmla="*/ 1490653 h 2080458"/>
                  <a:gd name="connsiteX174" fmla="*/ 1161431 w 1939496"/>
                  <a:gd name="connsiteY174" fmla="*/ 1511525 h 2080458"/>
                  <a:gd name="connsiteX175" fmla="*/ 1210434 w 1939496"/>
                  <a:gd name="connsiteY175" fmla="*/ 1523744 h 2080458"/>
                  <a:gd name="connsiteX176" fmla="*/ 1206262 w 1939496"/>
                  <a:gd name="connsiteY176" fmla="*/ 1538544 h 2080458"/>
                  <a:gd name="connsiteX177" fmla="*/ 1137085 w 1939496"/>
                  <a:gd name="connsiteY177" fmla="*/ 1719687 h 2080458"/>
                  <a:gd name="connsiteX178" fmla="*/ 978756 w 1939496"/>
                  <a:gd name="connsiteY178" fmla="*/ 1872779 h 2080458"/>
                  <a:gd name="connsiteX179" fmla="*/ 931187 w 1939496"/>
                  <a:gd name="connsiteY179" fmla="*/ 1956454 h 2080458"/>
                  <a:gd name="connsiteX180" fmla="*/ 836689 w 1939496"/>
                  <a:gd name="connsiteY180" fmla="*/ 1998302 h 2080458"/>
                  <a:gd name="connsiteX181" fmla="*/ 839916 w 1939496"/>
                  <a:gd name="connsiteY181" fmla="*/ 2051377 h 2080458"/>
                  <a:gd name="connsiteX182" fmla="*/ 801784 w 1939496"/>
                  <a:gd name="connsiteY182" fmla="*/ 2054211 h 2080458"/>
                  <a:gd name="connsiteX183" fmla="*/ 765498 w 1939496"/>
                  <a:gd name="connsiteY183" fmla="*/ 2080302 h 2080458"/>
                  <a:gd name="connsiteX184" fmla="*/ 762020 w 1939496"/>
                  <a:gd name="connsiteY184" fmla="*/ 2032945 h 2080458"/>
                  <a:gd name="connsiteX185" fmla="*/ 707594 w 1939496"/>
                  <a:gd name="connsiteY185" fmla="*/ 2024865 h 2080458"/>
                  <a:gd name="connsiteX186" fmla="*/ 703770 w 1939496"/>
                  <a:gd name="connsiteY186" fmla="*/ 1978085 h 2080458"/>
                  <a:gd name="connsiteX187" fmla="*/ 658153 w 1939496"/>
                  <a:gd name="connsiteY187" fmla="*/ 1950431 h 2080458"/>
                  <a:gd name="connsiteX188" fmla="*/ 638070 w 1939496"/>
                  <a:gd name="connsiteY188" fmla="*/ 1916154 h 2080458"/>
                  <a:gd name="connsiteX189" fmla="*/ 577059 w 1939496"/>
                  <a:gd name="connsiteY189" fmla="*/ 1917916 h 2080458"/>
                  <a:gd name="connsiteX190" fmla="*/ 580079 w 1939496"/>
                  <a:gd name="connsiteY190" fmla="*/ 1903082 h 2080458"/>
                  <a:gd name="connsiteX191" fmla="*/ 527150 w 1939496"/>
                  <a:gd name="connsiteY191" fmla="*/ 1854964 h 2080458"/>
                  <a:gd name="connsiteX192" fmla="*/ 449678 w 1939496"/>
                  <a:gd name="connsiteY192" fmla="*/ 1806503 h 2080458"/>
                  <a:gd name="connsiteX193" fmla="*/ 418195 w 1939496"/>
                  <a:gd name="connsiteY193" fmla="*/ 1740962 h 2080458"/>
                  <a:gd name="connsiteX194" fmla="*/ 381702 w 1939496"/>
                  <a:gd name="connsiteY194" fmla="*/ 1750341 h 2080458"/>
                  <a:gd name="connsiteX195" fmla="*/ 378781 w 1939496"/>
                  <a:gd name="connsiteY195" fmla="*/ 1768311 h 2080458"/>
                  <a:gd name="connsiteX196" fmla="*/ 334989 w 1939496"/>
                  <a:gd name="connsiteY196" fmla="*/ 1782854 h 2080458"/>
                  <a:gd name="connsiteX197" fmla="*/ 321494 w 1939496"/>
                  <a:gd name="connsiteY197" fmla="*/ 1804330 h 2080458"/>
                  <a:gd name="connsiteX198" fmla="*/ 292563 w 1939496"/>
                  <a:gd name="connsiteY198" fmla="*/ 1774055 h 2080458"/>
                  <a:gd name="connsiteX199" fmla="*/ 235988 w 1939496"/>
                  <a:gd name="connsiteY199" fmla="*/ 1782349 h 2080458"/>
                  <a:gd name="connsiteX200" fmla="*/ 234959 w 1939496"/>
                  <a:gd name="connsiteY200" fmla="*/ 1761710 h 2080458"/>
                  <a:gd name="connsiteX201" fmla="*/ 171843 w 1939496"/>
                  <a:gd name="connsiteY201" fmla="*/ 1737548 h 2080458"/>
                  <a:gd name="connsiteX202" fmla="*/ 108183 w 1939496"/>
                  <a:gd name="connsiteY202" fmla="*/ 1679224 h 2080458"/>
                  <a:gd name="connsiteX203" fmla="*/ 73877 w 1939496"/>
                  <a:gd name="connsiteY203" fmla="*/ 1686117 h 2080458"/>
                  <a:gd name="connsiteX204" fmla="*/ -663 w 1939496"/>
                  <a:gd name="connsiteY204" fmla="*/ 1584461 h 2080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</a:cxnLst>
                <a:rect l="l" t="t" r="r" b="b"/>
                <a:pathLst>
                  <a:path w="1939496" h="2080458">
                    <a:moveTo>
                      <a:pt x="-666" y="1584460"/>
                    </a:moveTo>
                    <a:lnTo>
                      <a:pt x="39217" y="1543852"/>
                    </a:lnTo>
                    <a:lnTo>
                      <a:pt x="81667" y="1553000"/>
                    </a:lnTo>
                    <a:lnTo>
                      <a:pt x="99729" y="1501357"/>
                    </a:lnTo>
                    <a:lnTo>
                      <a:pt x="97908" y="1442581"/>
                    </a:lnTo>
                    <a:lnTo>
                      <a:pt x="123684" y="1431955"/>
                    </a:lnTo>
                    <a:lnTo>
                      <a:pt x="113213" y="1357601"/>
                    </a:lnTo>
                    <a:lnTo>
                      <a:pt x="131296" y="1348690"/>
                    </a:lnTo>
                    <a:lnTo>
                      <a:pt x="145296" y="1308793"/>
                    </a:lnTo>
                    <a:lnTo>
                      <a:pt x="164511" y="1322099"/>
                    </a:lnTo>
                    <a:lnTo>
                      <a:pt x="183962" y="1298591"/>
                    </a:lnTo>
                    <a:lnTo>
                      <a:pt x="183503" y="1269102"/>
                    </a:lnTo>
                    <a:lnTo>
                      <a:pt x="211258" y="1270152"/>
                    </a:lnTo>
                    <a:lnTo>
                      <a:pt x="206287" y="1206432"/>
                    </a:lnTo>
                    <a:lnTo>
                      <a:pt x="178536" y="1198252"/>
                    </a:lnTo>
                    <a:lnTo>
                      <a:pt x="196525" y="1176521"/>
                    </a:lnTo>
                    <a:lnTo>
                      <a:pt x="169014" y="1166385"/>
                    </a:lnTo>
                    <a:lnTo>
                      <a:pt x="224221" y="1043860"/>
                    </a:lnTo>
                    <a:lnTo>
                      <a:pt x="308788" y="1063065"/>
                    </a:lnTo>
                    <a:lnTo>
                      <a:pt x="346612" y="1052353"/>
                    </a:lnTo>
                    <a:lnTo>
                      <a:pt x="367384" y="1006745"/>
                    </a:lnTo>
                    <a:lnTo>
                      <a:pt x="399496" y="1008152"/>
                    </a:lnTo>
                    <a:lnTo>
                      <a:pt x="427173" y="1089301"/>
                    </a:lnTo>
                    <a:lnTo>
                      <a:pt x="456902" y="1112745"/>
                    </a:lnTo>
                    <a:lnTo>
                      <a:pt x="470939" y="1105712"/>
                    </a:lnTo>
                    <a:lnTo>
                      <a:pt x="461281" y="1038655"/>
                    </a:lnTo>
                    <a:lnTo>
                      <a:pt x="478042" y="1037702"/>
                    </a:lnTo>
                    <a:lnTo>
                      <a:pt x="484452" y="1003165"/>
                    </a:lnTo>
                    <a:lnTo>
                      <a:pt x="597038" y="905692"/>
                    </a:lnTo>
                    <a:lnTo>
                      <a:pt x="587125" y="838011"/>
                    </a:lnTo>
                    <a:lnTo>
                      <a:pt x="633289" y="809039"/>
                    </a:lnTo>
                    <a:lnTo>
                      <a:pt x="660196" y="815932"/>
                    </a:lnTo>
                    <a:lnTo>
                      <a:pt x="651797" y="830883"/>
                    </a:lnTo>
                    <a:lnTo>
                      <a:pt x="684663" y="868286"/>
                    </a:lnTo>
                    <a:lnTo>
                      <a:pt x="710562" y="870041"/>
                    </a:lnTo>
                    <a:lnTo>
                      <a:pt x="707302" y="895869"/>
                    </a:lnTo>
                    <a:lnTo>
                      <a:pt x="732589" y="887107"/>
                    </a:lnTo>
                    <a:lnTo>
                      <a:pt x="755288" y="913266"/>
                    </a:lnTo>
                    <a:lnTo>
                      <a:pt x="782520" y="900729"/>
                    </a:lnTo>
                    <a:lnTo>
                      <a:pt x="778664" y="871282"/>
                    </a:lnTo>
                    <a:lnTo>
                      <a:pt x="821995" y="828998"/>
                    </a:lnTo>
                    <a:lnTo>
                      <a:pt x="807669" y="779295"/>
                    </a:lnTo>
                    <a:lnTo>
                      <a:pt x="786207" y="776549"/>
                    </a:lnTo>
                    <a:lnTo>
                      <a:pt x="767670" y="744162"/>
                    </a:lnTo>
                    <a:lnTo>
                      <a:pt x="789263" y="713028"/>
                    </a:lnTo>
                    <a:lnTo>
                      <a:pt x="824437" y="715923"/>
                    </a:lnTo>
                    <a:lnTo>
                      <a:pt x="819600" y="655858"/>
                    </a:lnTo>
                    <a:lnTo>
                      <a:pt x="751975" y="632771"/>
                    </a:lnTo>
                    <a:lnTo>
                      <a:pt x="732470" y="565622"/>
                    </a:lnTo>
                    <a:lnTo>
                      <a:pt x="742941" y="528271"/>
                    </a:lnTo>
                    <a:lnTo>
                      <a:pt x="772840" y="510826"/>
                    </a:lnTo>
                    <a:lnTo>
                      <a:pt x="752019" y="484548"/>
                    </a:lnTo>
                    <a:lnTo>
                      <a:pt x="836525" y="425566"/>
                    </a:lnTo>
                    <a:lnTo>
                      <a:pt x="828461" y="402031"/>
                    </a:lnTo>
                    <a:lnTo>
                      <a:pt x="862097" y="368321"/>
                    </a:lnTo>
                    <a:lnTo>
                      <a:pt x="859823" y="312993"/>
                    </a:lnTo>
                    <a:lnTo>
                      <a:pt x="881717" y="295050"/>
                    </a:lnTo>
                    <a:lnTo>
                      <a:pt x="882746" y="275361"/>
                    </a:lnTo>
                    <a:lnTo>
                      <a:pt x="858430" y="266024"/>
                    </a:lnTo>
                    <a:lnTo>
                      <a:pt x="827349" y="207991"/>
                    </a:lnTo>
                    <a:lnTo>
                      <a:pt x="846921" y="200082"/>
                    </a:lnTo>
                    <a:lnTo>
                      <a:pt x="845349" y="163630"/>
                    </a:lnTo>
                    <a:lnTo>
                      <a:pt x="859946" y="168958"/>
                    </a:lnTo>
                    <a:lnTo>
                      <a:pt x="866891" y="155610"/>
                    </a:lnTo>
                    <a:lnTo>
                      <a:pt x="846020" y="133960"/>
                    </a:lnTo>
                    <a:lnTo>
                      <a:pt x="863449" y="81842"/>
                    </a:lnTo>
                    <a:lnTo>
                      <a:pt x="852224" y="55783"/>
                    </a:lnTo>
                    <a:lnTo>
                      <a:pt x="906199" y="73856"/>
                    </a:lnTo>
                    <a:lnTo>
                      <a:pt x="928021" y="51561"/>
                    </a:lnTo>
                    <a:lnTo>
                      <a:pt x="965845" y="48811"/>
                    </a:lnTo>
                    <a:lnTo>
                      <a:pt x="960680" y="17456"/>
                    </a:lnTo>
                    <a:lnTo>
                      <a:pt x="946021" y="14188"/>
                    </a:lnTo>
                    <a:lnTo>
                      <a:pt x="967706" y="-157"/>
                    </a:lnTo>
                    <a:lnTo>
                      <a:pt x="1002104" y="66385"/>
                    </a:lnTo>
                    <a:lnTo>
                      <a:pt x="968393" y="74233"/>
                    </a:lnTo>
                    <a:lnTo>
                      <a:pt x="960975" y="112671"/>
                    </a:lnTo>
                    <a:lnTo>
                      <a:pt x="1027176" y="109311"/>
                    </a:lnTo>
                    <a:lnTo>
                      <a:pt x="1053920" y="137234"/>
                    </a:lnTo>
                    <a:lnTo>
                      <a:pt x="1084444" y="216679"/>
                    </a:lnTo>
                    <a:lnTo>
                      <a:pt x="1059553" y="262303"/>
                    </a:lnTo>
                    <a:lnTo>
                      <a:pt x="1077060" y="283931"/>
                    </a:lnTo>
                    <a:lnTo>
                      <a:pt x="1109759" y="277375"/>
                    </a:lnTo>
                    <a:lnTo>
                      <a:pt x="1118701" y="296042"/>
                    </a:lnTo>
                    <a:lnTo>
                      <a:pt x="1096755" y="361399"/>
                    </a:lnTo>
                    <a:lnTo>
                      <a:pt x="1126290" y="414769"/>
                    </a:lnTo>
                    <a:lnTo>
                      <a:pt x="1122784" y="449248"/>
                    </a:lnTo>
                    <a:lnTo>
                      <a:pt x="1184927" y="467534"/>
                    </a:lnTo>
                    <a:lnTo>
                      <a:pt x="1176444" y="540951"/>
                    </a:lnTo>
                    <a:lnTo>
                      <a:pt x="1159343" y="546399"/>
                    </a:lnTo>
                    <a:lnTo>
                      <a:pt x="1167439" y="558823"/>
                    </a:lnTo>
                    <a:lnTo>
                      <a:pt x="1143873" y="618202"/>
                    </a:lnTo>
                    <a:lnTo>
                      <a:pt x="1142014" y="708753"/>
                    </a:lnTo>
                    <a:lnTo>
                      <a:pt x="1123427" y="742779"/>
                    </a:lnTo>
                    <a:lnTo>
                      <a:pt x="1162720" y="801325"/>
                    </a:lnTo>
                    <a:lnTo>
                      <a:pt x="1213640" y="804930"/>
                    </a:lnTo>
                    <a:lnTo>
                      <a:pt x="1242581" y="755060"/>
                    </a:lnTo>
                    <a:lnTo>
                      <a:pt x="1317268" y="751938"/>
                    </a:lnTo>
                    <a:lnTo>
                      <a:pt x="1339077" y="739290"/>
                    </a:lnTo>
                    <a:lnTo>
                      <a:pt x="1357880" y="696275"/>
                    </a:lnTo>
                    <a:lnTo>
                      <a:pt x="1364022" y="731453"/>
                    </a:lnTo>
                    <a:lnTo>
                      <a:pt x="1393344" y="724401"/>
                    </a:lnTo>
                    <a:lnTo>
                      <a:pt x="1381742" y="752145"/>
                    </a:lnTo>
                    <a:lnTo>
                      <a:pt x="1394766" y="791133"/>
                    </a:lnTo>
                    <a:lnTo>
                      <a:pt x="1395510" y="756611"/>
                    </a:lnTo>
                    <a:lnTo>
                      <a:pt x="1407722" y="763612"/>
                    </a:lnTo>
                    <a:lnTo>
                      <a:pt x="1458317" y="719762"/>
                    </a:lnTo>
                    <a:lnTo>
                      <a:pt x="1458167" y="667725"/>
                    </a:lnTo>
                    <a:lnTo>
                      <a:pt x="1496761" y="635799"/>
                    </a:lnTo>
                    <a:lnTo>
                      <a:pt x="1521215" y="561679"/>
                    </a:lnTo>
                    <a:lnTo>
                      <a:pt x="1547543" y="546923"/>
                    </a:lnTo>
                    <a:lnTo>
                      <a:pt x="1553260" y="505303"/>
                    </a:lnTo>
                    <a:lnTo>
                      <a:pt x="1589317" y="487648"/>
                    </a:lnTo>
                    <a:lnTo>
                      <a:pt x="1661087" y="497824"/>
                    </a:lnTo>
                    <a:lnTo>
                      <a:pt x="1702705" y="540782"/>
                    </a:lnTo>
                    <a:lnTo>
                      <a:pt x="1730719" y="537743"/>
                    </a:lnTo>
                    <a:lnTo>
                      <a:pt x="1708974" y="560059"/>
                    </a:lnTo>
                    <a:lnTo>
                      <a:pt x="1727372" y="563124"/>
                    </a:lnTo>
                    <a:lnTo>
                      <a:pt x="1728583" y="604872"/>
                    </a:lnTo>
                    <a:lnTo>
                      <a:pt x="1742896" y="616706"/>
                    </a:lnTo>
                    <a:lnTo>
                      <a:pt x="1768661" y="616003"/>
                    </a:lnTo>
                    <a:lnTo>
                      <a:pt x="1780582" y="598711"/>
                    </a:lnTo>
                    <a:lnTo>
                      <a:pt x="1795846" y="613288"/>
                    </a:lnTo>
                    <a:lnTo>
                      <a:pt x="1799041" y="581557"/>
                    </a:lnTo>
                    <a:lnTo>
                      <a:pt x="1813856" y="576213"/>
                    </a:lnTo>
                    <a:lnTo>
                      <a:pt x="1861188" y="598749"/>
                    </a:lnTo>
                    <a:lnTo>
                      <a:pt x="1894260" y="719476"/>
                    </a:lnTo>
                    <a:lnTo>
                      <a:pt x="1929565" y="732541"/>
                    </a:lnTo>
                    <a:lnTo>
                      <a:pt x="1938830" y="770222"/>
                    </a:lnTo>
                    <a:lnTo>
                      <a:pt x="1906850" y="788820"/>
                    </a:lnTo>
                    <a:lnTo>
                      <a:pt x="1864246" y="764958"/>
                    </a:lnTo>
                    <a:lnTo>
                      <a:pt x="1817465" y="772324"/>
                    </a:lnTo>
                    <a:lnTo>
                      <a:pt x="1805467" y="791899"/>
                    </a:lnTo>
                    <a:lnTo>
                      <a:pt x="1820914" y="812086"/>
                    </a:lnTo>
                    <a:lnTo>
                      <a:pt x="1807941" y="817965"/>
                    </a:lnTo>
                    <a:lnTo>
                      <a:pt x="1817516" y="852402"/>
                    </a:lnTo>
                    <a:lnTo>
                      <a:pt x="1792968" y="875309"/>
                    </a:lnTo>
                    <a:lnTo>
                      <a:pt x="1804719" y="900952"/>
                    </a:lnTo>
                    <a:lnTo>
                      <a:pt x="1821047" y="899030"/>
                    </a:lnTo>
                    <a:lnTo>
                      <a:pt x="1844890" y="953448"/>
                    </a:lnTo>
                    <a:lnTo>
                      <a:pt x="1851783" y="936245"/>
                    </a:lnTo>
                    <a:lnTo>
                      <a:pt x="1869152" y="937471"/>
                    </a:lnTo>
                    <a:lnTo>
                      <a:pt x="1861104" y="1017275"/>
                    </a:lnTo>
                    <a:lnTo>
                      <a:pt x="1845432" y="1000524"/>
                    </a:lnTo>
                    <a:lnTo>
                      <a:pt x="1807148" y="1046487"/>
                    </a:lnTo>
                    <a:lnTo>
                      <a:pt x="1767086" y="1035136"/>
                    </a:lnTo>
                    <a:lnTo>
                      <a:pt x="1747472" y="1046069"/>
                    </a:lnTo>
                    <a:lnTo>
                      <a:pt x="1714591" y="1032437"/>
                    </a:lnTo>
                    <a:lnTo>
                      <a:pt x="1751873" y="998327"/>
                    </a:lnTo>
                    <a:lnTo>
                      <a:pt x="1723274" y="984468"/>
                    </a:lnTo>
                    <a:lnTo>
                      <a:pt x="1702987" y="1009853"/>
                    </a:lnTo>
                    <a:lnTo>
                      <a:pt x="1655028" y="1021837"/>
                    </a:lnTo>
                    <a:lnTo>
                      <a:pt x="1643951" y="1092026"/>
                    </a:lnTo>
                    <a:lnTo>
                      <a:pt x="1592136" y="1101344"/>
                    </a:lnTo>
                    <a:lnTo>
                      <a:pt x="1573117" y="1133233"/>
                    </a:lnTo>
                    <a:lnTo>
                      <a:pt x="1536804" y="1113475"/>
                    </a:lnTo>
                    <a:lnTo>
                      <a:pt x="1484957" y="1123992"/>
                    </a:lnTo>
                    <a:lnTo>
                      <a:pt x="1461503" y="1083941"/>
                    </a:lnTo>
                    <a:lnTo>
                      <a:pt x="1441317" y="1104724"/>
                    </a:lnTo>
                    <a:lnTo>
                      <a:pt x="1411988" y="1094252"/>
                    </a:lnTo>
                    <a:lnTo>
                      <a:pt x="1388699" y="1105671"/>
                    </a:lnTo>
                    <a:lnTo>
                      <a:pt x="1361502" y="1075223"/>
                    </a:lnTo>
                    <a:lnTo>
                      <a:pt x="1338040" y="1128000"/>
                    </a:lnTo>
                    <a:lnTo>
                      <a:pt x="1288864" y="1133534"/>
                    </a:lnTo>
                    <a:lnTo>
                      <a:pt x="1244179" y="1116066"/>
                    </a:lnTo>
                    <a:lnTo>
                      <a:pt x="1223687" y="1163104"/>
                    </a:lnTo>
                    <a:lnTo>
                      <a:pt x="1193922" y="1162391"/>
                    </a:lnTo>
                    <a:lnTo>
                      <a:pt x="1133633" y="1197230"/>
                    </a:lnTo>
                    <a:lnTo>
                      <a:pt x="1127954" y="1235456"/>
                    </a:lnTo>
                    <a:lnTo>
                      <a:pt x="1171584" y="1280421"/>
                    </a:lnTo>
                    <a:lnTo>
                      <a:pt x="1196684" y="1284177"/>
                    </a:lnTo>
                    <a:lnTo>
                      <a:pt x="1160626" y="1306713"/>
                    </a:lnTo>
                    <a:lnTo>
                      <a:pt x="1149698" y="1372205"/>
                    </a:lnTo>
                    <a:lnTo>
                      <a:pt x="1171684" y="1412430"/>
                    </a:lnTo>
                    <a:lnTo>
                      <a:pt x="1173950" y="1490653"/>
                    </a:lnTo>
                    <a:lnTo>
                      <a:pt x="1161431" y="1511525"/>
                    </a:lnTo>
                    <a:lnTo>
                      <a:pt x="1210434" y="1523744"/>
                    </a:lnTo>
                    <a:lnTo>
                      <a:pt x="1206262" y="1538544"/>
                    </a:lnTo>
                    <a:lnTo>
                      <a:pt x="1137085" y="1719687"/>
                    </a:lnTo>
                    <a:lnTo>
                      <a:pt x="978756" y="1872779"/>
                    </a:lnTo>
                    <a:lnTo>
                      <a:pt x="931187" y="1956454"/>
                    </a:lnTo>
                    <a:lnTo>
                      <a:pt x="836689" y="1998302"/>
                    </a:lnTo>
                    <a:lnTo>
                      <a:pt x="839916" y="2051377"/>
                    </a:lnTo>
                    <a:lnTo>
                      <a:pt x="801784" y="2054211"/>
                    </a:lnTo>
                    <a:lnTo>
                      <a:pt x="765498" y="2080302"/>
                    </a:lnTo>
                    <a:lnTo>
                      <a:pt x="762020" y="2032945"/>
                    </a:lnTo>
                    <a:lnTo>
                      <a:pt x="707594" y="2024865"/>
                    </a:lnTo>
                    <a:lnTo>
                      <a:pt x="703770" y="1978085"/>
                    </a:lnTo>
                    <a:lnTo>
                      <a:pt x="658153" y="1950431"/>
                    </a:lnTo>
                    <a:lnTo>
                      <a:pt x="638070" y="1916154"/>
                    </a:lnTo>
                    <a:lnTo>
                      <a:pt x="577059" y="1917916"/>
                    </a:lnTo>
                    <a:lnTo>
                      <a:pt x="580079" y="1903082"/>
                    </a:lnTo>
                    <a:lnTo>
                      <a:pt x="527150" y="1854964"/>
                    </a:lnTo>
                    <a:lnTo>
                      <a:pt x="449678" y="1806503"/>
                    </a:lnTo>
                    <a:lnTo>
                      <a:pt x="418195" y="1740962"/>
                    </a:lnTo>
                    <a:lnTo>
                      <a:pt x="381702" y="1750341"/>
                    </a:lnTo>
                    <a:lnTo>
                      <a:pt x="378781" y="1768311"/>
                    </a:lnTo>
                    <a:lnTo>
                      <a:pt x="334989" y="1782854"/>
                    </a:lnTo>
                    <a:lnTo>
                      <a:pt x="321494" y="1804330"/>
                    </a:lnTo>
                    <a:lnTo>
                      <a:pt x="292563" y="1774055"/>
                    </a:lnTo>
                    <a:lnTo>
                      <a:pt x="235988" y="1782349"/>
                    </a:lnTo>
                    <a:lnTo>
                      <a:pt x="234959" y="1761710"/>
                    </a:lnTo>
                    <a:lnTo>
                      <a:pt x="171843" y="1737548"/>
                    </a:lnTo>
                    <a:lnTo>
                      <a:pt x="108183" y="1679224"/>
                    </a:lnTo>
                    <a:lnTo>
                      <a:pt x="73877" y="1686117"/>
                    </a:lnTo>
                    <a:lnTo>
                      <a:pt x="-663" y="158446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770" name="Дальневосточный федеральный округ">
              <a:extLst>
                <a:ext uri="{FF2B5EF4-FFF2-40B4-BE49-F238E27FC236}">
                  <a16:creationId xmlns:a16="http://schemas.microsoft.com/office/drawing/2014/main" id="{E561D4F9-71F0-48E2-9CB2-0F7BC48BEFA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509362" y="264980"/>
              <a:ext cx="5377127" cy="6246034"/>
              <a:chOff x="6509362" y="264980"/>
              <a:chExt cx="5377127" cy="6246034"/>
            </a:xfrm>
            <a:solidFill>
              <a:srgbClr val="F89BC7"/>
            </a:solidFill>
          </p:grpSpPr>
          <p:sp>
            <p:nvSpPr>
              <p:cNvPr id="8" name="Чукотский автономный округ">
                <a:extLst>
                  <a:ext uri="{FF2B5EF4-FFF2-40B4-BE49-F238E27FC236}">
                    <a16:creationId xmlns:a16="http://schemas.microsoft.com/office/drawing/2014/main" id="{B6A95479-D02F-41CE-A57B-72B1874AAC5E}"/>
                  </a:ext>
                </a:extLst>
              </p:cNvPr>
              <p:cNvSpPr/>
              <p:nvPr/>
            </p:nvSpPr>
            <p:spPr>
              <a:xfrm>
                <a:off x="9691916" y="264980"/>
                <a:ext cx="1589448" cy="1841058"/>
              </a:xfrm>
              <a:custGeom>
                <a:avLst/>
                <a:gdLst>
                  <a:gd name="connsiteX0" fmla="*/ 1548811 w 1589448"/>
                  <a:gd name="connsiteY0" fmla="*/ 901521 h 1841058"/>
                  <a:gd name="connsiteX1" fmla="*/ 1503254 w 1589448"/>
                  <a:gd name="connsiteY1" fmla="*/ 880710 h 1841058"/>
                  <a:gd name="connsiteX2" fmla="*/ 1548811 w 1589448"/>
                  <a:gd name="connsiteY2" fmla="*/ 901521 h 1841058"/>
                  <a:gd name="connsiteX3" fmla="*/ 369205 w 1589448"/>
                  <a:gd name="connsiteY3" fmla="*/ 182934 h 1841058"/>
                  <a:gd name="connsiteX4" fmla="*/ 293302 w 1589448"/>
                  <a:gd name="connsiteY4" fmla="*/ 213345 h 1841058"/>
                  <a:gd name="connsiteX5" fmla="*/ 255721 w 1589448"/>
                  <a:gd name="connsiteY5" fmla="*/ 261804 h 1841058"/>
                  <a:gd name="connsiteX6" fmla="*/ 245337 w 1589448"/>
                  <a:gd name="connsiteY6" fmla="*/ 306060 h 1841058"/>
                  <a:gd name="connsiteX7" fmla="*/ 266105 w 1589448"/>
                  <a:gd name="connsiteY7" fmla="*/ 404710 h 1841058"/>
                  <a:gd name="connsiteX8" fmla="*/ 296269 w 1589448"/>
                  <a:gd name="connsiteY8" fmla="*/ 445752 h 1841058"/>
                  <a:gd name="connsiteX9" fmla="*/ 368958 w 1589448"/>
                  <a:gd name="connsiteY9" fmla="*/ 453170 h 1841058"/>
                  <a:gd name="connsiteX10" fmla="*/ 395907 w 1589448"/>
                  <a:gd name="connsiteY10" fmla="*/ 374794 h 1841058"/>
                  <a:gd name="connsiteX11" fmla="*/ 423846 w 1589448"/>
                  <a:gd name="connsiteY11" fmla="*/ 243508 h 1841058"/>
                  <a:gd name="connsiteX12" fmla="*/ 406044 w 1589448"/>
                  <a:gd name="connsiteY12" fmla="*/ 198757 h 1841058"/>
                  <a:gd name="connsiteX13" fmla="*/ 965027 w 1589448"/>
                  <a:gd name="connsiteY13" fmla="*/ 248521 h 1841058"/>
                  <a:gd name="connsiteX14" fmla="*/ 1010933 w 1589448"/>
                  <a:gd name="connsiteY14" fmla="*/ 258466 h 1841058"/>
                  <a:gd name="connsiteX15" fmla="*/ 1090775 w 1589448"/>
                  <a:gd name="connsiteY15" fmla="*/ 111801 h 1841058"/>
                  <a:gd name="connsiteX16" fmla="*/ 1202785 w 1589448"/>
                  <a:gd name="connsiteY16" fmla="*/ 65778 h 1841058"/>
                  <a:gd name="connsiteX17" fmla="*/ 1267882 w 1589448"/>
                  <a:gd name="connsiteY17" fmla="*/ -157 h 1841058"/>
                  <a:gd name="connsiteX18" fmla="*/ 1380361 w 1589448"/>
                  <a:gd name="connsiteY18" fmla="*/ 35216 h 1841058"/>
                  <a:gd name="connsiteX19" fmla="*/ 1319990 w 1589448"/>
                  <a:gd name="connsiteY19" fmla="*/ 75566 h 1841058"/>
                  <a:gd name="connsiteX20" fmla="*/ 1357281 w 1589448"/>
                  <a:gd name="connsiteY20" fmla="*/ 105912 h 1841058"/>
                  <a:gd name="connsiteX21" fmla="*/ 1375731 w 1589448"/>
                  <a:gd name="connsiteY21" fmla="*/ 153913 h 1841058"/>
                  <a:gd name="connsiteX22" fmla="*/ 1359487 w 1589448"/>
                  <a:gd name="connsiteY22" fmla="*/ 202799 h 1841058"/>
                  <a:gd name="connsiteX23" fmla="*/ 1499725 w 1589448"/>
                  <a:gd name="connsiteY23" fmla="*/ 265088 h 1841058"/>
                  <a:gd name="connsiteX24" fmla="*/ 1516356 w 1589448"/>
                  <a:gd name="connsiteY24" fmla="*/ 344099 h 1841058"/>
                  <a:gd name="connsiteX25" fmla="*/ 1481151 w 1589448"/>
                  <a:gd name="connsiteY25" fmla="*/ 407444 h 1841058"/>
                  <a:gd name="connsiteX26" fmla="*/ 1409955 w 1589448"/>
                  <a:gd name="connsiteY26" fmla="*/ 444104 h 1841058"/>
                  <a:gd name="connsiteX27" fmla="*/ 1368447 w 1589448"/>
                  <a:gd name="connsiteY27" fmla="*/ 500902 h 1841058"/>
                  <a:gd name="connsiteX28" fmla="*/ 1311369 w 1589448"/>
                  <a:gd name="connsiteY28" fmla="*/ 521569 h 1841058"/>
                  <a:gd name="connsiteX29" fmla="*/ 1260042 w 1589448"/>
                  <a:gd name="connsiteY29" fmla="*/ 506814 h 1841058"/>
                  <a:gd name="connsiteX30" fmla="*/ 1236852 w 1589448"/>
                  <a:gd name="connsiteY30" fmla="*/ 522930 h 1841058"/>
                  <a:gd name="connsiteX31" fmla="*/ 1233459 w 1589448"/>
                  <a:gd name="connsiteY31" fmla="*/ 575174 h 1841058"/>
                  <a:gd name="connsiteX32" fmla="*/ 1197285 w 1589448"/>
                  <a:gd name="connsiteY32" fmla="*/ 673120 h 1841058"/>
                  <a:gd name="connsiteX33" fmla="*/ 1238085 w 1589448"/>
                  <a:gd name="connsiteY33" fmla="*/ 759581 h 1841058"/>
                  <a:gd name="connsiteX34" fmla="*/ 1264731 w 1589448"/>
                  <a:gd name="connsiteY34" fmla="*/ 858427 h 1841058"/>
                  <a:gd name="connsiteX35" fmla="*/ 1390008 w 1589448"/>
                  <a:gd name="connsiteY35" fmla="*/ 883642 h 1841058"/>
                  <a:gd name="connsiteX36" fmla="*/ 1451590 w 1589448"/>
                  <a:gd name="connsiteY36" fmla="*/ 869239 h 1841058"/>
                  <a:gd name="connsiteX37" fmla="*/ 1503254 w 1589448"/>
                  <a:gd name="connsiteY37" fmla="*/ 880710 h 1841058"/>
                  <a:gd name="connsiteX38" fmla="*/ 1548811 w 1589448"/>
                  <a:gd name="connsiteY38" fmla="*/ 901521 h 1841058"/>
                  <a:gd name="connsiteX39" fmla="*/ 1588783 w 1589448"/>
                  <a:gd name="connsiteY39" fmla="*/ 961096 h 1841058"/>
                  <a:gd name="connsiteX40" fmla="*/ 1586980 w 1589448"/>
                  <a:gd name="connsiteY40" fmla="*/ 996152 h 1841058"/>
                  <a:gd name="connsiteX41" fmla="*/ 1510588 w 1589448"/>
                  <a:gd name="connsiteY41" fmla="*/ 1057724 h 1841058"/>
                  <a:gd name="connsiteX42" fmla="*/ 1490299 w 1589448"/>
                  <a:gd name="connsiteY42" fmla="*/ 1099488 h 1841058"/>
                  <a:gd name="connsiteX43" fmla="*/ 1498781 w 1589448"/>
                  <a:gd name="connsiteY43" fmla="*/ 1327593 h 1841058"/>
                  <a:gd name="connsiteX44" fmla="*/ 1448475 w 1589448"/>
                  <a:gd name="connsiteY44" fmla="*/ 1300622 h 1841058"/>
                  <a:gd name="connsiteX45" fmla="*/ 1388886 w 1589448"/>
                  <a:gd name="connsiteY45" fmla="*/ 1308472 h 1841058"/>
                  <a:gd name="connsiteX46" fmla="*/ 1375378 w 1589448"/>
                  <a:gd name="connsiteY46" fmla="*/ 1287554 h 1841058"/>
                  <a:gd name="connsiteX47" fmla="*/ 1341394 w 1589448"/>
                  <a:gd name="connsiteY47" fmla="*/ 1308802 h 1841058"/>
                  <a:gd name="connsiteX48" fmla="*/ 1338435 w 1589448"/>
                  <a:gd name="connsiteY48" fmla="*/ 1375920 h 1841058"/>
                  <a:gd name="connsiteX49" fmla="*/ 1294057 w 1589448"/>
                  <a:gd name="connsiteY49" fmla="*/ 1414759 h 1841058"/>
                  <a:gd name="connsiteX50" fmla="*/ 1294350 w 1589448"/>
                  <a:gd name="connsiteY50" fmla="*/ 1465338 h 1841058"/>
                  <a:gd name="connsiteX51" fmla="*/ 1272649 w 1589448"/>
                  <a:gd name="connsiteY51" fmla="*/ 1471321 h 1841058"/>
                  <a:gd name="connsiteX52" fmla="*/ 1275664 w 1589448"/>
                  <a:gd name="connsiteY52" fmla="*/ 1508588 h 1841058"/>
                  <a:gd name="connsiteX53" fmla="*/ 1248282 w 1589448"/>
                  <a:gd name="connsiteY53" fmla="*/ 1542983 h 1841058"/>
                  <a:gd name="connsiteX54" fmla="*/ 1188933 w 1589448"/>
                  <a:gd name="connsiteY54" fmla="*/ 1522005 h 1841058"/>
                  <a:gd name="connsiteX55" fmla="*/ 1073401 w 1589448"/>
                  <a:gd name="connsiteY55" fmla="*/ 1581448 h 1841058"/>
                  <a:gd name="connsiteX56" fmla="*/ 1045024 w 1589448"/>
                  <a:gd name="connsiteY56" fmla="*/ 1463345 h 1841058"/>
                  <a:gd name="connsiteX57" fmla="*/ 998087 w 1589448"/>
                  <a:gd name="connsiteY57" fmla="*/ 1453801 h 1841058"/>
                  <a:gd name="connsiteX58" fmla="*/ 972830 w 1589448"/>
                  <a:gd name="connsiteY58" fmla="*/ 1479417 h 1841058"/>
                  <a:gd name="connsiteX59" fmla="*/ 918076 w 1589448"/>
                  <a:gd name="connsiteY59" fmla="*/ 1471653 h 1841058"/>
                  <a:gd name="connsiteX60" fmla="*/ 884053 w 1589448"/>
                  <a:gd name="connsiteY60" fmla="*/ 1517664 h 1841058"/>
                  <a:gd name="connsiteX61" fmla="*/ 827463 w 1589448"/>
                  <a:gd name="connsiteY61" fmla="*/ 1516008 h 1841058"/>
                  <a:gd name="connsiteX62" fmla="*/ 823272 w 1589448"/>
                  <a:gd name="connsiteY62" fmla="*/ 1549999 h 1841058"/>
                  <a:gd name="connsiteX63" fmla="*/ 786640 w 1589448"/>
                  <a:gd name="connsiteY63" fmla="*/ 1574115 h 1841058"/>
                  <a:gd name="connsiteX64" fmla="*/ 782329 w 1589448"/>
                  <a:gd name="connsiteY64" fmla="*/ 1599213 h 1841058"/>
                  <a:gd name="connsiteX65" fmla="*/ 750329 w 1589448"/>
                  <a:gd name="connsiteY65" fmla="*/ 1589484 h 1841058"/>
                  <a:gd name="connsiteX66" fmla="*/ 715351 w 1589448"/>
                  <a:gd name="connsiteY66" fmla="*/ 1609434 h 1841058"/>
                  <a:gd name="connsiteX67" fmla="*/ 728899 w 1589448"/>
                  <a:gd name="connsiteY67" fmla="*/ 1638637 h 1841058"/>
                  <a:gd name="connsiteX68" fmla="*/ 668169 w 1589448"/>
                  <a:gd name="connsiteY68" fmla="*/ 1650447 h 1841058"/>
                  <a:gd name="connsiteX69" fmla="*/ 666397 w 1589448"/>
                  <a:gd name="connsiteY69" fmla="*/ 1675495 h 1841058"/>
                  <a:gd name="connsiteX70" fmla="*/ 641409 w 1589448"/>
                  <a:gd name="connsiteY70" fmla="*/ 1687289 h 1841058"/>
                  <a:gd name="connsiteX71" fmla="*/ 640626 w 1589448"/>
                  <a:gd name="connsiteY71" fmla="*/ 1722446 h 1841058"/>
                  <a:gd name="connsiteX72" fmla="*/ 658637 w 1589448"/>
                  <a:gd name="connsiteY72" fmla="*/ 1724629 h 1841058"/>
                  <a:gd name="connsiteX73" fmla="*/ 640919 w 1589448"/>
                  <a:gd name="connsiteY73" fmla="*/ 1754848 h 1841058"/>
                  <a:gd name="connsiteX74" fmla="*/ 579520 w 1589448"/>
                  <a:gd name="connsiteY74" fmla="*/ 1787218 h 1841058"/>
                  <a:gd name="connsiteX75" fmla="*/ 521394 w 1589448"/>
                  <a:gd name="connsiteY75" fmla="*/ 1781354 h 1841058"/>
                  <a:gd name="connsiteX76" fmla="*/ 482916 w 1589448"/>
                  <a:gd name="connsiteY76" fmla="*/ 1819797 h 1841058"/>
                  <a:gd name="connsiteX77" fmla="*/ 426974 w 1589448"/>
                  <a:gd name="connsiteY77" fmla="*/ 1807371 h 1841058"/>
                  <a:gd name="connsiteX78" fmla="*/ 349372 w 1589448"/>
                  <a:gd name="connsiteY78" fmla="*/ 1840902 h 1841058"/>
                  <a:gd name="connsiteX79" fmla="*/ 304618 w 1589448"/>
                  <a:gd name="connsiteY79" fmla="*/ 1774443 h 1841058"/>
                  <a:gd name="connsiteX80" fmla="*/ 244808 w 1589448"/>
                  <a:gd name="connsiteY80" fmla="*/ 1794862 h 1841058"/>
                  <a:gd name="connsiteX81" fmla="*/ 231580 w 1589448"/>
                  <a:gd name="connsiteY81" fmla="*/ 1732628 h 1841058"/>
                  <a:gd name="connsiteX82" fmla="*/ 188967 w 1589448"/>
                  <a:gd name="connsiteY82" fmla="*/ 1715301 h 1841058"/>
                  <a:gd name="connsiteX83" fmla="*/ 123998 w 1589448"/>
                  <a:gd name="connsiteY83" fmla="*/ 1729306 h 1841058"/>
                  <a:gd name="connsiteX84" fmla="*/ 92921 w 1589448"/>
                  <a:gd name="connsiteY84" fmla="*/ 1709678 h 1841058"/>
                  <a:gd name="connsiteX85" fmla="*/ 78062 w 1589448"/>
                  <a:gd name="connsiteY85" fmla="*/ 1678437 h 1841058"/>
                  <a:gd name="connsiteX86" fmla="*/ 95320 w 1589448"/>
                  <a:gd name="connsiteY86" fmla="*/ 1659492 h 1841058"/>
                  <a:gd name="connsiteX87" fmla="*/ 65589 w 1589448"/>
                  <a:gd name="connsiteY87" fmla="*/ 1657479 h 1841058"/>
                  <a:gd name="connsiteX88" fmla="*/ 60275 w 1589448"/>
                  <a:gd name="connsiteY88" fmla="*/ 1604443 h 1841058"/>
                  <a:gd name="connsiteX89" fmla="*/ 127960 w 1589448"/>
                  <a:gd name="connsiteY89" fmla="*/ 1498609 h 1841058"/>
                  <a:gd name="connsiteX90" fmla="*/ 139890 w 1589448"/>
                  <a:gd name="connsiteY90" fmla="*/ 1452905 h 1841058"/>
                  <a:gd name="connsiteX91" fmla="*/ 188751 w 1589448"/>
                  <a:gd name="connsiteY91" fmla="*/ 1416329 h 1841058"/>
                  <a:gd name="connsiteX92" fmla="*/ 163594 w 1589448"/>
                  <a:gd name="connsiteY92" fmla="*/ 1373027 h 1841058"/>
                  <a:gd name="connsiteX93" fmla="*/ 134176 w 1589448"/>
                  <a:gd name="connsiteY93" fmla="*/ 1361461 h 1841058"/>
                  <a:gd name="connsiteX94" fmla="*/ 137266 w 1589448"/>
                  <a:gd name="connsiteY94" fmla="*/ 1344236 h 1841058"/>
                  <a:gd name="connsiteX95" fmla="*/ 96030 w 1589448"/>
                  <a:gd name="connsiteY95" fmla="*/ 1336784 h 1841058"/>
                  <a:gd name="connsiteX96" fmla="*/ 93189 w 1589448"/>
                  <a:gd name="connsiteY96" fmla="*/ 1311360 h 1841058"/>
                  <a:gd name="connsiteX97" fmla="*/ 49131 w 1589448"/>
                  <a:gd name="connsiteY97" fmla="*/ 1310805 h 1841058"/>
                  <a:gd name="connsiteX98" fmla="*/ -666 w 1589448"/>
                  <a:gd name="connsiteY98" fmla="*/ 1256841 h 1841058"/>
                  <a:gd name="connsiteX99" fmla="*/ 43761 w 1589448"/>
                  <a:gd name="connsiteY99" fmla="*/ 1180579 h 1841058"/>
                  <a:gd name="connsiteX100" fmla="*/ 91923 w 1589448"/>
                  <a:gd name="connsiteY100" fmla="*/ 1165163 h 1841058"/>
                  <a:gd name="connsiteX101" fmla="*/ 156570 w 1589448"/>
                  <a:gd name="connsiteY101" fmla="*/ 1091985 h 1841058"/>
                  <a:gd name="connsiteX102" fmla="*/ 163616 w 1589448"/>
                  <a:gd name="connsiteY102" fmla="*/ 1071372 h 1841058"/>
                  <a:gd name="connsiteX103" fmla="*/ 139372 w 1589448"/>
                  <a:gd name="connsiteY103" fmla="*/ 989124 h 1841058"/>
                  <a:gd name="connsiteX104" fmla="*/ 151670 w 1589448"/>
                  <a:gd name="connsiteY104" fmla="*/ 956706 h 1841058"/>
                  <a:gd name="connsiteX105" fmla="*/ 183430 w 1589448"/>
                  <a:gd name="connsiteY105" fmla="*/ 932691 h 1841058"/>
                  <a:gd name="connsiteX106" fmla="*/ 201838 w 1589448"/>
                  <a:gd name="connsiteY106" fmla="*/ 852720 h 1841058"/>
                  <a:gd name="connsiteX107" fmla="*/ 354616 w 1589448"/>
                  <a:gd name="connsiteY107" fmla="*/ 680526 h 1841058"/>
                  <a:gd name="connsiteX108" fmla="*/ 393639 w 1589448"/>
                  <a:gd name="connsiteY108" fmla="*/ 599974 h 1841058"/>
                  <a:gd name="connsiteX109" fmla="*/ 447961 w 1589448"/>
                  <a:gd name="connsiteY109" fmla="*/ 575553 h 1841058"/>
                  <a:gd name="connsiteX110" fmla="*/ 574237 w 1589448"/>
                  <a:gd name="connsiteY110" fmla="*/ 471682 h 1841058"/>
                  <a:gd name="connsiteX111" fmla="*/ 594035 w 1589448"/>
                  <a:gd name="connsiteY111" fmla="*/ 465381 h 1841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589448" h="1841058">
                    <a:moveTo>
                      <a:pt x="1548811" y="901521"/>
                    </a:moveTo>
                    <a:lnTo>
                      <a:pt x="1503254" y="880710"/>
                    </a:lnTo>
                    <a:lnTo>
                      <a:pt x="1548811" y="901521"/>
                    </a:lnTo>
                    <a:moveTo>
                      <a:pt x="369205" y="182934"/>
                    </a:moveTo>
                    <a:lnTo>
                      <a:pt x="293302" y="213345"/>
                    </a:lnTo>
                    <a:lnTo>
                      <a:pt x="255721" y="261804"/>
                    </a:lnTo>
                    <a:lnTo>
                      <a:pt x="245337" y="306060"/>
                    </a:lnTo>
                    <a:lnTo>
                      <a:pt x="266105" y="404710"/>
                    </a:lnTo>
                    <a:lnTo>
                      <a:pt x="296269" y="445752"/>
                    </a:lnTo>
                    <a:lnTo>
                      <a:pt x="368958" y="453170"/>
                    </a:lnTo>
                    <a:lnTo>
                      <a:pt x="395907" y="374794"/>
                    </a:lnTo>
                    <a:lnTo>
                      <a:pt x="423846" y="243508"/>
                    </a:lnTo>
                    <a:lnTo>
                      <a:pt x="406044" y="198757"/>
                    </a:lnTo>
                    <a:close/>
                    <a:moveTo>
                      <a:pt x="965027" y="248521"/>
                    </a:moveTo>
                    <a:lnTo>
                      <a:pt x="1010933" y="258466"/>
                    </a:lnTo>
                    <a:lnTo>
                      <a:pt x="1090775" y="111801"/>
                    </a:lnTo>
                    <a:lnTo>
                      <a:pt x="1202785" y="65778"/>
                    </a:lnTo>
                    <a:lnTo>
                      <a:pt x="1267882" y="-157"/>
                    </a:lnTo>
                    <a:lnTo>
                      <a:pt x="1380361" y="35216"/>
                    </a:lnTo>
                    <a:lnTo>
                      <a:pt x="1319990" y="75566"/>
                    </a:lnTo>
                    <a:lnTo>
                      <a:pt x="1357281" y="105912"/>
                    </a:lnTo>
                    <a:lnTo>
                      <a:pt x="1375731" y="153913"/>
                    </a:lnTo>
                    <a:lnTo>
                      <a:pt x="1359487" y="202799"/>
                    </a:lnTo>
                    <a:lnTo>
                      <a:pt x="1499725" y="265088"/>
                    </a:lnTo>
                    <a:lnTo>
                      <a:pt x="1516356" y="344099"/>
                    </a:lnTo>
                    <a:lnTo>
                      <a:pt x="1481151" y="407444"/>
                    </a:lnTo>
                    <a:lnTo>
                      <a:pt x="1409955" y="444104"/>
                    </a:lnTo>
                    <a:lnTo>
                      <a:pt x="1368447" y="500902"/>
                    </a:lnTo>
                    <a:lnTo>
                      <a:pt x="1311369" y="521569"/>
                    </a:lnTo>
                    <a:lnTo>
                      <a:pt x="1260042" y="506814"/>
                    </a:lnTo>
                    <a:lnTo>
                      <a:pt x="1236852" y="522930"/>
                    </a:lnTo>
                    <a:lnTo>
                      <a:pt x="1233459" y="575174"/>
                    </a:lnTo>
                    <a:lnTo>
                      <a:pt x="1197285" y="673120"/>
                    </a:lnTo>
                    <a:lnTo>
                      <a:pt x="1238085" y="759581"/>
                    </a:lnTo>
                    <a:lnTo>
                      <a:pt x="1264731" y="858427"/>
                    </a:lnTo>
                    <a:lnTo>
                      <a:pt x="1390008" y="883642"/>
                    </a:lnTo>
                    <a:lnTo>
                      <a:pt x="1451590" y="869239"/>
                    </a:lnTo>
                    <a:lnTo>
                      <a:pt x="1503254" y="880710"/>
                    </a:lnTo>
                    <a:lnTo>
                      <a:pt x="1548811" y="901521"/>
                    </a:lnTo>
                    <a:lnTo>
                      <a:pt x="1588783" y="961096"/>
                    </a:lnTo>
                    <a:lnTo>
                      <a:pt x="1586980" y="996152"/>
                    </a:lnTo>
                    <a:lnTo>
                      <a:pt x="1510588" y="1057724"/>
                    </a:lnTo>
                    <a:lnTo>
                      <a:pt x="1490299" y="1099488"/>
                    </a:lnTo>
                    <a:lnTo>
                      <a:pt x="1498781" y="1327593"/>
                    </a:lnTo>
                    <a:lnTo>
                      <a:pt x="1448475" y="1300622"/>
                    </a:lnTo>
                    <a:lnTo>
                      <a:pt x="1388886" y="1308472"/>
                    </a:lnTo>
                    <a:lnTo>
                      <a:pt x="1375378" y="1287554"/>
                    </a:lnTo>
                    <a:lnTo>
                      <a:pt x="1341394" y="1308802"/>
                    </a:lnTo>
                    <a:lnTo>
                      <a:pt x="1338435" y="1375920"/>
                    </a:lnTo>
                    <a:lnTo>
                      <a:pt x="1294057" y="1414759"/>
                    </a:lnTo>
                    <a:lnTo>
                      <a:pt x="1294350" y="1465338"/>
                    </a:lnTo>
                    <a:lnTo>
                      <a:pt x="1272649" y="1471321"/>
                    </a:lnTo>
                    <a:lnTo>
                      <a:pt x="1275664" y="1508588"/>
                    </a:lnTo>
                    <a:lnTo>
                      <a:pt x="1248282" y="1542983"/>
                    </a:lnTo>
                    <a:lnTo>
                      <a:pt x="1188933" y="1522005"/>
                    </a:lnTo>
                    <a:lnTo>
                      <a:pt x="1073401" y="1581448"/>
                    </a:lnTo>
                    <a:lnTo>
                      <a:pt x="1045024" y="1463345"/>
                    </a:lnTo>
                    <a:lnTo>
                      <a:pt x="998087" y="1453801"/>
                    </a:lnTo>
                    <a:lnTo>
                      <a:pt x="972830" y="1479417"/>
                    </a:lnTo>
                    <a:lnTo>
                      <a:pt x="918076" y="1471653"/>
                    </a:lnTo>
                    <a:lnTo>
                      <a:pt x="884053" y="1517664"/>
                    </a:lnTo>
                    <a:lnTo>
                      <a:pt x="827463" y="1516008"/>
                    </a:lnTo>
                    <a:lnTo>
                      <a:pt x="823272" y="1549999"/>
                    </a:lnTo>
                    <a:lnTo>
                      <a:pt x="786640" y="1574115"/>
                    </a:lnTo>
                    <a:lnTo>
                      <a:pt x="782329" y="1599213"/>
                    </a:lnTo>
                    <a:lnTo>
                      <a:pt x="750329" y="1589484"/>
                    </a:lnTo>
                    <a:lnTo>
                      <a:pt x="715351" y="1609434"/>
                    </a:lnTo>
                    <a:lnTo>
                      <a:pt x="728899" y="1638637"/>
                    </a:lnTo>
                    <a:lnTo>
                      <a:pt x="668169" y="1650447"/>
                    </a:lnTo>
                    <a:lnTo>
                      <a:pt x="666397" y="1675495"/>
                    </a:lnTo>
                    <a:lnTo>
                      <a:pt x="641409" y="1687289"/>
                    </a:lnTo>
                    <a:lnTo>
                      <a:pt x="640626" y="1722446"/>
                    </a:lnTo>
                    <a:lnTo>
                      <a:pt x="658637" y="1724629"/>
                    </a:lnTo>
                    <a:lnTo>
                      <a:pt x="640919" y="1754848"/>
                    </a:lnTo>
                    <a:lnTo>
                      <a:pt x="579520" y="1787218"/>
                    </a:lnTo>
                    <a:lnTo>
                      <a:pt x="521394" y="1781354"/>
                    </a:lnTo>
                    <a:lnTo>
                      <a:pt x="482916" y="1819797"/>
                    </a:lnTo>
                    <a:lnTo>
                      <a:pt x="426974" y="1807371"/>
                    </a:lnTo>
                    <a:lnTo>
                      <a:pt x="349372" y="1840902"/>
                    </a:lnTo>
                    <a:lnTo>
                      <a:pt x="304618" y="1774443"/>
                    </a:lnTo>
                    <a:lnTo>
                      <a:pt x="244808" y="1794862"/>
                    </a:lnTo>
                    <a:lnTo>
                      <a:pt x="231580" y="1732628"/>
                    </a:lnTo>
                    <a:lnTo>
                      <a:pt x="188967" y="1715301"/>
                    </a:lnTo>
                    <a:lnTo>
                      <a:pt x="123998" y="1729306"/>
                    </a:lnTo>
                    <a:lnTo>
                      <a:pt x="92921" y="1709678"/>
                    </a:lnTo>
                    <a:lnTo>
                      <a:pt x="78062" y="1678437"/>
                    </a:lnTo>
                    <a:lnTo>
                      <a:pt x="95320" y="1659492"/>
                    </a:lnTo>
                    <a:lnTo>
                      <a:pt x="65589" y="1657479"/>
                    </a:lnTo>
                    <a:lnTo>
                      <a:pt x="60275" y="1604443"/>
                    </a:lnTo>
                    <a:lnTo>
                      <a:pt x="127960" y="1498609"/>
                    </a:lnTo>
                    <a:lnTo>
                      <a:pt x="139890" y="1452905"/>
                    </a:lnTo>
                    <a:lnTo>
                      <a:pt x="188751" y="1416329"/>
                    </a:lnTo>
                    <a:lnTo>
                      <a:pt x="163594" y="1373027"/>
                    </a:lnTo>
                    <a:lnTo>
                      <a:pt x="134176" y="1361461"/>
                    </a:lnTo>
                    <a:lnTo>
                      <a:pt x="137266" y="1344236"/>
                    </a:lnTo>
                    <a:lnTo>
                      <a:pt x="96030" y="1336784"/>
                    </a:lnTo>
                    <a:lnTo>
                      <a:pt x="93189" y="1311360"/>
                    </a:lnTo>
                    <a:lnTo>
                      <a:pt x="49131" y="1310805"/>
                    </a:lnTo>
                    <a:lnTo>
                      <a:pt x="-666" y="1256841"/>
                    </a:lnTo>
                    <a:lnTo>
                      <a:pt x="43761" y="1180579"/>
                    </a:lnTo>
                    <a:lnTo>
                      <a:pt x="91923" y="1165163"/>
                    </a:lnTo>
                    <a:lnTo>
                      <a:pt x="156570" y="1091985"/>
                    </a:lnTo>
                    <a:lnTo>
                      <a:pt x="163616" y="1071372"/>
                    </a:lnTo>
                    <a:lnTo>
                      <a:pt x="139372" y="989124"/>
                    </a:lnTo>
                    <a:lnTo>
                      <a:pt x="151670" y="956706"/>
                    </a:lnTo>
                    <a:lnTo>
                      <a:pt x="183430" y="932691"/>
                    </a:lnTo>
                    <a:lnTo>
                      <a:pt x="201838" y="852720"/>
                    </a:lnTo>
                    <a:lnTo>
                      <a:pt x="354616" y="680526"/>
                    </a:lnTo>
                    <a:lnTo>
                      <a:pt x="393639" y="599974"/>
                    </a:lnTo>
                    <a:lnTo>
                      <a:pt x="447961" y="575553"/>
                    </a:lnTo>
                    <a:lnTo>
                      <a:pt x="574237" y="471682"/>
                    </a:lnTo>
                    <a:lnTo>
                      <a:pt x="594035" y="465381"/>
                    </a:lnTo>
                    <a:close/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6" name="Республика Бурятия">
                <a:extLst>
                  <a:ext uri="{FF2B5EF4-FFF2-40B4-BE49-F238E27FC236}">
                    <a16:creationId xmlns:a16="http://schemas.microsoft.com/office/drawing/2014/main" id="{191E4BF5-232A-4FE7-9AFE-ED05DAA17EEF}"/>
                  </a:ext>
                </a:extLst>
              </p:cNvPr>
              <p:cNvSpPr/>
              <p:nvPr/>
            </p:nvSpPr>
            <p:spPr>
              <a:xfrm>
                <a:off x="6509362" y="4801012"/>
                <a:ext cx="1629696" cy="1245029"/>
              </a:xfrm>
              <a:custGeom>
                <a:avLst/>
                <a:gdLst>
                  <a:gd name="connsiteX0" fmla="*/ -662 w 1629696"/>
                  <a:gd name="connsiteY0" fmla="*/ 901911 h 1245029"/>
                  <a:gd name="connsiteX1" fmla="*/ 29405 w 1629696"/>
                  <a:gd name="connsiteY1" fmla="*/ 862414 h 1245029"/>
                  <a:gd name="connsiteX2" fmla="*/ 28475 w 1629696"/>
                  <a:gd name="connsiteY2" fmla="*/ 821793 h 1245029"/>
                  <a:gd name="connsiteX3" fmla="*/ 56930 w 1629696"/>
                  <a:gd name="connsiteY3" fmla="*/ 832396 h 1245029"/>
                  <a:gd name="connsiteX4" fmla="*/ 70602 w 1629696"/>
                  <a:gd name="connsiteY4" fmla="*/ 795862 h 1245029"/>
                  <a:gd name="connsiteX5" fmla="*/ 153809 w 1629696"/>
                  <a:gd name="connsiteY5" fmla="*/ 753969 h 1245029"/>
                  <a:gd name="connsiteX6" fmla="*/ 185292 w 1629696"/>
                  <a:gd name="connsiteY6" fmla="*/ 819510 h 1245029"/>
                  <a:gd name="connsiteX7" fmla="*/ 262765 w 1629696"/>
                  <a:gd name="connsiteY7" fmla="*/ 867971 h 1245029"/>
                  <a:gd name="connsiteX8" fmla="*/ 315693 w 1629696"/>
                  <a:gd name="connsiteY8" fmla="*/ 916089 h 1245029"/>
                  <a:gd name="connsiteX9" fmla="*/ 312673 w 1629696"/>
                  <a:gd name="connsiteY9" fmla="*/ 930922 h 1245029"/>
                  <a:gd name="connsiteX10" fmla="*/ 373494 w 1629696"/>
                  <a:gd name="connsiteY10" fmla="*/ 928961 h 1245029"/>
                  <a:gd name="connsiteX11" fmla="*/ 393767 w 1629696"/>
                  <a:gd name="connsiteY11" fmla="*/ 963438 h 1245029"/>
                  <a:gd name="connsiteX12" fmla="*/ 439383 w 1629696"/>
                  <a:gd name="connsiteY12" fmla="*/ 991092 h 1245029"/>
                  <a:gd name="connsiteX13" fmla="*/ 443208 w 1629696"/>
                  <a:gd name="connsiteY13" fmla="*/ 1037871 h 1245029"/>
                  <a:gd name="connsiteX14" fmla="*/ 497634 w 1629696"/>
                  <a:gd name="connsiteY14" fmla="*/ 1045952 h 1245029"/>
                  <a:gd name="connsiteX15" fmla="*/ 501113 w 1629696"/>
                  <a:gd name="connsiteY15" fmla="*/ 1093310 h 1245029"/>
                  <a:gd name="connsiteX16" fmla="*/ 537398 w 1629696"/>
                  <a:gd name="connsiteY16" fmla="*/ 1067217 h 1245029"/>
                  <a:gd name="connsiteX17" fmla="*/ 575531 w 1629696"/>
                  <a:gd name="connsiteY17" fmla="*/ 1064384 h 1245029"/>
                  <a:gd name="connsiteX18" fmla="*/ 572302 w 1629696"/>
                  <a:gd name="connsiteY18" fmla="*/ 1011309 h 1245029"/>
                  <a:gd name="connsiteX19" fmla="*/ 666802 w 1629696"/>
                  <a:gd name="connsiteY19" fmla="*/ 969462 h 1245029"/>
                  <a:gd name="connsiteX20" fmla="*/ 714372 w 1629696"/>
                  <a:gd name="connsiteY20" fmla="*/ 885786 h 1245029"/>
                  <a:gd name="connsiteX21" fmla="*/ 872699 w 1629696"/>
                  <a:gd name="connsiteY21" fmla="*/ 732694 h 1245029"/>
                  <a:gd name="connsiteX22" fmla="*/ 941876 w 1629696"/>
                  <a:gd name="connsiteY22" fmla="*/ 551552 h 1245029"/>
                  <a:gd name="connsiteX23" fmla="*/ 946048 w 1629696"/>
                  <a:gd name="connsiteY23" fmla="*/ 536751 h 1245029"/>
                  <a:gd name="connsiteX24" fmla="*/ 897044 w 1629696"/>
                  <a:gd name="connsiteY24" fmla="*/ 524532 h 1245029"/>
                  <a:gd name="connsiteX25" fmla="*/ 909564 w 1629696"/>
                  <a:gd name="connsiteY25" fmla="*/ 503660 h 1245029"/>
                  <a:gd name="connsiteX26" fmla="*/ 907299 w 1629696"/>
                  <a:gd name="connsiteY26" fmla="*/ 425437 h 1245029"/>
                  <a:gd name="connsiteX27" fmla="*/ 885312 w 1629696"/>
                  <a:gd name="connsiteY27" fmla="*/ 385212 h 1245029"/>
                  <a:gd name="connsiteX28" fmla="*/ 896240 w 1629696"/>
                  <a:gd name="connsiteY28" fmla="*/ 319721 h 1245029"/>
                  <a:gd name="connsiteX29" fmla="*/ 932298 w 1629696"/>
                  <a:gd name="connsiteY29" fmla="*/ 297183 h 1245029"/>
                  <a:gd name="connsiteX30" fmla="*/ 907198 w 1629696"/>
                  <a:gd name="connsiteY30" fmla="*/ 293428 h 1245029"/>
                  <a:gd name="connsiteX31" fmla="*/ 863569 w 1629696"/>
                  <a:gd name="connsiteY31" fmla="*/ 248463 h 1245029"/>
                  <a:gd name="connsiteX32" fmla="*/ 869247 w 1629696"/>
                  <a:gd name="connsiteY32" fmla="*/ 210237 h 1245029"/>
                  <a:gd name="connsiteX33" fmla="*/ 929536 w 1629696"/>
                  <a:gd name="connsiteY33" fmla="*/ 175398 h 1245029"/>
                  <a:gd name="connsiteX34" fmla="*/ 959300 w 1629696"/>
                  <a:gd name="connsiteY34" fmla="*/ 176111 h 1245029"/>
                  <a:gd name="connsiteX35" fmla="*/ 979793 w 1629696"/>
                  <a:gd name="connsiteY35" fmla="*/ 129074 h 1245029"/>
                  <a:gd name="connsiteX36" fmla="*/ 1024478 w 1629696"/>
                  <a:gd name="connsiteY36" fmla="*/ 146541 h 1245029"/>
                  <a:gd name="connsiteX37" fmla="*/ 1073653 w 1629696"/>
                  <a:gd name="connsiteY37" fmla="*/ 141007 h 1245029"/>
                  <a:gd name="connsiteX38" fmla="*/ 1097116 w 1629696"/>
                  <a:gd name="connsiteY38" fmla="*/ 88231 h 1245029"/>
                  <a:gd name="connsiteX39" fmla="*/ 1124312 w 1629696"/>
                  <a:gd name="connsiteY39" fmla="*/ 118679 h 1245029"/>
                  <a:gd name="connsiteX40" fmla="*/ 1147602 w 1629696"/>
                  <a:gd name="connsiteY40" fmla="*/ 107260 h 1245029"/>
                  <a:gd name="connsiteX41" fmla="*/ 1176931 w 1629696"/>
                  <a:gd name="connsiteY41" fmla="*/ 117731 h 1245029"/>
                  <a:gd name="connsiteX42" fmla="*/ 1197118 w 1629696"/>
                  <a:gd name="connsiteY42" fmla="*/ 96948 h 1245029"/>
                  <a:gd name="connsiteX43" fmla="*/ 1220571 w 1629696"/>
                  <a:gd name="connsiteY43" fmla="*/ 136999 h 1245029"/>
                  <a:gd name="connsiteX44" fmla="*/ 1272418 w 1629696"/>
                  <a:gd name="connsiteY44" fmla="*/ 126482 h 1245029"/>
                  <a:gd name="connsiteX45" fmla="*/ 1308731 w 1629696"/>
                  <a:gd name="connsiteY45" fmla="*/ 146240 h 1245029"/>
                  <a:gd name="connsiteX46" fmla="*/ 1327750 w 1629696"/>
                  <a:gd name="connsiteY46" fmla="*/ 114351 h 1245029"/>
                  <a:gd name="connsiteX47" fmla="*/ 1379566 w 1629696"/>
                  <a:gd name="connsiteY47" fmla="*/ 105033 h 1245029"/>
                  <a:gd name="connsiteX48" fmla="*/ 1390642 w 1629696"/>
                  <a:gd name="connsiteY48" fmla="*/ 34844 h 1245029"/>
                  <a:gd name="connsiteX49" fmla="*/ 1438601 w 1629696"/>
                  <a:gd name="connsiteY49" fmla="*/ 22860 h 1245029"/>
                  <a:gd name="connsiteX50" fmla="*/ 1449677 w 1629696"/>
                  <a:gd name="connsiteY50" fmla="*/ -157 h 1245029"/>
                  <a:gd name="connsiteX51" fmla="*/ 1486966 w 1629696"/>
                  <a:gd name="connsiteY51" fmla="*/ 9211 h 1245029"/>
                  <a:gd name="connsiteX52" fmla="*/ 1442446 w 1629696"/>
                  <a:gd name="connsiteY52" fmla="*/ 55954 h 1245029"/>
                  <a:gd name="connsiteX53" fmla="*/ 1435913 w 1629696"/>
                  <a:gd name="connsiteY53" fmla="*/ 104660 h 1245029"/>
                  <a:gd name="connsiteX54" fmla="*/ 1460172 w 1629696"/>
                  <a:gd name="connsiteY54" fmla="*/ 105566 h 1245029"/>
                  <a:gd name="connsiteX55" fmla="*/ 1474505 w 1629696"/>
                  <a:gd name="connsiteY55" fmla="*/ 123993 h 1245029"/>
                  <a:gd name="connsiteX56" fmla="*/ 1468155 w 1629696"/>
                  <a:gd name="connsiteY56" fmla="*/ 147328 h 1245029"/>
                  <a:gd name="connsiteX57" fmla="*/ 1500869 w 1629696"/>
                  <a:gd name="connsiteY57" fmla="*/ 198908 h 1245029"/>
                  <a:gd name="connsiteX58" fmla="*/ 1519088 w 1629696"/>
                  <a:gd name="connsiteY58" fmla="*/ 278585 h 1245029"/>
                  <a:gd name="connsiteX59" fmla="*/ 1560351 w 1629696"/>
                  <a:gd name="connsiteY59" fmla="*/ 272758 h 1245029"/>
                  <a:gd name="connsiteX60" fmla="*/ 1613257 w 1629696"/>
                  <a:gd name="connsiteY60" fmla="*/ 315515 h 1245029"/>
                  <a:gd name="connsiteX61" fmla="*/ 1629031 w 1629696"/>
                  <a:gd name="connsiteY61" fmla="*/ 349865 h 1245029"/>
                  <a:gd name="connsiteX62" fmla="*/ 1621495 w 1629696"/>
                  <a:gd name="connsiteY62" fmla="*/ 394760 h 1245029"/>
                  <a:gd name="connsiteX63" fmla="*/ 1527713 w 1629696"/>
                  <a:gd name="connsiteY63" fmla="*/ 435048 h 1245029"/>
                  <a:gd name="connsiteX64" fmla="*/ 1486289 w 1629696"/>
                  <a:gd name="connsiteY64" fmla="*/ 511435 h 1245029"/>
                  <a:gd name="connsiteX65" fmla="*/ 1392432 w 1629696"/>
                  <a:gd name="connsiteY65" fmla="*/ 591127 h 1245029"/>
                  <a:gd name="connsiteX66" fmla="*/ 1417186 w 1629696"/>
                  <a:gd name="connsiteY66" fmla="*/ 644356 h 1245029"/>
                  <a:gd name="connsiteX67" fmla="*/ 1442849 w 1629696"/>
                  <a:gd name="connsiteY67" fmla="*/ 650655 h 1245029"/>
                  <a:gd name="connsiteX68" fmla="*/ 1440571 w 1629696"/>
                  <a:gd name="connsiteY68" fmla="*/ 667784 h 1245029"/>
                  <a:gd name="connsiteX69" fmla="*/ 1462480 w 1629696"/>
                  <a:gd name="connsiteY69" fmla="*/ 666392 h 1245029"/>
                  <a:gd name="connsiteX70" fmla="*/ 1447190 w 1629696"/>
                  <a:gd name="connsiteY70" fmla="*/ 731737 h 1245029"/>
                  <a:gd name="connsiteX71" fmla="*/ 1408653 w 1629696"/>
                  <a:gd name="connsiteY71" fmla="*/ 773448 h 1245029"/>
                  <a:gd name="connsiteX72" fmla="*/ 1314270 w 1629696"/>
                  <a:gd name="connsiteY72" fmla="*/ 807441 h 1245029"/>
                  <a:gd name="connsiteX73" fmla="*/ 1302880 w 1629696"/>
                  <a:gd name="connsiteY73" fmla="*/ 832359 h 1245029"/>
                  <a:gd name="connsiteX74" fmla="*/ 1271921 w 1629696"/>
                  <a:gd name="connsiteY74" fmla="*/ 824654 h 1245029"/>
                  <a:gd name="connsiteX75" fmla="*/ 1246100 w 1629696"/>
                  <a:gd name="connsiteY75" fmla="*/ 878031 h 1245029"/>
                  <a:gd name="connsiteX76" fmla="*/ 1184388 w 1629696"/>
                  <a:gd name="connsiteY76" fmla="*/ 917240 h 1245029"/>
                  <a:gd name="connsiteX77" fmla="*/ 1161661 w 1629696"/>
                  <a:gd name="connsiteY77" fmla="*/ 964924 h 1245029"/>
                  <a:gd name="connsiteX78" fmla="*/ 1089412 w 1629696"/>
                  <a:gd name="connsiteY78" fmla="*/ 959134 h 1245029"/>
                  <a:gd name="connsiteX79" fmla="*/ 1039200 w 1629696"/>
                  <a:gd name="connsiteY79" fmla="*/ 1007474 h 1245029"/>
                  <a:gd name="connsiteX80" fmla="*/ 1004141 w 1629696"/>
                  <a:gd name="connsiteY80" fmla="*/ 986306 h 1245029"/>
                  <a:gd name="connsiteX81" fmla="*/ 991712 w 1629696"/>
                  <a:gd name="connsiteY81" fmla="*/ 1001523 h 1245029"/>
                  <a:gd name="connsiteX82" fmla="*/ 962813 w 1629696"/>
                  <a:gd name="connsiteY82" fmla="*/ 995549 h 1245029"/>
                  <a:gd name="connsiteX83" fmla="*/ 942920 w 1629696"/>
                  <a:gd name="connsiteY83" fmla="*/ 1035097 h 1245029"/>
                  <a:gd name="connsiteX84" fmla="*/ 963454 w 1629696"/>
                  <a:gd name="connsiteY84" fmla="*/ 1053877 h 1245029"/>
                  <a:gd name="connsiteX85" fmla="*/ 921068 w 1629696"/>
                  <a:gd name="connsiteY85" fmla="*/ 1113242 h 1245029"/>
                  <a:gd name="connsiteX86" fmla="*/ 987655 w 1629696"/>
                  <a:gd name="connsiteY86" fmla="*/ 1146281 h 1245029"/>
                  <a:gd name="connsiteX87" fmla="*/ 919963 w 1629696"/>
                  <a:gd name="connsiteY87" fmla="*/ 1184411 h 1245029"/>
                  <a:gd name="connsiteX88" fmla="*/ 899795 w 1629696"/>
                  <a:gd name="connsiteY88" fmla="*/ 1213112 h 1245029"/>
                  <a:gd name="connsiteX89" fmla="*/ 905267 w 1629696"/>
                  <a:gd name="connsiteY89" fmla="*/ 1240903 h 1245029"/>
                  <a:gd name="connsiteX90" fmla="*/ 853107 w 1629696"/>
                  <a:gd name="connsiteY90" fmla="*/ 1243894 h 1245029"/>
                  <a:gd name="connsiteX91" fmla="*/ 800176 w 1629696"/>
                  <a:gd name="connsiteY91" fmla="*/ 1198072 h 1245029"/>
                  <a:gd name="connsiteX92" fmla="*/ 751617 w 1629696"/>
                  <a:gd name="connsiteY92" fmla="*/ 1204555 h 1245029"/>
                  <a:gd name="connsiteX93" fmla="*/ 659186 w 1629696"/>
                  <a:gd name="connsiteY93" fmla="*/ 1184541 h 1245029"/>
                  <a:gd name="connsiteX94" fmla="*/ 565370 w 1629696"/>
                  <a:gd name="connsiteY94" fmla="*/ 1217651 h 1245029"/>
                  <a:gd name="connsiteX95" fmla="*/ 541952 w 1629696"/>
                  <a:gd name="connsiteY95" fmla="*/ 1244873 h 1245029"/>
                  <a:gd name="connsiteX96" fmla="*/ 455310 w 1629696"/>
                  <a:gd name="connsiteY96" fmla="*/ 1241702 h 1245029"/>
                  <a:gd name="connsiteX97" fmla="*/ 451184 w 1629696"/>
                  <a:gd name="connsiteY97" fmla="*/ 1222468 h 1245029"/>
                  <a:gd name="connsiteX98" fmla="*/ 393489 w 1629696"/>
                  <a:gd name="connsiteY98" fmla="*/ 1212046 h 1245029"/>
                  <a:gd name="connsiteX99" fmla="*/ 356401 w 1629696"/>
                  <a:gd name="connsiteY99" fmla="*/ 1169412 h 1245029"/>
                  <a:gd name="connsiteX100" fmla="*/ 333688 w 1629696"/>
                  <a:gd name="connsiteY100" fmla="*/ 1063747 h 1245029"/>
                  <a:gd name="connsiteX101" fmla="*/ 261377 w 1629696"/>
                  <a:gd name="connsiteY101" fmla="*/ 1051632 h 1245029"/>
                  <a:gd name="connsiteX102" fmla="*/ 184950 w 1629696"/>
                  <a:gd name="connsiteY102" fmla="*/ 1008174 h 1245029"/>
                  <a:gd name="connsiteX103" fmla="*/ 116797 w 1629696"/>
                  <a:gd name="connsiteY103" fmla="*/ 1004450 h 1245029"/>
                  <a:gd name="connsiteX104" fmla="*/ 104967 w 1629696"/>
                  <a:gd name="connsiteY104" fmla="*/ 982832 h 1245029"/>
                  <a:gd name="connsiteX105" fmla="*/ 35966 w 1629696"/>
                  <a:gd name="connsiteY105" fmla="*/ 957335 h 1245029"/>
                  <a:gd name="connsiteX106" fmla="*/ 18151 w 1629696"/>
                  <a:gd name="connsiteY106" fmla="*/ 924248 h 1245029"/>
                  <a:gd name="connsiteX107" fmla="*/ 1418 w 1629696"/>
                  <a:gd name="connsiteY107" fmla="*/ 925658 h 1245029"/>
                  <a:gd name="connsiteX108" fmla="*/ -666 w 1629696"/>
                  <a:gd name="connsiteY108" fmla="*/ 901911 h 1245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1629696" h="1245029">
                    <a:moveTo>
                      <a:pt x="-662" y="901911"/>
                    </a:moveTo>
                    <a:lnTo>
                      <a:pt x="29405" y="862414"/>
                    </a:lnTo>
                    <a:lnTo>
                      <a:pt x="28475" y="821793"/>
                    </a:lnTo>
                    <a:lnTo>
                      <a:pt x="56930" y="832396"/>
                    </a:lnTo>
                    <a:lnTo>
                      <a:pt x="70602" y="795862"/>
                    </a:lnTo>
                    <a:lnTo>
                      <a:pt x="153809" y="753969"/>
                    </a:lnTo>
                    <a:lnTo>
                      <a:pt x="185292" y="819510"/>
                    </a:lnTo>
                    <a:lnTo>
                      <a:pt x="262765" y="867971"/>
                    </a:lnTo>
                    <a:lnTo>
                      <a:pt x="315693" y="916089"/>
                    </a:lnTo>
                    <a:lnTo>
                      <a:pt x="312673" y="930922"/>
                    </a:lnTo>
                    <a:lnTo>
                      <a:pt x="373494" y="928961"/>
                    </a:lnTo>
                    <a:lnTo>
                      <a:pt x="393767" y="963438"/>
                    </a:lnTo>
                    <a:lnTo>
                      <a:pt x="439383" y="991092"/>
                    </a:lnTo>
                    <a:lnTo>
                      <a:pt x="443208" y="1037871"/>
                    </a:lnTo>
                    <a:lnTo>
                      <a:pt x="497634" y="1045952"/>
                    </a:lnTo>
                    <a:lnTo>
                      <a:pt x="501113" y="1093310"/>
                    </a:lnTo>
                    <a:lnTo>
                      <a:pt x="537398" y="1067217"/>
                    </a:lnTo>
                    <a:lnTo>
                      <a:pt x="575531" y="1064384"/>
                    </a:lnTo>
                    <a:lnTo>
                      <a:pt x="572302" y="1011309"/>
                    </a:lnTo>
                    <a:lnTo>
                      <a:pt x="666802" y="969462"/>
                    </a:lnTo>
                    <a:lnTo>
                      <a:pt x="714372" y="885786"/>
                    </a:lnTo>
                    <a:lnTo>
                      <a:pt x="872699" y="732694"/>
                    </a:lnTo>
                    <a:lnTo>
                      <a:pt x="941876" y="551552"/>
                    </a:lnTo>
                    <a:lnTo>
                      <a:pt x="946048" y="536751"/>
                    </a:lnTo>
                    <a:lnTo>
                      <a:pt x="897044" y="524532"/>
                    </a:lnTo>
                    <a:lnTo>
                      <a:pt x="909564" y="503660"/>
                    </a:lnTo>
                    <a:lnTo>
                      <a:pt x="907299" y="425437"/>
                    </a:lnTo>
                    <a:lnTo>
                      <a:pt x="885312" y="385212"/>
                    </a:lnTo>
                    <a:lnTo>
                      <a:pt x="896240" y="319721"/>
                    </a:lnTo>
                    <a:lnTo>
                      <a:pt x="932298" y="297183"/>
                    </a:lnTo>
                    <a:lnTo>
                      <a:pt x="907198" y="293428"/>
                    </a:lnTo>
                    <a:lnTo>
                      <a:pt x="863569" y="248463"/>
                    </a:lnTo>
                    <a:lnTo>
                      <a:pt x="869247" y="210237"/>
                    </a:lnTo>
                    <a:lnTo>
                      <a:pt x="929536" y="175398"/>
                    </a:lnTo>
                    <a:lnTo>
                      <a:pt x="959300" y="176111"/>
                    </a:lnTo>
                    <a:lnTo>
                      <a:pt x="979793" y="129074"/>
                    </a:lnTo>
                    <a:lnTo>
                      <a:pt x="1024478" y="146541"/>
                    </a:lnTo>
                    <a:lnTo>
                      <a:pt x="1073653" y="141007"/>
                    </a:lnTo>
                    <a:lnTo>
                      <a:pt x="1097116" y="88231"/>
                    </a:lnTo>
                    <a:lnTo>
                      <a:pt x="1124312" y="118679"/>
                    </a:lnTo>
                    <a:lnTo>
                      <a:pt x="1147602" y="107260"/>
                    </a:lnTo>
                    <a:lnTo>
                      <a:pt x="1176931" y="117731"/>
                    </a:lnTo>
                    <a:lnTo>
                      <a:pt x="1197118" y="96948"/>
                    </a:lnTo>
                    <a:lnTo>
                      <a:pt x="1220571" y="136999"/>
                    </a:lnTo>
                    <a:lnTo>
                      <a:pt x="1272418" y="126482"/>
                    </a:lnTo>
                    <a:lnTo>
                      <a:pt x="1308731" y="146240"/>
                    </a:lnTo>
                    <a:lnTo>
                      <a:pt x="1327750" y="114351"/>
                    </a:lnTo>
                    <a:lnTo>
                      <a:pt x="1379566" y="105033"/>
                    </a:lnTo>
                    <a:lnTo>
                      <a:pt x="1390642" y="34844"/>
                    </a:lnTo>
                    <a:lnTo>
                      <a:pt x="1438601" y="22860"/>
                    </a:lnTo>
                    <a:lnTo>
                      <a:pt x="1449677" y="-157"/>
                    </a:lnTo>
                    <a:lnTo>
                      <a:pt x="1486966" y="9211"/>
                    </a:lnTo>
                    <a:lnTo>
                      <a:pt x="1442446" y="55954"/>
                    </a:lnTo>
                    <a:lnTo>
                      <a:pt x="1435913" y="104660"/>
                    </a:lnTo>
                    <a:lnTo>
                      <a:pt x="1460172" y="105566"/>
                    </a:lnTo>
                    <a:lnTo>
                      <a:pt x="1474505" y="123993"/>
                    </a:lnTo>
                    <a:lnTo>
                      <a:pt x="1468155" y="147328"/>
                    </a:lnTo>
                    <a:lnTo>
                      <a:pt x="1500869" y="198908"/>
                    </a:lnTo>
                    <a:lnTo>
                      <a:pt x="1519088" y="278585"/>
                    </a:lnTo>
                    <a:lnTo>
                      <a:pt x="1560351" y="272758"/>
                    </a:lnTo>
                    <a:lnTo>
                      <a:pt x="1613257" y="315515"/>
                    </a:lnTo>
                    <a:lnTo>
                      <a:pt x="1629031" y="349865"/>
                    </a:lnTo>
                    <a:lnTo>
                      <a:pt x="1621495" y="394760"/>
                    </a:lnTo>
                    <a:lnTo>
                      <a:pt x="1527713" y="435048"/>
                    </a:lnTo>
                    <a:lnTo>
                      <a:pt x="1486289" y="511435"/>
                    </a:lnTo>
                    <a:lnTo>
                      <a:pt x="1392432" y="591127"/>
                    </a:lnTo>
                    <a:lnTo>
                      <a:pt x="1417186" y="644356"/>
                    </a:lnTo>
                    <a:lnTo>
                      <a:pt x="1442849" y="650655"/>
                    </a:lnTo>
                    <a:lnTo>
                      <a:pt x="1440571" y="667784"/>
                    </a:lnTo>
                    <a:lnTo>
                      <a:pt x="1462480" y="666392"/>
                    </a:lnTo>
                    <a:lnTo>
                      <a:pt x="1447190" y="731737"/>
                    </a:lnTo>
                    <a:lnTo>
                      <a:pt x="1408653" y="773448"/>
                    </a:lnTo>
                    <a:lnTo>
                      <a:pt x="1314270" y="807441"/>
                    </a:lnTo>
                    <a:lnTo>
                      <a:pt x="1302880" y="832359"/>
                    </a:lnTo>
                    <a:lnTo>
                      <a:pt x="1271921" y="824654"/>
                    </a:lnTo>
                    <a:lnTo>
                      <a:pt x="1246100" y="878031"/>
                    </a:lnTo>
                    <a:lnTo>
                      <a:pt x="1184388" y="917240"/>
                    </a:lnTo>
                    <a:lnTo>
                      <a:pt x="1161661" y="964924"/>
                    </a:lnTo>
                    <a:lnTo>
                      <a:pt x="1089412" y="959134"/>
                    </a:lnTo>
                    <a:lnTo>
                      <a:pt x="1039200" y="1007474"/>
                    </a:lnTo>
                    <a:lnTo>
                      <a:pt x="1004141" y="986306"/>
                    </a:lnTo>
                    <a:lnTo>
                      <a:pt x="991712" y="1001523"/>
                    </a:lnTo>
                    <a:lnTo>
                      <a:pt x="962813" y="995549"/>
                    </a:lnTo>
                    <a:lnTo>
                      <a:pt x="942920" y="1035097"/>
                    </a:lnTo>
                    <a:lnTo>
                      <a:pt x="963454" y="1053877"/>
                    </a:lnTo>
                    <a:lnTo>
                      <a:pt x="921068" y="1113242"/>
                    </a:lnTo>
                    <a:lnTo>
                      <a:pt x="987655" y="1146281"/>
                    </a:lnTo>
                    <a:lnTo>
                      <a:pt x="919963" y="1184411"/>
                    </a:lnTo>
                    <a:lnTo>
                      <a:pt x="899795" y="1213112"/>
                    </a:lnTo>
                    <a:lnTo>
                      <a:pt x="905267" y="1240903"/>
                    </a:lnTo>
                    <a:lnTo>
                      <a:pt x="853107" y="1243894"/>
                    </a:lnTo>
                    <a:lnTo>
                      <a:pt x="800176" y="1198072"/>
                    </a:lnTo>
                    <a:lnTo>
                      <a:pt x="751617" y="1204555"/>
                    </a:lnTo>
                    <a:lnTo>
                      <a:pt x="659186" y="1184541"/>
                    </a:lnTo>
                    <a:lnTo>
                      <a:pt x="565370" y="1217651"/>
                    </a:lnTo>
                    <a:lnTo>
                      <a:pt x="541952" y="1244873"/>
                    </a:lnTo>
                    <a:lnTo>
                      <a:pt x="455310" y="1241702"/>
                    </a:lnTo>
                    <a:lnTo>
                      <a:pt x="451184" y="1222468"/>
                    </a:lnTo>
                    <a:lnTo>
                      <a:pt x="393489" y="1212046"/>
                    </a:lnTo>
                    <a:lnTo>
                      <a:pt x="356401" y="1169412"/>
                    </a:lnTo>
                    <a:lnTo>
                      <a:pt x="333688" y="1063747"/>
                    </a:lnTo>
                    <a:lnTo>
                      <a:pt x="261377" y="1051632"/>
                    </a:lnTo>
                    <a:lnTo>
                      <a:pt x="184950" y="1008174"/>
                    </a:lnTo>
                    <a:lnTo>
                      <a:pt x="116797" y="1004450"/>
                    </a:lnTo>
                    <a:lnTo>
                      <a:pt x="104967" y="982832"/>
                    </a:lnTo>
                    <a:lnTo>
                      <a:pt x="35966" y="957335"/>
                    </a:lnTo>
                    <a:lnTo>
                      <a:pt x="18151" y="924248"/>
                    </a:lnTo>
                    <a:lnTo>
                      <a:pt x="1418" y="925658"/>
                    </a:lnTo>
                    <a:lnTo>
                      <a:pt x="-666" y="90191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7" name="Амурская область">
                <a:extLst>
                  <a:ext uri="{FF2B5EF4-FFF2-40B4-BE49-F238E27FC236}">
                    <a16:creationId xmlns:a16="http://schemas.microsoft.com/office/drawing/2014/main" id="{140918A3-515A-4FA4-9772-F9814787D6B7}"/>
                  </a:ext>
                </a:extLst>
              </p:cNvPr>
              <p:cNvSpPr/>
              <p:nvPr/>
            </p:nvSpPr>
            <p:spPr>
              <a:xfrm>
                <a:off x="6982103" y="1347913"/>
                <a:ext cx="2999912" cy="3446035"/>
              </a:xfrm>
              <a:custGeom>
                <a:avLst/>
                <a:gdLst>
                  <a:gd name="connsiteX0" fmla="*/ 1196296 w 2999912"/>
                  <a:gd name="connsiteY0" fmla="*/ 565145 h 3446035"/>
                  <a:gd name="connsiteX1" fmla="*/ 1200975 w 2999912"/>
                  <a:gd name="connsiteY1" fmla="*/ 529356 h 3446035"/>
                  <a:gd name="connsiteX2" fmla="*/ 1239518 w 2999912"/>
                  <a:gd name="connsiteY2" fmla="*/ 515909 h 3446035"/>
                  <a:gd name="connsiteX3" fmla="*/ 1300546 w 2999912"/>
                  <a:gd name="connsiteY3" fmla="*/ 538973 h 3446035"/>
                  <a:gd name="connsiteX4" fmla="*/ 1318931 w 2999912"/>
                  <a:gd name="connsiteY4" fmla="*/ 572326 h 3446035"/>
                  <a:gd name="connsiteX5" fmla="*/ 1307255 w 2999912"/>
                  <a:gd name="connsiteY5" fmla="*/ 601801 h 3446035"/>
                  <a:gd name="connsiteX6" fmla="*/ 1278947 w 2999912"/>
                  <a:gd name="connsiteY6" fmla="*/ 612654 h 3446035"/>
                  <a:gd name="connsiteX7" fmla="*/ 1213570 w 2999912"/>
                  <a:gd name="connsiteY7" fmla="*/ 587239 h 3446035"/>
                  <a:gd name="connsiteX8" fmla="*/ 1196296 w 2999912"/>
                  <a:gd name="connsiteY8" fmla="*/ 565145 h 3446035"/>
                  <a:gd name="connsiteX9" fmla="*/ 1439214 w 2999912"/>
                  <a:gd name="connsiteY9" fmla="*/ 572588 h 3446035"/>
                  <a:gd name="connsiteX10" fmla="*/ 1437716 w 2999912"/>
                  <a:gd name="connsiteY10" fmla="*/ 542205 h 3446035"/>
                  <a:gd name="connsiteX11" fmla="*/ 1459193 w 2999912"/>
                  <a:gd name="connsiteY11" fmla="*/ 511904 h 3446035"/>
                  <a:gd name="connsiteX12" fmla="*/ 1406062 w 2999912"/>
                  <a:gd name="connsiteY12" fmla="*/ 483864 h 3446035"/>
                  <a:gd name="connsiteX13" fmla="*/ 1384881 w 2999912"/>
                  <a:gd name="connsiteY13" fmla="*/ 445082 h 3446035"/>
                  <a:gd name="connsiteX14" fmla="*/ 1394836 w 2999912"/>
                  <a:gd name="connsiteY14" fmla="*/ 411956 h 3446035"/>
                  <a:gd name="connsiteX15" fmla="*/ 1425794 w 2999912"/>
                  <a:gd name="connsiteY15" fmla="*/ 386668 h 3446035"/>
                  <a:gd name="connsiteX16" fmla="*/ 1608157 w 2999912"/>
                  <a:gd name="connsiteY16" fmla="*/ 408168 h 3446035"/>
                  <a:gd name="connsiteX17" fmla="*/ 1668345 w 2999912"/>
                  <a:gd name="connsiteY17" fmla="*/ 461819 h 3446035"/>
                  <a:gd name="connsiteX18" fmla="*/ 1668345 w 2999912"/>
                  <a:gd name="connsiteY18" fmla="*/ 488400 h 3446035"/>
                  <a:gd name="connsiteX19" fmla="*/ 1640309 w 2999912"/>
                  <a:gd name="connsiteY19" fmla="*/ 519264 h 3446035"/>
                  <a:gd name="connsiteX20" fmla="*/ 1529399 w 2999912"/>
                  <a:gd name="connsiteY20" fmla="*/ 556617 h 3446035"/>
                  <a:gd name="connsiteX21" fmla="*/ 1483387 w 2999912"/>
                  <a:gd name="connsiteY21" fmla="*/ 592101 h 3446035"/>
                  <a:gd name="connsiteX22" fmla="*/ 1439203 w 2999912"/>
                  <a:gd name="connsiteY22" fmla="*/ 572587 h 3446035"/>
                  <a:gd name="connsiteX23" fmla="*/ 1106925 w 2999912"/>
                  <a:gd name="connsiteY23" fmla="*/ 400237 h 3446035"/>
                  <a:gd name="connsiteX24" fmla="*/ 1081909 w 2999912"/>
                  <a:gd name="connsiteY24" fmla="*/ 311469 h 3446035"/>
                  <a:gd name="connsiteX25" fmla="*/ 1102543 w 2999912"/>
                  <a:gd name="connsiteY25" fmla="*/ 291297 h 3446035"/>
                  <a:gd name="connsiteX26" fmla="*/ 1140099 w 2999912"/>
                  <a:gd name="connsiteY26" fmla="*/ 285720 h 3446035"/>
                  <a:gd name="connsiteX27" fmla="*/ 1168504 w 2999912"/>
                  <a:gd name="connsiteY27" fmla="*/ 199221 h 3446035"/>
                  <a:gd name="connsiteX28" fmla="*/ 1228394 w 2999912"/>
                  <a:gd name="connsiteY28" fmla="*/ 136344 h 3446035"/>
                  <a:gd name="connsiteX29" fmla="*/ 1471929 w 2999912"/>
                  <a:gd name="connsiteY29" fmla="*/ 104180 h 3446035"/>
                  <a:gd name="connsiteX30" fmla="*/ 1510038 w 2999912"/>
                  <a:gd name="connsiteY30" fmla="*/ 72677 h 3446035"/>
                  <a:gd name="connsiteX31" fmla="*/ 1708987 w 2999912"/>
                  <a:gd name="connsiteY31" fmla="*/ -157 h 3446035"/>
                  <a:gd name="connsiteX32" fmla="*/ 1746774 w 2999912"/>
                  <a:gd name="connsiteY32" fmla="*/ 11466 h 3446035"/>
                  <a:gd name="connsiteX33" fmla="*/ 1767487 w 2999912"/>
                  <a:gd name="connsiteY33" fmla="*/ 72713 h 3446035"/>
                  <a:gd name="connsiteX34" fmla="*/ 1732660 w 2999912"/>
                  <a:gd name="connsiteY34" fmla="*/ 141935 h 3446035"/>
                  <a:gd name="connsiteX35" fmla="*/ 1669053 w 2999912"/>
                  <a:gd name="connsiteY35" fmla="*/ 182641 h 3446035"/>
                  <a:gd name="connsiteX36" fmla="*/ 1555440 w 2999912"/>
                  <a:gd name="connsiteY36" fmla="*/ 190084 h 3446035"/>
                  <a:gd name="connsiteX37" fmla="*/ 1480243 w 2999912"/>
                  <a:gd name="connsiteY37" fmla="*/ 322351 h 3446035"/>
                  <a:gd name="connsiteX38" fmla="*/ 1419973 w 2999912"/>
                  <a:gd name="connsiteY38" fmla="*/ 343506 h 3446035"/>
                  <a:gd name="connsiteX39" fmla="*/ 1354869 w 2999912"/>
                  <a:gd name="connsiteY39" fmla="*/ 437542 h 3446035"/>
                  <a:gd name="connsiteX40" fmla="*/ 1285880 w 2999912"/>
                  <a:gd name="connsiteY40" fmla="*/ 447914 h 3446035"/>
                  <a:gd name="connsiteX41" fmla="*/ 1197945 w 2999912"/>
                  <a:gd name="connsiteY41" fmla="*/ 410205 h 3446035"/>
                  <a:gd name="connsiteX42" fmla="*/ 1132172 w 2999912"/>
                  <a:gd name="connsiteY42" fmla="*/ 423235 h 3446035"/>
                  <a:gd name="connsiteX43" fmla="*/ 1106925 w 2999912"/>
                  <a:gd name="connsiteY43" fmla="*/ 400237 h 3446035"/>
                  <a:gd name="connsiteX44" fmla="*/ -663 w 2999912"/>
                  <a:gd name="connsiteY44" fmla="*/ 2067105 h 3446035"/>
                  <a:gd name="connsiteX45" fmla="*/ 26350 w 2999912"/>
                  <a:gd name="connsiteY45" fmla="*/ 2061067 h 3446035"/>
                  <a:gd name="connsiteX46" fmla="*/ 32133 w 2999912"/>
                  <a:gd name="connsiteY46" fmla="*/ 2040785 h 3446035"/>
                  <a:gd name="connsiteX47" fmla="*/ 76059 w 2999912"/>
                  <a:gd name="connsiteY47" fmla="*/ 2010529 h 3446035"/>
                  <a:gd name="connsiteX48" fmla="*/ 57782 w 2999912"/>
                  <a:gd name="connsiteY48" fmla="*/ 1773500 h 3446035"/>
                  <a:gd name="connsiteX49" fmla="*/ 7630 w 2999912"/>
                  <a:gd name="connsiteY49" fmla="*/ 1686992 h 3446035"/>
                  <a:gd name="connsiteX50" fmla="*/ 22298 w 2999912"/>
                  <a:gd name="connsiteY50" fmla="*/ 1664148 h 3446035"/>
                  <a:gd name="connsiteX51" fmla="*/ 44873 w 2999912"/>
                  <a:gd name="connsiteY51" fmla="*/ 1670744 h 3446035"/>
                  <a:gd name="connsiteX52" fmla="*/ 103722 w 2999912"/>
                  <a:gd name="connsiteY52" fmla="*/ 1641806 h 3446035"/>
                  <a:gd name="connsiteX53" fmla="*/ 117285 w 2999912"/>
                  <a:gd name="connsiteY53" fmla="*/ 1610994 h 3446035"/>
                  <a:gd name="connsiteX54" fmla="*/ 177683 w 2999912"/>
                  <a:gd name="connsiteY54" fmla="*/ 1615474 h 3446035"/>
                  <a:gd name="connsiteX55" fmla="*/ 185670 w 2999912"/>
                  <a:gd name="connsiteY55" fmla="*/ 1574858 h 3446035"/>
                  <a:gd name="connsiteX56" fmla="*/ 168412 w 2999912"/>
                  <a:gd name="connsiteY56" fmla="*/ 1549212 h 3446035"/>
                  <a:gd name="connsiteX57" fmla="*/ 183678 w 2999912"/>
                  <a:gd name="connsiteY57" fmla="*/ 1521013 h 3446035"/>
                  <a:gd name="connsiteX58" fmla="*/ 218963 w 2999912"/>
                  <a:gd name="connsiteY58" fmla="*/ 1510517 h 3446035"/>
                  <a:gd name="connsiteX59" fmla="*/ 203796 w 2999912"/>
                  <a:gd name="connsiteY59" fmla="*/ 1476561 h 3446035"/>
                  <a:gd name="connsiteX60" fmla="*/ 323097 w 2999912"/>
                  <a:gd name="connsiteY60" fmla="*/ 1383524 h 3446035"/>
                  <a:gd name="connsiteX61" fmla="*/ 325740 w 2999912"/>
                  <a:gd name="connsiteY61" fmla="*/ 1359335 h 3446035"/>
                  <a:gd name="connsiteX62" fmla="*/ 284029 w 2999912"/>
                  <a:gd name="connsiteY62" fmla="*/ 1343006 h 3446035"/>
                  <a:gd name="connsiteX63" fmla="*/ 264847 w 2999912"/>
                  <a:gd name="connsiteY63" fmla="*/ 1232106 h 3446035"/>
                  <a:gd name="connsiteX64" fmla="*/ 238327 w 2999912"/>
                  <a:gd name="connsiteY64" fmla="*/ 1204994 h 3446035"/>
                  <a:gd name="connsiteX65" fmla="*/ 208537 w 2999912"/>
                  <a:gd name="connsiteY65" fmla="*/ 1199655 h 3446035"/>
                  <a:gd name="connsiteX66" fmla="*/ 220437 w 2999912"/>
                  <a:gd name="connsiteY66" fmla="*/ 1178608 h 3446035"/>
                  <a:gd name="connsiteX67" fmla="*/ 182407 w 2999912"/>
                  <a:gd name="connsiteY67" fmla="*/ 1145722 h 3446035"/>
                  <a:gd name="connsiteX68" fmla="*/ 182083 w 2999912"/>
                  <a:gd name="connsiteY68" fmla="*/ 1082047 h 3446035"/>
                  <a:gd name="connsiteX69" fmla="*/ 159791 w 2999912"/>
                  <a:gd name="connsiteY69" fmla="*/ 1087144 h 3446035"/>
                  <a:gd name="connsiteX70" fmla="*/ 168920 w 2999912"/>
                  <a:gd name="connsiteY70" fmla="*/ 1067537 h 3446035"/>
                  <a:gd name="connsiteX71" fmla="*/ 141484 w 2999912"/>
                  <a:gd name="connsiteY71" fmla="*/ 1049408 h 3446035"/>
                  <a:gd name="connsiteX72" fmla="*/ 191647 w 2999912"/>
                  <a:gd name="connsiteY72" fmla="*/ 1009727 h 3446035"/>
                  <a:gd name="connsiteX73" fmla="*/ 166774 w 2999912"/>
                  <a:gd name="connsiteY73" fmla="*/ 991712 h 3446035"/>
                  <a:gd name="connsiteX74" fmla="*/ 210074 w 2999912"/>
                  <a:gd name="connsiteY74" fmla="*/ 943630 h 3446035"/>
                  <a:gd name="connsiteX75" fmla="*/ 205109 w 2999912"/>
                  <a:gd name="connsiteY75" fmla="*/ 927678 h 3446035"/>
                  <a:gd name="connsiteX76" fmla="*/ 137465 w 2999912"/>
                  <a:gd name="connsiteY76" fmla="*/ 905252 h 3446035"/>
                  <a:gd name="connsiteX77" fmla="*/ 214070 w 2999912"/>
                  <a:gd name="connsiteY77" fmla="*/ 841091 h 3446035"/>
                  <a:gd name="connsiteX78" fmla="*/ 239561 w 2999912"/>
                  <a:gd name="connsiteY78" fmla="*/ 793624 h 3446035"/>
                  <a:gd name="connsiteX79" fmla="*/ 268546 w 2999912"/>
                  <a:gd name="connsiteY79" fmla="*/ 778111 h 3446035"/>
                  <a:gd name="connsiteX80" fmla="*/ 271193 w 2999912"/>
                  <a:gd name="connsiteY80" fmla="*/ 817361 h 3446035"/>
                  <a:gd name="connsiteX81" fmla="*/ 304235 w 2999912"/>
                  <a:gd name="connsiteY81" fmla="*/ 865285 h 3446035"/>
                  <a:gd name="connsiteX82" fmla="*/ 308544 w 2999912"/>
                  <a:gd name="connsiteY82" fmla="*/ 949865 h 3446035"/>
                  <a:gd name="connsiteX83" fmla="*/ 327049 w 2999912"/>
                  <a:gd name="connsiteY83" fmla="*/ 954282 h 3446035"/>
                  <a:gd name="connsiteX84" fmla="*/ 388286 w 2999912"/>
                  <a:gd name="connsiteY84" fmla="*/ 923979 h 3446035"/>
                  <a:gd name="connsiteX85" fmla="*/ 540329 w 2999912"/>
                  <a:gd name="connsiteY85" fmla="*/ 911650 h 3446035"/>
                  <a:gd name="connsiteX86" fmla="*/ 665616 w 2999912"/>
                  <a:gd name="connsiteY86" fmla="*/ 970340 h 3446035"/>
                  <a:gd name="connsiteX87" fmla="*/ 714901 w 2999912"/>
                  <a:gd name="connsiteY87" fmla="*/ 936252 h 3446035"/>
                  <a:gd name="connsiteX88" fmla="*/ 720635 w 2999912"/>
                  <a:gd name="connsiteY88" fmla="*/ 908822 h 3446035"/>
                  <a:gd name="connsiteX89" fmla="*/ 687844 w 2999912"/>
                  <a:gd name="connsiteY89" fmla="*/ 822403 h 3446035"/>
                  <a:gd name="connsiteX90" fmla="*/ 704440 w 2999912"/>
                  <a:gd name="connsiteY90" fmla="*/ 790250 h 3446035"/>
                  <a:gd name="connsiteX91" fmla="*/ 792108 w 2999912"/>
                  <a:gd name="connsiteY91" fmla="*/ 768309 h 3446035"/>
                  <a:gd name="connsiteX92" fmla="*/ 893373 w 2999912"/>
                  <a:gd name="connsiteY92" fmla="*/ 795341 h 3446035"/>
                  <a:gd name="connsiteX93" fmla="*/ 969171 w 2999912"/>
                  <a:gd name="connsiteY93" fmla="*/ 777410 h 3446035"/>
                  <a:gd name="connsiteX94" fmla="*/ 1088542 w 2999912"/>
                  <a:gd name="connsiteY94" fmla="*/ 826114 h 3446035"/>
                  <a:gd name="connsiteX95" fmla="*/ 1137396 w 2999912"/>
                  <a:gd name="connsiteY95" fmla="*/ 922230 h 3446035"/>
                  <a:gd name="connsiteX96" fmla="*/ 1151043 w 2999912"/>
                  <a:gd name="connsiteY96" fmla="*/ 992754 h 3446035"/>
                  <a:gd name="connsiteX97" fmla="*/ 1202763 w 2999912"/>
                  <a:gd name="connsiteY97" fmla="*/ 1021454 h 3446035"/>
                  <a:gd name="connsiteX98" fmla="*/ 1212705 w 2999912"/>
                  <a:gd name="connsiteY98" fmla="*/ 1072857 h 3446035"/>
                  <a:gd name="connsiteX99" fmla="*/ 1240071 w 2999912"/>
                  <a:gd name="connsiteY99" fmla="*/ 1075867 h 3446035"/>
                  <a:gd name="connsiteX100" fmla="*/ 1257206 w 2999912"/>
                  <a:gd name="connsiteY100" fmla="*/ 1055670 h 3446035"/>
                  <a:gd name="connsiteX101" fmla="*/ 1241127 w 2999912"/>
                  <a:gd name="connsiteY101" fmla="*/ 942260 h 3446035"/>
                  <a:gd name="connsiteX102" fmla="*/ 1256980 w 2999912"/>
                  <a:gd name="connsiteY102" fmla="*/ 902419 h 3446035"/>
                  <a:gd name="connsiteX103" fmla="*/ 1308587 w 2999912"/>
                  <a:gd name="connsiteY103" fmla="*/ 884988 h 3446035"/>
                  <a:gd name="connsiteX104" fmla="*/ 1337095 w 2999912"/>
                  <a:gd name="connsiteY104" fmla="*/ 904797 h 3446035"/>
                  <a:gd name="connsiteX105" fmla="*/ 1346738 w 2999912"/>
                  <a:gd name="connsiteY105" fmla="*/ 940815 h 3446035"/>
                  <a:gd name="connsiteX106" fmla="*/ 1369101 w 2999912"/>
                  <a:gd name="connsiteY106" fmla="*/ 942410 h 3446035"/>
                  <a:gd name="connsiteX107" fmla="*/ 1418249 w 2999912"/>
                  <a:gd name="connsiteY107" fmla="*/ 869226 h 3446035"/>
                  <a:gd name="connsiteX108" fmla="*/ 1500780 w 2999912"/>
                  <a:gd name="connsiteY108" fmla="*/ 831457 h 3446035"/>
                  <a:gd name="connsiteX109" fmla="*/ 1504266 w 2999912"/>
                  <a:gd name="connsiteY109" fmla="*/ 684619 h 3446035"/>
                  <a:gd name="connsiteX110" fmla="*/ 1529821 w 2999912"/>
                  <a:gd name="connsiteY110" fmla="*/ 645370 h 3446035"/>
                  <a:gd name="connsiteX111" fmla="*/ 1519285 w 2999912"/>
                  <a:gd name="connsiteY111" fmla="*/ 601167 h 3446035"/>
                  <a:gd name="connsiteX112" fmla="*/ 1535750 w 2999912"/>
                  <a:gd name="connsiteY112" fmla="*/ 573160 h 3446035"/>
                  <a:gd name="connsiteX113" fmla="*/ 1604045 w 2999912"/>
                  <a:gd name="connsiteY113" fmla="*/ 557909 h 3446035"/>
                  <a:gd name="connsiteX114" fmla="*/ 1959001 w 2999912"/>
                  <a:gd name="connsiteY114" fmla="*/ 395090 h 3446035"/>
                  <a:gd name="connsiteX115" fmla="*/ 2017778 w 2999912"/>
                  <a:gd name="connsiteY115" fmla="*/ 399186 h 3446035"/>
                  <a:gd name="connsiteX116" fmla="*/ 2065240 w 2999912"/>
                  <a:gd name="connsiteY116" fmla="*/ 430725 h 3446035"/>
                  <a:gd name="connsiteX117" fmla="*/ 2148314 w 2999912"/>
                  <a:gd name="connsiteY117" fmla="*/ 422075 h 3446035"/>
                  <a:gd name="connsiteX118" fmla="*/ 2220167 w 2999912"/>
                  <a:gd name="connsiteY118" fmla="*/ 440129 h 3446035"/>
                  <a:gd name="connsiteX119" fmla="*/ 2310701 w 2999912"/>
                  <a:gd name="connsiteY119" fmla="*/ 294759 h 3446035"/>
                  <a:gd name="connsiteX120" fmla="*/ 2390112 w 2999912"/>
                  <a:gd name="connsiteY120" fmla="*/ 224621 h 3446035"/>
                  <a:gd name="connsiteX121" fmla="*/ 2470002 w 2999912"/>
                  <a:gd name="connsiteY121" fmla="*/ 189721 h 3446035"/>
                  <a:gd name="connsiteX122" fmla="*/ 2484799 w 2999912"/>
                  <a:gd name="connsiteY122" fmla="*/ 141907 h 3446035"/>
                  <a:gd name="connsiteX123" fmla="*/ 2534212 w 2999912"/>
                  <a:gd name="connsiteY123" fmla="*/ 84785 h 3446035"/>
                  <a:gd name="connsiteX124" fmla="*/ 2616695 w 2999912"/>
                  <a:gd name="connsiteY124" fmla="*/ 68234 h 3446035"/>
                  <a:gd name="connsiteX125" fmla="*/ 2642665 w 2999912"/>
                  <a:gd name="connsiteY125" fmla="*/ 84009 h 3446035"/>
                  <a:gd name="connsiteX126" fmla="*/ 2636670 w 2999912"/>
                  <a:gd name="connsiteY126" fmla="*/ 127551 h 3446035"/>
                  <a:gd name="connsiteX127" fmla="*/ 2563255 w 2999912"/>
                  <a:gd name="connsiteY127" fmla="*/ 178999 h 3446035"/>
                  <a:gd name="connsiteX128" fmla="*/ 2565055 w 2999912"/>
                  <a:gd name="connsiteY128" fmla="*/ 197477 h 3446035"/>
                  <a:gd name="connsiteX129" fmla="*/ 2622029 w 2999912"/>
                  <a:gd name="connsiteY129" fmla="*/ 251533 h 3446035"/>
                  <a:gd name="connsiteX130" fmla="*/ 2637962 w 2999912"/>
                  <a:gd name="connsiteY130" fmla="*/ 257895 h 3446035"/>
                  <a:gd name="connsiteX131" fmla="*/ 2678070 w 2999912"/>
                  <a:gd name="connsiteY131" fmla="*/ 223841 h 3446035"/>
                  <a:gd name="connsiteX132" fmla="*/ 2709150 w 2999912"/>
                  <a:gd name="connsiteY132" fmla="*/ 173906 h 3446035"/>
                  <a:gd name="connsiteX133" fmla="*/ 2758675 w 2999912"/>
                  <a:gd name="connsiteY133" fmla="*/ 227769 h 3446035"/>
                  <a:gd name="connsiteX134" fmla="*/ 2803110 w 2999912"/>
                  <a:gd name="connsiteY134" fmla="*/ 228342 h 3446035"/>
                  <a:gd name="connsiteX135" fmla="*/ 2805846 w 2999912"/>
                  <a:gd name="connsiteY135" fmla="*/ 253850 h 3446035"/>
                  <a:gd name="connsiteX136" fmla="*/ 2846282 w 2999912"/>
                  <a:gd name="connsiteY136" fmla="*/ 260682 h 3446035"/>
                  <a:gd name="connsiteX137" fmla="*/ 2843992 w 2999912"/>
                  <a:gd name="connsiteY137" fmla="*/ 278527 h 3446035"/>
                  <a:gd name="connsiteX138" fmla="*/ 2873411 w 2999912"/>
                  <a:gd name="connsiteY138" fmla="*/ 290093 h 3446035"/>
                  <a:gd name="connsiteX139" fmla="*/ 2896375 w 2999912"/>
                  <a:gd name="connsiteY139" fmla="*/ 323961 h 3446035"/>
                  <a:gd name="connsiteX140" fmla="*/ 2897710 w 2999912"/>
                  <a:gd name="connsiteY140" fmla="*/ 336816 h 3446035"/>
                  <a:gd name="connsiteX141" fmla="*/ 2849707 w 2999912"/>
                  <a:gd name="connsiteY141" fmla="*/ 369972 h 3446035"/>
                  <a:gd name="connsiteX142" fmla="*/ 2764771 w 2999912"/>
                  <a:gd name="connsiteY142" fmla="*/ 543035 h 3446035"/>
                  <a:gd name="connsiteX143" fmla="*/ 2775406 w 2999912"/>
                  <a:gd name="connsiteY143" fmla="*/ 574619 h 3446035"/>
                  <a:gd name="connsiteX144" fmla="*/ 2805135 w 2999912"/>
                  <a:gd name="connsiteY144" fmla="*/ 576558 h 3446035"/>
                  <a:gd name="connsiteX145" fmla="*/ 2787919 w 2999912"/>
                  <a:gd name="connsiteY145" fmla="*/ 595630 h 3446035"/>
                  <a:gd name="connsiteX146" fmla="*/ 2802737 w 2999912"/>
                  <a:gd name="connsiteY146" fmla="*/ 626745 h 3446035"/>
                  <a:gd name="connsiteX147" fmla="*/ 2833814 w 2999912"/>
                  <a:gd name="connsiteY147" fmla="*/ 646372 h 3446035"/>
                  <a:gd name="connsiteX148" fmla="*/ 2898995 w 2999912"/>
                  <a:gd name="connsiteY148" fmla="*/ 632373 h 3446035"/>
                  <a:gd name="connsiteX149" fmla="*/ 2941397 w 2999912"/>
                  <a:gd name="connsiteY149" fmla="*/ 649694 h 3446035"/>
                  <a:gd name="connsiteX150" fmla="*/ 2954410 w 2999912"/>
                  <a:gd name="connsiteY150" fmla="*/ 711750 h 3446035"/>
                  <a:gd name="connsiteX151" fmla="*/ 2999246 w 2999912"/>
                  <a:gd name="connsiteY151" fmla="*/ 740422 h 3446035"/>
                  <a:gd name="connsiteX152" fmla="*/ 2965668 w 2999912"/>
                  <a:gd name="connsiteY152" fmla="*/ 776201 h 3446035"/>
                  <a:gd name="connsiteX153" fmla="*/ 2965502 w 2999912"/>
                  <a:gd name="connsiteY153" fmla="*/ 822915 h 3446035"/>
                  <a:gd name="connsiteX154" fmla="*/ 2908384 w 2999912"/>
                  <a:gd name="connsiteY154" fmla="*/ 816810 h 3446035"/>
                  <a:gd name="connsiteX155" fmla="*/ 2915145 w 2999912"/>
                  <a:gd name="connsiteY155" fmla="*/ 844720 h 3446035"/>
                  <a:gd name="connsiteX156" fmla="*/ 2870478 w 2999912"/>
                  <a:gd name="connsiteY156" fmla="*/ 862395 h 3446035"/>
                  <a:gd name="connsiteX157" fmla="*/ 2837356 w 2999912"/>
                  <a:gd name="connsiteY157" fmla="*/ 907208 h 3446035"/>
                  <a:gd name="connsiteX158" fmla="*/ 2808166 w 2999912"/>
                  <a:gd name="connsiteY158" fmla="*/ 912226 h 3446035"/>
                  <a:gd name="connsiteX159" fmla="*/ 2813673 w 2999912"/>
                  <a:gd name="connsiteY159" fmla="*/ 944278 h 3446035"/>
                  <a:gd name="connsiteX160" fmla="*/ 2828670 w 2999912"/>
                  <a:gd name="connsiteY160" fmla="*/ 941028 h 3446035"/>
                  <a:gd name="connsiteX161" fmla="*/ 2841648 w 2999912"/>
                  <a:gd name="connsiteY161" fmla="*/ 969352 h 3446035"/>
                  <a:gd name="connsiteX162" fmla="*/ 2819967 w 2999912"/>
                  <a:gd name="connsiteY162" fmla="*/ 975965 h 3446035"/>
                  <a:gd name="connsiteX163" fmla="*/ 2806949 w 2999912"/>
                  <a:gd name="connsiteY163" fmla="*/ 1002264 h 3446035"/>
                  <a:gd name="connsiteX164" fmla="*/ 2855524 w 2999912"/>
                  <a:gd name="connsiteY164" fmla="*/ 1055850 h 3446035"/>
                  <a:gd name="connsiteX165" fmla="*/ 2831433 w 2999912"/>
                  <a:gd name="connsiteY165" fmla="*/ 1106061 h 3446035"/>
                  <a:gd name="connsiteX166" fmla="*/ 2853768 w 2999912"/>
                  <a:gd name="connsiteY166" fmla="*/ 1149115 h 3446035"/>
                  <a:gd name="connsiteX167" fmla="*/ 2893028 w 2999912"/>
                  <a:gd name="connsiteY167" fmla="*/ 1158711 h 3446035"/>
                  <a:gd name="connsiteX168" fmla="*/ 2887806 w 2999912"/>
                  <a:gd name="connsiteY168" fmla="*/ 1199506 h 3446035"/>
                  <a:gd name="connsiteX169" fmla="*/ 2906296 w 2999912"/>
                  <a:gd name="connsiteY169" fmla="*/ 1212872 h 3446035"/>
                  <a:gd name="connsiteX170" fmla="*/ 2895016 w 2999912"/>
                  <a:gd name="connsiteY170" fmla="*/ 1231197 h 3446035"/>
                  <a:gd name="connsiteX171" fmla="*/ 2872243 w 2999912"/>
                  <a:gd name="connsiteY171" fmla="*/ 1223160 h 3446035"/>
                  <a:gd name="connsiteX172" fmla="*/ 2860427 w 2999912"/>
                  <a:gd name="connsiteY172" fmla="*/ 1267300 h 3446035"/>
                  <a:gd name="connsiteX173" fmla="*/ 2821075 w 2999912"/>
                  <a:gd name="connsiteY173" fmla="*/ 1300483 h 3446035"/>
                  <a:gd name="connsiteX174" fmla="*/ 2833644 w 2999912"/>
                  <a:gd name="connsiteY174" fmla="*/ 1325467 h 3446035"/>
                  <a:gd name="connsiteX175" fmla="*/ 2798395 w 2999912"/>
                  <a:gd name="connsiteY175" fmla="*/ 1332729 h 3446035"/>
                  <a:gd name="connsiteX176" fmla="*/ 2781486 w 2999912"/>
                  <a:gd name="connsiteY176" fmla="*/ 1308330 h 3446035"/>
                  <a:gd name="connsiteX177" fmla="*/ 2762459 w 2999912"/>
                  <a:gd name="connsiteY177" fmla="*/ 1307860 h 3446035"/>
                  <a:gd name="connsiteX178" fmla="*/ 2749391 w 2999912"/>
                  <a:gd name="connsiteY178" fmla="*/ 1354989 h 3446035"/>
                  <a:gd name="connsiteX179" fmla="*/ 2713952 w 2999912"/>
                  <a:gd name="connsiteY179" fmla="*/ 1379653 h 3446035"/>
                  <a:gd name="connsiteX180" fmla="*/ 2681673 w 2999912"/>
                  <a:gd name="connsiteY180" fmla="*/ 1380920 h 3446035"/>
                  <a:gd name="connsiteX181" fmla="*/ 2678492 w 2999912"/>
                  <a:gd name="connsiteY181" fmla="*/ 1407359 h 3446035"/>
                  <a:gd name="connsiteX182" fmla="*/ 2711288 w 2999912"/>
                  <a:gd name="connsiteY182" fmla="*/ 1418626 h 3446035"/>
                  <a:gd name="connsiteX183" fmla="*/ 2723687 w 2999912"/>
                  <a:gd name="connsiteY183" fmla="*/ 1465841 h 3446035"/>
                  <a:gd name="connsiteX184" fmla="*/ 2697666 w 2999912"/>
                  <a:gd name="connsiteY184" fmla="*/ 1471905 h 3446035"/>
                  <a:gd name="connsiteX185" fmla="*/ 2679876 w 2999912"/>
                  <a:gd name="connsiteY185" fmla="*/ 1452886 h 3446035"/>
                  <a:gd name="connsiteX186" fmla="*/ 2676729 w 2999912"/>
                  <a:gd name="connsiteY186" fmla="*/ 1487289 h 3446035"/>
                  <a:gd name="connsiteX187" fmla="*/ 2610187 w 2999912"/>
                  <a:gd name="connsiteY187" fmla="*/ 1505504 h 3446035"/>
                  <a:gd name="connsiteX188" fmla="*/ 2624406 w 2999912"/>
                  <a:gd name="connsiteY188" fmla="*/ 1546395 h 3446035"/>
                  <a:gd name="connsiteX189" fmla="*/ 2601956 w 2999912"/>
                  <a:gd name="connsiteY189" fmla="*/ 1583795 h 3446035"/>
                  <a:gd name="connsiteX190" fmla="*/ 2621425 w 2999912"/>
                  <a:gd name="connsiteY190" fmla="*/ 1598845 h 3446035"/>
                  <a:gd name="connsiteX191" fmla="*/ 2638667 w 2999912"/>
                  <a:gd name="connsiteY191" fmla="*/ 1670139 h 3446035"/>
                  <a:gd name="connsiteX192" fmla="*/ 2717663 w 2999912"/>
                  <a:gd name="connsiteY192" fmla="*/ 1747713 h 3446035"/>
                  <a:gd name="connsiteX193" fmla="*/ 2703443 w 2999912"/>
                  <a:gd name="connsiteY193" fmla="*/ 1770422 h 3446035"/>
                  <a:gd name="connsiteX194" fmla="*/ 2725703 w 2999912"/>
                  <a:gd name="connsiteY194" fmla="*/ 1792571 h 3446035"/>
                  <a:gd name="connsiteX195" fmla="*/ 2719437 w 2999912"/>
                  <a:gd name="connsiteY195" fmla="*/ 1903835 h 3446035"/>
                  <a:gd name="connsiteX196" fmla="*/ 2700112 w 2999912"/>
                  <a:gd name="connsiteY196" fmla="*/ 1913010 h 3446035"/>
                  <a:gd name="connsiteX197" fmla="*/ 2675328 w 2999912"/>
                  <a:gd name="connsiteY197" fmla="*/ 1884216 h 3446035"/>
                  <a:gd name="connsiteX198" fmla="*/ 2672609 w 2999912"/>
                  <a:gd name="connsiteY198" fmla="*/ 1913088 h 3446035"/>
                  <a:gd name="connsiteX199" fmla="*/ 2658135 w 2999912"/>
                  <a:gd name="connsiteY199" fmla="*/ 1892591 h 3446035"/>
                  <a:gd name="connsiteX200" fmla="*/ 2624408 w 2999912"/>
                  <a:gd name="connsiteY200" fmla="*/ 1897792 h 3446035"/>
                  <a:gd name="connsiteX201" fmla="*/ 2629219 w 2999912"/>
                  <a:gd name="connsiteY201" fmla="*/ 1933570 h 3446035"/>
                  <a:gd name="connsiteX202" fmla="*/ 2606388 w 2999912"/>
                  <a:gd name="connsiteY202" fmla="*/ 1938007 h 3446035"/>
                  <a:gd name="connsiteX203" fmla="*/ 2599541 w 2999912"/>
                  <a:gd name="connsiteY203" fmla="*/ 1962049 h 3446035"/>
                  <a:gd name="connsiteX204" fmla="*/ 2565304 w 2999912"/>
                  <a:gd name="connsiteY204" fmla="*/ 1947611 h 3446035"/>
                  <a:gd name="connsiteX205" fmla="*/ 2550622 w 2999912"/>
                  <a:gd name="connsiteY205" fmla="*/ 1969384 h 3446035"/>
                  <a:gd name="connsiteX206" fmla="*/ 2461205 w 2999912"/>
                  <a:gd name="connsiteY206" fmla="*/ 1939338 h 3446035"/>
                  <a:gd name="connsiteX207" fmla="*/ 2441801 w 2999912"/>
                  <a:gd name="connsiteY207" fmla="*/ 1945494 h 3446035"/>
                  <a:gd name="connsiteX208" fmla="*/ 2443229 w 2999912"/>
                  <a:gd name="connsiteY208" fmla="*/ 1966739 h 3446035"/>
                  <a:gd name="connsiteX209" fmla="*/ 2428655 w 2999912"/>
                  <a:gd name="connsiteY209" fmla="*/ 1975126 h 3446035"/>
                  <a:gd name="connsiteX210" fmla="*/ 2452228 w 2999912"/>
                  <a:gd name="connsiteY210" fmla="*/ 2029805 h 3446035"/>
                  <a:gd name="connsiteX211" fmla="*/ 2439592 w 2999912"/>
                  <a:gd name="connsiteY211" fmla="*/ 2049131 h 3446035"/>
                  <a:gd name="connsiteX212" fmla="*/ 2454657 w 2999912"/>
                  <a:gd name="connsiteY212" fmla="*/ 2132514 h 3446035"/>
                  <a:gd name="connsiteX213" fmla="*/ 2414026 w 2999912"/>
                  <a:gd name="connsiteY213" fmla="*/ 2183061 h 3446035"/>
                  <a:gd name="connsiteX214" fmla="*/ 2422480 w 2999912"/>
                  <a:gd name="connsiteY214" fmla="*/ 2201354 h 3446035"/>
                  <a:gd name="connsiteX215" fmla="*/ 2407314 w 2999912"/>
                  <a:gd name="connsiteY215" fmla="*/ 2229501 h 3446035"/>
                  <a:gd name="connsiteX216" fmla="*/ 2419126 w 2999912"/>
                  <a:gd name="connsiteY216" fmla="*/ 2267706 h 3446035"/>
                  <a:gd name="connsiteX217" fmla="*/ 2445965 w 2999912"/>
                  <a:gd name="connsiteY217" fmla="*/ 2279272 h 3446035"/>
                  <a:gd name="connsiteX218" fmla="*/ 2469706 w 2999912"/>
                  <a:gd name="connsiteY218" fmla="*/ 2355342 h 3446035"/>
                  <a:gd name="connsiteX219" fmla="*/ 2517214 w 2999912"/>
                  <a:gd name="connsiteY219" fmla="*/ 2429437 h 3446035"/>
                  <a:gd name="connsiteX220" fmla="*/ 2504121 w 2999912"/>
                  <a:gd name="connsiteY220" fmla="*/ 2434542 h 3446035"/>
                  <a:gd name="connsiteX221" fmla="*/ 2490787 w 2999912"/>
                  <a:gd name="connsiteY221" fmla="*/ 2412321 h 3446035"/>
                  <a:gd name="connsiteX222" fmla="*/ 2468863 w 2999912"/>
                  <a:gd name="connsiteY222" fmla="*/ 2439428 h 3446035"/>
                  <a:gd name="connsiteX223" fmla="*/ 2476399 w 2999912"/>
                  <a:gd name="connsiteY223" fmla="*/ 2470140 h 3446035"/>
                  <a:gd name="connsiteX224" fmla="*/ 2443379 w 2999912"/>
                  <a:gd name="connsiteY224" fmla="*/ 2528625 h 3446035"/>
                  <a:gd name="connsiteX225" fmla="*/ 2355652 w 2999912"/>
                  <a:gd name="connsiteY225" fmla="*/ 2548131 h 3446035"/>
                  <a:gd name="connsiteX226" fmla="*/ 2350974 w 2999912"/>
                  <a:gd name="connsiteY226" fmla="*/ 2621120 h 3446035"/>
                  <a:gd name="connsiteX227" fmla="*/ 2310701 w 2999912"/>
                  <a:gd name="connsiteY227" fmla="*/ 2624067 h 3446035"/>
                  <a:gd name="connsiteX228" fmla="*/ 2300086 w 2999912"/>
                  <a:gd name="connsiteY228" fmla="*/ 2643902 h 3446035"/>
                  <a:gd name="connsiteX229" fmla="*/ 2259111 w 2999912"/>
                  <a:gd name="connsiteY229" fmla="*/ 2644018 h 3446035"/>
                  <a:gd name="connsiteX230" fmla="*/ 2233389 w 2999912"/>
                  <a:gd name="connsiteY230" fmla="*/ 2663182 h 3446035"/>
                  <a:gd name="connsiteX231" fmla="*/ 2219318 w 2999912"/>
                  <a:gd name="connsiteY231" fmla="*/ 2655984 h 3446035"/>
                  <a:gd name="connsiteX232" fmla="*/ 2184228 w 2999912"/>
                  <a:gd name="connsiteY232" fmla="*/ 2707862 h 3446035"/>
                  <a:gd name="connsiteX233" fmla="*/ 2198094 w 2999912"/>
                  <a:gd name="connsiteY233" fmla="*/ 2806942 h 3446035"/>
                  <a:gd name="connsiteX234" fmla="*/ 2176705 w 2999912"/>
                  <a:gd name="connsiteY234" fmla="*/ 2816991 h 3446035"/>
                  <a:gd name="connsiteX235" fmla="*/ 2198887 w 2999912"/>
                  <a:gd name="connsiteY235" fmla="*/ 2851179 h 3446035"/>
                  <a:gd name="connsiteX236" fmla="*/ 2189907 w 2999912"/>
                  <a:gd name="connsiteY236" fmla="*/ 2872275 h 3446035"/>
                  <a:gd name="connsiteX237" fmla="*/ 2206453 w 2999912"/>
                  <a:gd name="connsiteY237" fmla="*/ 2877729 h 3446035"/>
                  <a:gd name="connsiteX238" fmla="*/ 2148034 w 2999912"/>
                  <a:gd name="connsiteY238" fmla="*/ 2886009 h 3446035"/>
                  <a:gd name="connsiteX239" fmla="*/ 2228552 w 2999912"/>
                  <a:gd name="connsiteY239" fmla="*/ 2934887 h 3446035"/>
                  <a:gd name="connsiteX240" fmla="*/ 2210413 w 2999912"/>
                  <a:gd name="connsiteY240" fmla="*/ 2962546 h 3446035"/>
                  <a:gd name="connsiteX241" fmla="*/ 2219837 w 2999912"/>
                  <a:gd name="connsiteY241" fmla="*/ 3004941 h 3446035"/>
                  <a:gd name="connsiteX242" fmla="*/ 2186307 w 2999912"/>
                  <a:gd name="connsiteY242" fmla="*/ 3029300 h 3446035"/>
                  <a:gd name="connsiteX243" fmla="*/ 2224593 w 2999912"/>
                  <a:gd name="connsiteY243" fmla="*/ 3036914 h 3446035"/>
                  <a:gd name="connsiteX244" fmla="*/ 2274058 w 2999912"/>
                  <a:gd name="connsiteY244" fmla="*/ 3072462 h 3446035"/>
                  <a:gd name="connsiteX245" fmla="*/ 2267935 w 2999912"/>
                  <a:gd name="connsiteY245" fmla="*/ 3090202 h 3446035"/>
                  <a:gd name="connsiteX246" fmla="*/ 2285820 w 2999912"/>
                  <a:gd name="connsiteY246" fmla="*/ 3118208 h 3446035"/>
                  <a:gd name="connsiteX247" fmla="*/ 2261611 w 2999912"/>
                  <a:gd name="connsiteY247" fmla="*/ 3113466 h 3446035"/>
                  <a:gd name="connsiteX248" fmla="*/ 2264064 w 2999912"/>
                  <a:gd name="connsiteY248" fmla="*/ 3131764 h 3446035"/>
                  <a:gd name="connsiteX249" fmla="*/ 2243845 w 2999912"/>
                  <a:gd name="connsiteY249" fmla="*/ 3129804 h 3446035"/>
                  <a:gd name="connsiteX250" fmla="*/ 2241858 w 2999912"/>
                  <a:gd name="connsiteY250" fmla="*/ 3149878 h 3446035"/>
                  <a:gd name="connsiteX251" fmla="*/ 2255717 w 2999912"/>
                  <a:gd name="connsiteY251" fmla="*/ 3228358 h 3446035"/>
                  <a:gd name="connsiteX252" fmla="*/ 2276664 w 2999912"/>
                  <a:gd name="connsiteY252" fmla="*/ 3253739 h 3446035"/>
                  <a:gd name="connsiteX253" fmla="*/ 2157298 w 2999912"/>
                  <a:gd name="connsiteY253" fmla="*/ 3299055 h 3446035"/>
                  <a:gd name="connsiteX254" fmla="*/ 2126421 w 2999912"/>
                  <a:gd name="connsiteY254" fmla="*/ 3325312 h 3446035"/>
                  <a:gd name="connsiteX255" fmla="*/ 2134572 w 2999912"/>
                  <a:gd name="connsiteY255" fmla="*/ 3355561 h 3446035"/>
                  <a:gd name="connsiteX256" fmla="*/ 2092379 w 2999912"/>
                  <a:gd name="connsiteY256" fmla="*/ 3365546 h 3446035"/>
                  <a:gd name="connsiteX257" fmla="*/ 2065250 w 2999912"/>
                  <a:gd name="connsiteY257" fmla="*/ 3351510 h 3446035"/>
                  <a:gd name="connsiteX258" fmla="*/ 2018314 w 2999912"/>
                  <a:gd name="connsiteY258" fmla="*/ 3365538 h 3446035"/>
                  <a:gd name="connsiteX259" fmla="*/ 2005245 w 2999912"/>
                  <a:gd name="connsiteY259" fmla="*/ 3396839 h 3446035"/>
                  <a:gd name="connsiteX260" fmla="*/ 1974939 w 2999912"/>
                  <a:gd name="connsiteY260" fmla="*/ 3385764 h 3446035"/>
                  <a:gd name="connsiteX261" fmla="*/ 1924495 w 2999912"/>
                  <a:gd name="connsiteY261" fmla="*/ 3432142 h 3446035"/>
                  <a:gd name="connsiteX262" fmla="*/ 1893611 w 2999912"/>
                  <a:gd name="connsiteY262" fmla="*/ 3439758 h 3446035"/>
                  <a:gd name="connsiteX263" fmla="*/ 1886349 w 2999912"/>
                  <a:gd name="connsiteY263" fmla="*/ 3422227 h 3446035"/>
                  <a:gd name="connsiteX264" fmla="*/ 1861243 w 2999912"/>
                  <a:gd name="connsiteY264" fmla="*/ 3416806 h 3446035"/>
                  <a:gd name="connsiteX265" fmla="*/ 1840891 w 2999912"/>
                  <a:gd name="connsiteY265" fmla="*/ 3435091 h 3446035"/>
                  <a:gd name="connsiteX266" fmla="*/ 1807093 w 2999912"/>
                  <a:gd name="connsiteY266" fmla="*/ 3419890 h 3446035"/>
                  <a:gd name="connsiteX267" fmla="*/ 1747256 w 2999912"/>
                  <a:gd name="connsiteY267" fmla="*/ 3445879 h 3446035"/>
                  <a:gd name="connsiteX268" fmla="*/ 1673123 w 2999912"/>
                  <a:gd name="connsiteY268" fmla="*/ 3389269 h 3446035"/>
                  <a:gd name="connsiteX269" fmla="*/ 1611470 w 2999912"/>
                  <a:gd name="connsiteY269" fmla="*/ 3402107 h 3446035"/>
                  <a:gd name="connsiteX270" fmla="*/ 1578545 w 2999912"/>
                  <a:gd name="connsiteY270" fmla="*/ 3387704 h 3446035"/>
                  <a:gd name="connsiteX271" fmla="*/ 1558651 w 2999912"/>
                  <a:gd name="connsiteY271" fmla="*/ 3412647 h 3446035"/>
                  <a:gd name="connsiteX272" fmla="*/ 1512812 w 2999912"/>
                  <a:gd name="connsiteY272" fmla="*/ 3384995 h 3446035"/>
                  <a:gd name="connsiteX273" fmla="*/ 1468319 w 2999912"/>
                  <a:gd name="connsiteY273" fmla="*/ 3400672 h 3446035"/>
                  <a:gd name="connsiteX274" fmla="*/ 1438970 w 2999912"/>
                  <a:gd name="connsiteY274" fmla="*/ 3369201 h 3446035"/>
                  <a:gd name="connsiteX275" fmla="*/ 1367657 w 2999912"/>
                  <a:gd name="connsiteY275" fmla="*/ 3381893 h 3446035"/>
                  <a:gd name="connsiteX276" fmla="*/ 1316497 w 2999912"/>
                  <a:gd name="connsiteY276" fmla="*/ 3420234 h 3446035"/>
                  <a:gd name="connsiteX277" fmla="*/ 1290745 w 2999912"/>
                  <a:gd name="connsiteY277" fmla="*/ 3405981 h 3446035"/>
                  <a:gd name="connsiteX278" fmla="*/ 1292889 w 2999912"/>
                  <a:gd name="connsiteY278" fmla="*/ 3382339 h 3446035"/>
                  <a:gd name="connsiteX279" fmla="*/ 1258254 w 2999912"/>
                  <a:gd name="connsiteY279" fmla="*/ 3350461 h 3446035"/>
                  <a:gd name="connsiteX280" fmla="*/ 1259508 w 2999912"/>
                  <a:gd name="connsiteY280" fmla="*/ 3323559 h 3446035"/>
                  <a:gd name="connsiteX281" fmla="*/ 1239803 w 2999912"/>
                  <a:gd name="connsiteY281" fmla="*/ 3344334 h 3446035"/>
                  <a:gd name="connsiteX282" fmla="*/ 1216571 w 2999912"/>
                  <a:gd name="connsiteY282" fmla="*/ 3311559 h 3446035"/>
                  <a:gd name="connsiteX283" fmla="*/ 1211104 w 2999912"/>
                  <a:gd name="connsiteY283" fmla="*/ 3246595 h 3446035"/>
                  <a:gd name="connsiteX284" fmla="*/ 1190399 w 2999912"/>
                  <a:gd name="connsiteY284" fmla="*/ 3194622 h 3446035"/>
                  <a:gd name="connsiteX285" fmla="*/ 1157114 w 2999912"/>
                  <a:gd name="connsiteY285" fmla="*/ 3185445 h 3446035"/>
                  <a:gd name="connsiteX286" fmla="*/ 1124661 w 2999912"/>
                  <a:gd name="connsiteY286" fmla="*/ 3065343 h 3446035"/>
                  <a:gd name="connsiteX287" fmla="*/ 1076451 w 2999912"/>
                  <a:gd name="connsiteY287" fmla="*/ 3042288 h 3446035"/>
                  <a:gd name="connsiteX288" fmla="*/ 1062119 w 2999912"/>
                  <a:gd name="connsiteY288" fmla="*/ 3047724 h 3446035"/>
                  <a:gd name="connsiteX289" fmla="*/ 1058846 w 2999912"/>
                  <a:gd name="connsiteY289" fmla="*/ 3079358 h 3446035"/>
                  <a:gd name="connsiteX290" fmla="*/ 1043455 w 2999912"/>
                  <a:gd name="connsiteY290" fmla="*/ 3064816 h 3446035"/>
                  <a:gd name="connsiteX291" fmla="*/ 1031535 w 2999912"/>
                  <a:gd name="connsiteY291" fmla="*/ 3082109 h 3446035"/>
                  <a:gd name="connsiteX292" fmla="*/ 1005621 w 2999912"/>
                  <a:gd name="connsiteY292" fmla="*/ 3082949 h 3446035"/>
                  <a:gd name="connsiteX293" fmla="*/ 991584 w 2999912"/>
                  <a:gd name="connsiteY293" fmla="*/ 3071107 h 3446035"/>
                  <a:gd name="connsiteX294" fmla="*/ 989966 w 2999912"/>
                  <a:gd name="connsiteY294" fmla="*/ 3028877 h 3446035"/>
                  <a:gd name="connsiteX295" fmla="*/ 971876 w 2999912"/>
                  <a:gd name="connsiteY295" fmla="*/ 3025720 h 3446035"/>
                  <a:gd name="connsiteX296" fmla="*/ 993592 w 2999912"/>
                  <a:gd name="connsiteY296" fmla="*/ 3003849 h 3446035"/>
                  <a:gd name="connsiteX297" fmla="*/ 965735 w 2999912"/>
                  <a:gd name="connsiteY297" fmla="*/ 3007025 h 3446035"/>
                  <a:gd name="connsiteX298" fmla="*/ 923852 w 2999912"/>
                  <a:gd name="connsiteY298" fmla="*/ 2963834 h 3446035"/>
                  <a:gd name="connsiteX299" fmla="*/ 853879 w 2999912"/>
                  <a:gd name="connsiteY299" fmla="*/ 2953613 h 3446035"/>
                  <a:gd name="connsiteX300" fmla="*/ 816197 w 2999912"/>
                  <a:gd name="connsiteY300" fmla="*/ 2971220 h 3446035"/>
                  <a:gd name="connsiteX301" fmla="*/ 810417 w 2999912"/>
                  <a:gd name="connsiteY301" fmla="*/ 3013028 h 3446035"/>
                  <a:gd name="connsiteX302" fmla="*/ 779108 w 2999912"/>
                  <a:gd name="connsiteY302" fmla="*/ 3036506 h 3446035"/>
                  <a:gd name="connsiteX303" fmla="*/ 784306 w 2999912"/>
                  <a:gd name="connsiteY303" fmla="*/ 3058004 h 3446035"/>
                  <a:gd name="connsiteX304" fmla="*/ 759634 w 2999912"/>
                  <a:gd name="connsiteY304" fmla="*/ 3101904 h 3446035"/>
                  <a:gd name="connsiteX305" fmla="*/ 721039 w 2999912"/>
                  <a:gd name="connsiteY305" fmla="*/ 3133830 h 3446035"/>
                  <a:gd name="connsiteX306" fmla="*/ 721190 w 2999912"/>
                  <a:gd name="connsiteY306" fmla="*/ 3185867 h 3446035"/>
                  <a:gd name="connsiteX307" fmla="*/ 671454 w 2999912"/>
                  <a:gd name="connsiteY307" fmla="*/ 3229180 h 3446035"/>
                  <a:gd name="connsiteX308" fmla="*/ 658383 w 2999912"/>
                  <a:gd name="connsiteY308" fmla="*/ 3222716 h 3446035"/>
                  <a:gd name="connsiteX309" fmla="*/ 657443 w 2999912"/>
                  <a:gd name="connsiteY309" fmla="*/ 3257343 h 3446035"/>
                  <a:gd name="connsiteX310" fmla="*/ 644622 w 2999912"/>
                  <a:gd name="connsiteY310" fmla="*/ 3218250 h 3446035"/>
                  <a:gd name="connsiteX311" fmla="*/ 656225 w 2999912"/>
                  <a:gd name="connsiteY311" fmla="*/ 3190506 h 3446035"/>
                  <a:gd name="connsiteX312" fmla="*/ 627493 w 2999912"/>
                  <a:gd name="connsiteY312" fmla="*/ 3197963 h 3446035"/>
                  <a:gd name="connsiteX313" fmla="*/ 620760 w 2999912"/>
                  <a:gd name="connsiteY313" fmla="*/ 3162380 h 3446035"/>
                  <a:gd name="connsiteX314" fmla="*/ 601800 w 2999912"/>
                  <a:gd name="connsiteY314" fmla="*/ 3205646 h 3446035"/>
                  <a:gd name="connsiteX315" fmla="*/ 580150 w 2999912"/>
                  <a:gd name="connsiteY315" fmla="*/ 3218043 h 3446035"/>
                  <a:gd name="connsiteX316" fmla="*/ 506009 w 2999912"/>
                  <a:gd name="connsiteY316" fmla="*/ 3221036 h 3446035"/>
                  <a:gd name="connsiteX317" fmla="*/ 476335 w 2999912"/>
                  <a:gd name="connsiteY317" fmla="*/ 3271150 h 3446035"/>
                  <a:gd name="connsiteX318" fmla="*/ 425853 w 2999912"/>
                  <a:gd name="connsiteY318" fmla="*/ 3267590 h 3446035"/>
                  <a:gd name="connsiteX319" fmla="*/ 386308 w 2999912"/>
                  <a:gd name="connsiteY319" fmla="*/ 3208884 h 3446035"/>
                  <a:gd name="connsiteX320" fmla="*/ 404895 w 2999912"/>
                  <a:gd name="connsiteY320" fmla="*/ 3174858 h 3446035"/>
                  <a:gd name="connsiteX321" fmla="*/ 406755 w 2999912"/>
                  <a:gd name="connsiteY321" fmla="*/ 3084307 h 3446035"/>
                  <a:gd name="connsiteX322" fmla="*/ 430319 w 2999912"/>
                  <a:gd name="connsiteY322" fmla="*/ 3024928 h 3446035"/>
                  <a:gd name="connsiteX323" fmla="*/ 422342 w 2999912"/>
                  <a:gd name="connsiteY323" fmla="*/ 3012338 h 3446035"/>
                  <a:gd name="connsiteX324" fmla="*/ 439324 w 2999912"/>
                  <a:gd name="connsiteY324" fmla="*/ 3007056 h 3446035"/>
                  <a:gd name="connsiteX325" fmla="*/ 447823 w 2999912"/>
                  <a:gd name="connsiteY325" fmla="*/ 2933296 h 3446035"/>
                  <a:gd name="connsiteX326" fmla="*/ 385726 w 2999912"/>
                  <a:gd name="connsiteY326" fmla="*/ 2915553 h 3446035"/>
                  <a:gd name="connsiteX327" fmla="*/ 389171 w 2999912"/>
                  <a:gd name="connsiteY327" fmla="*/ 2880874 h 3446035"/>
                  <a:gd name="connsiteX328" fmla="*/ 359665 w 2999912"/>
                  <a:gd name="connsiteY328" fmla="*/ 2827956 h 3446035"/>
                  <a:gd name="connsiteX329" fmla="*/ 381462 w 2999912"/>
                  <a:gd name="connsiteY329" fmla="*/ 2761483 h 3446035"/>
                  <a:gd name="connsiteX330" fmla="*/ 372640 w 2999912"/>
                  <a:gd name="connsiteY330" fmla="*/ 2743480 h 3446035"/>
                  <a:gd name="connsiteX331" fmla="*/ 339446 w 2999912"/>
                  <a:gd name="connsiteY331" fmla="*/ 2750013 h 3446035"/>
                  <a:gd name="connsiteX332" fmla="*/ 322585 w 2999912"/>
                  <a:gd name="connsiteY332" fmla="*/ 2728565 h 3446035"/>
                  <a:gd name="connsiteX333" fmla="*/ 347491 w 2999912"/>
                  <a:gd name="connsiteY333" fmla="*/ 2682921 h 3446035"/>
                  <a:gd name="connsiteX334" fmla="*/ 316801 w 2999912"/>
                  <a:gd name="connsiteY334" fmla="*/ 2603339 h 3446035"/>
                  <a:gd name="connsiteX335" fmla="*/ 289841 w 2999912"/>
                  <a:gd name="connsiteY335" fmla="*/ 2575402 h 3446035"/>
                  <a:gd name="connsiteX336" fmla="*/ 223856 w 2999912"/>
                  <a:gd name="connsiteY336" fmla="*/ 2578776 h 3446035"/>
                  <a:gd name="connsiteX337" fmla="*/ 231275 w 2999912"/>
                  <a:gd name="connsiteY337" fmla="*/ 2540338 h 3446035"/>
                  <a:gd name="connsiteX338" fmla="*/ 264985 w 2999912"/>
                  <a:gd name="connsiteY338" fmla="*/ 2532490 h 3446035"/>
                  <a:gd name="connsiteX339" fmla="*/ 242559 w 2999912"/>
                  <a:gd name="connsiteY339" fmla="*/ 2474898 h 3446035"/>
                  <a:gd name="connsiteX340" fmla="*/ 230800 w 2999912"/>
                  <a:gd name="connsiteY340" fmla="*/ 2465916 h 3446035"/>
                  <a:gd name="connsiteX341" fmla="*/ 202406 w 2999912"/>
                  <a:gd name="connsiteY341" fmla="*/ 2491154 h 3446035"/>
                  <a:gd name="connsiteX342" fmla="*/ 177572 w 2999912"/>
                  <a:gd name="connsiteY342" fmla="*/ 2473751 h 3446035"/>
                  <a:gd name="connsiteX343" fmla="*/ 156755 w 2999912"/>
                  <a:gd name="connsiteY343" fmla="*/ 2482311 h 3446035"/>
                  <a:gd name="connsiteX344" fmla="*/ 101960 w 2999912"/>
                  <a:gd name="connsiteY344" fmla="*/ 2445113 h 3446035"/>
                  <a:gd name="connsiteX345" fmla="*/ 76941 w 2999912"/>
                  <a:gd name="connsiteY345" fmla="*/ 2467285 h 3446035"/>
                  <a:gd name="connsiteX346" fmla="*/ 64488 w 2999912"/>
                  <a:gd name="connsiteY346" fmla="*/ 2448767 h 3446035"/>
                  <a:gd name="connsiteX347" fmla="*/ 46975 w 2999912"/>
                  <a:gd name="connsiteY347" fmla="*/ 2457651 h 3446035"/>
                  <a:gd name="connsiteX348" fmla="*/ 52297 w 2999912"/>
                  <a:gd name="connsiteY348" fmla="*/ 2393248 h 3446035"/>
                  <a:gd name="connsiteX349" fmla="*/ 72316 w 2999912"/>
                  <a:gd name="connsiteY349" fmla="*/ 2396120 h 3446035"/>
                  <a:gd name="connsiteX350" fmla="*/ 52928 w 2999912"/>
                  <a:gd name="connsiteY350" fmla="*/ 2371701 h 3446035"/>
                  <a:gd name="connsiteX351" fmla="*/ 113265 w 2999912"/>
                  <a:gd name="connsiteY351" fmla="*/ 2292809 h 3446035"/>
                  <a:gd name="connsiteX352" fmla="*/ 74900 w 2999912"/>
                  <a:gd name="connsiteY352" fmla="*/ 2271286 h 3446035"/>
                  <a:gd name="connsiteX353" fmla="*/ 76648 w 2999912"/>
                  <a:gd name="connsiteY353" fmla="*/ 2219169 h 3446035"/>
                  <a:gd name="connsiteX354" fmla="*/ 47633 w 2999912"/>
                  <a:gd name="connsiteY354" fmla="*/ 2191319 h 3446035"/>
                  <a:gd name="connsiteX355" fmla="*/ 58065 w 2999912"/>
                  <a:gd name="connsiteY355" fmla="*/ 2146922 h 3446035"/>
                  <a:gd name="connsiteX356" fmla="*/ 46122 w 2999912"/>
                  <a:gd name="connsiteY356" fmla="*/ 2097273 h 3446035"/>
                  <a:gd name="connsiteX357" fmla="*/ -666 w 2999912"/>
                  <a:gd name="connsiteY357" fmla="*/ 2067103 h 3446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</a:cxnLst>
                <a:rect l="l" t="t" r="r" b="b"/>
                <a:pathLst>
                  <a:path w="2999912" h="3446035">
                    <a:moveTo>
                      <a:pt x="1196296" y="565145"/>
                    </a:moveTo>
                    <a:lnTo>
                      <a:pt x="1200975" y="529356"/>
                    </a:lnTo>
                    <a:lnTo>
                      <a:pt x="1239518" y="515909"/>
                    </a:lnTo>
                    <a:lnTo>
                      <a:pt x="1300546" y="538973"/>
                    </a:lnTo>
                    <a:lnTo>
                      <a:pt x="1318931" y="572326"/>
                    </a:lnTo>
                    <a:lnTo>
                      <a:pt x="1307255" y="601801"/>
                    </a:lnTo>
                    <a:lnTo>
                      <a:pt x="1278947" y="612654"/>
                    </a:lnTo>
                    <a:lnTo>
                      <a:pt x="1213570" y="587239"/>
                    </a:lnTo>
                    <a:lnTo>
                      <a:pt x="1196296" y="565145"/>
                    </a:lnTo>
                    <a:moveTo>
                      <a:pt x="1439214" y="572588"/>
                    </a:moveTo>
                    <a:lnTo>
                      <a:pt x="1437716" y="542205"/>
                    </a:lnTo>
                    <a:lnTo>
                      <a:pt x="1459193" y="511904"/>
                    </a:lnTo>
                    <a:lnTo>
                      <a:pt x="1406062" y="483864"/>
                    </a:lnTo>
                    <a:lnTo>
                      <a:pt x="1384881" y="445082"/>
                    </a:lnTo>
                    <a:lnTo>
                      <a:pt x="1394836" y="411956"/>
                    </a:lnTo>
                    <a:lnTo>
                      <a:pt x="1425794" y="386668"/>
                    </a:lnTo>
                    <a:lnTo>
                      <a:pt x="1608157" y="408168"/>
                    </a:lnTo>
                    <a:lnTo>
                      <a:pt x="1668345" y="461819"/>
                    </a:lnTo>
                    <a:lnTo>
                      <a:pt x="1668345" y="488400"/>
                    </a:lnTo>
                    <a:lnTo>
                      <a:pt x="1640309" y="519264"/>
                    </a:lnTo>
                    <a:lnTo>
                      <a:pt x="1529399" y="556617"/>
                    </a:lnTo>
                    <a:lnTo>
                      <a:pt x="1483387" y="592101"/>
                    </a:lnTo>
                    <a:lnTo>
                      <a:pt x="1439203" y="572587"/>
                    </a:lnTo>
                    <a:moveTo>
                      <a:pt x="1106925" y="400237"/>
                    </a:moveTo>
                    <a:lnTo>
                      <a:pt x="1081909" y="311469"/>
                    </a:lnTo>
                    <a:lnTo>
                      <a:pt x="1102543" y="291297"/>
                    </a:lnTo>
                    <a:lnTo>
                      <a:pt x="1140099" y="285720"/>
                    </a:lnTo>
                    <a:lnTo>
                      <a:pt x="1168504" y="199221"/>
                    </a:lnTo>
                    <a:lnTo>
                      <a:pt x="1228394" y="136344"/>
                    </a:lnTo>
                    <a:lnTo>
                      <a:pt x="1471929" y="104180"/>
                    </a:lnTo>
                    <a:lnTo>
                      <a:pt x="1510038" y="72677"/>
                    </a:lnTo>
                    <a:lnTo>
                      <a:pt x="1708987" y="-157"/>
                    </a:lnTo>
                    <a:lnTo>
                      <a:pt x="1746774" y="11466"/>
                    </a:lnTo>
                    <a:lnTo>
                      <a:pt x="1767487" y="72713"/>
                    </a:lnTo>
                    <a:lnTo>
                      <a:pt x="1732660" y="141935"/>
                    </a:lnTo>
                    <a:lnTo>
                      <a:pt x="1669053" y="182641"/>
                    </a:lnTo>
                    <a:lnTo>
                      <a:pt x="1555440" y="190084"/>
                    </a:lnTo>
                    <a:lnTo>
                      <a:pt x="1480243" y="322351"/>
                    </a:lnTo>
                    <a:lnTo>
                      <a:pt x="1419973" y="343506"/>
                    </a:lnTo>
                    <a:lnTo>
                      <a:pt x="1354869" y="437542"/>
                    </a:lnTo>
                    <a:lnTo>
                      <a:pt x="1285880" y="447914"/>
                    </a:lnTo>
                    <a:lnTo>
                      <a:pt x="1197945" y="410205"/>
                    </a:lnTo>
                    <a:lnTo>
                      <a:pt x="1132172" y="423235"/>
                    </a:lnTo>
                    <a:lnTo>
                      <a:pt x="1106925" y="400237"/>
                    </a:lnTo>
                    <a:moveTo>
                      <a:pt x="-663" y="2067105"/>
                    </a:moveTo>
                    <a:lnTo>
                      <a:pt x="26350" y="2061067"/>
                    </a:lnTo>
                    <a:lnTo>
                      <a:pt x="32133" y="2040785"/>
                    </a:lnTo>
                    <a:lnTo>
                      <a:pt x="76059" y="2010529"/>
                    </a:lnTo>
                    <a:lnTo>
                      <a:pt x="57782" y="1773500"/>
                    </a:lnTo>
                    <a:lnTo>
                      <a:pt x="7630" y="1686992"/>
                    </a:lnTo>
                    <a:lnTo>
                      <a:pt x="22298" y="1664148"/>
                    </a:lnTo>
                    <a:lnTo>
                      <a:pt x="44873" y="1670744"/>
                    </a:lnTo>
                    <a:lnTo>
                      <a:pt x="103722" y="1641806"/>
                    </a:lnTo>
                    <a:lnTo>
                      <a:pt x="117285" y="1610994"/>
                    </a:lnTo>
                    <a:lnTo>
                      <a:pt x="177683" y="1615474"/>
                    </a:lnTo>
                    <a:lnTo>
                      <a:pt x="185670" y="1574858"/>
                    </a:lnTo>
                    <a:lnTo>
                      <a:pt x="168412" y="1549212"/>
                    </a:lnTo>
                    <a:lnTo>
                      <a:pt x="183678" y="1521013"/>
                    </a:lnTo>
                    <a:lnTo>
                      <a:pt x="218963" y="1510517"/>
                    </a:lnTo>
                    <a:lnTo>
                      <a:pt x="203796" y="1476561"/>
                    </a:lnTo>
                    <a:lnTo>
                      <a:pt x="323097" y="1383524"/>
                    </a:lnTo>
                    <a:lnTo>
                      <a:pt x="325740" y="1359335"/>
                    </a:lnTo>
                    <a:lnTo>
                      <a:pt x="284029" y="1343006"/>
                    </a:lnTo>
                    <a:lnTo>
                      <a:pt x="264847" y="1232106"/>
                    </a:lnTo>
                    <a:lnTo>
                      <a:pt x="238327" y="1204994"/>
                    </a:lnTo>
                    <a:lnTo>
                      <a:pt x="208537" y="1199655"/>
                    </a:lnTo>
                    <a:lnTo>
                      <a:pt x="220437" y="1178608"/>
                    </a:lnTo>
                    <a:lnTo>
                      <a:pt x="182407" y="1145722"/>
                    </a:lnTo>
                    <a:lnTo>
                      <a:pt x="182083" y="1082047"/>
                    </a:lnTo>
                    <a:lnTo>
                      <a:pt x="159791" y="1087144"/>
                    </a:lnTo>
                    <a:lnTo>
                      <a:pt x="168920" y="1067537"/>
                    </a:lnTo>
                    <a:lnTo>
                      <a:pt x="141484" y="1049408"/>
                    </a:lnTo>
                    <a:lnTo>
                      <a:pt x="191647" y="1009727"/>
                    </a:lnTo>
                    <a:lnTo>
                      <a:pt x="166774" y="991712"/>
                    </a:lnTo>
                    <a:lnTo>
                      <a:pt x="210074" y="943630"/>
                    </a:lnTo>
                    <a:lnTo>
                      <a:pt x="205109" y="927678"/>
                    </a:lnTo>
                    <a:lnTo>
                      <a:pt x="137465" y="905252"/>
                    </a:lnTo>
                    <a:lnTo>
                      <a:pt x="214070" y="841091"/>
                    </a:lnTo>
                    <a:lnTo>
                      <a:pt x="239561" y="793624"/>
                    </a:lnTo>
                    <a:lnTo>
                      <a:pt x="268546" y="778111"/>
                    </a:lnTo>
                    <a:lnTo>
                      <a:pt x="271193" y="817361"/>
                    </a:lnTo>
                    <a:lnTo>
                      <a:pt x="304235" y="865285"/>
                    </a:lnTo>
                    <a:lnTo>
                      <a:pt x="308544" y="949865"/>
                    </a:lnTo>
                    <a:lnTo>
                      <a:pt x="327049" y="954282"/>
                    </a:lnTo>
                    <a:lnTo>
                      <a:pt x="388286" y="923979"/>
                    </a:lnTo>
                    <a:lnTo>
                      <a:pt x="540329" y="911650"/>
                    </a:lnTo>
                    <a:lnTo>
                      <a:pt x="665616" y="970340"/>
                    </a:lnTo>
                    <a:lnTo>
                      <a:pt x="714901" y="936252"/>
                    </a:lnTo>
                    <a:lnTo>
                      <a:pt x="720635" y="908822"/>
                    </a:lnTo>
                    <a:lnTo>
                      <a:pt x="687844" y="822403"/>
                    </a:lnTo>
                    <a:lnTo>
                      <a:pt x="704440" y="790250"/>
                    </a:lnTo>
                    <a:lnTo>
                      <a:pt x="792108" y="768309"/>
                    </a:lnTo>
                    <a:lnTo>
                      <a:pt x="893373" y="795341"/>
                    </a:lnTo>
                    <a:lnTo>
                      <a:pt x="969171" y="777410"/>
                    </a:lnTo>
                    <a:lnTo>
                      <a:pt x="1088542" y="826114"/>
                    </a:lnTo>
                    <a:lnTo>
                      <a:pt x="1137396" y="922230"/>
                    </a:lnTo>
                    <a:lnTo>
                      <a:pt x="1151043" y="992754"/>
                    </a:lnTo>
                    <a:lnTo>
                      <a:pt x="1202763" y="1021454"/>
                    </a:lnTo>
                    <a:lnTo>
                      <a:pt x="1212705" y="1072857"/>
                    </a:lnTo>
                    <a:lnTo>
                      <a:pt x="1240071" y="1075867"/>
                    </a:lnTo>
                    <a:lnTo>
                      <a:pt x="1257206" y="1055670"/>
                    </a:lnTo>
                    <a:lnTo>
                      <a:pt x="1241127" y="942260"/>
                    </a:lnTo>
                    <a:lnTo>
                      <a:pt x="1256980" y="902419"/>
                    </a:lnTo>
                    <a:lnTo>
                      <a:pt x="1308587" y="884988"/>
                    </a:lnTo>
                    <a:lnTo>
                      <a:pt x="1337095" y="904797"/>
                    </a:lnTo>
                    <a:lnTo>
                      <a:pt x="1346738" y="940815"/>
                    </a:lnTo>
                    <a:lnTo>
                      <a:pt x="1369101" y="942410"/>
                    </a:lnTo>
                    <a:lnTo>
                      <a:pt x="1418249" y="869226"/>
                    </a:lnTo>
                    <a:lnTo>
                      <a:pt x="1500780" y="831457"/>
                    </a:lnTo>
                    <a:lnTo>
                      <a:pt x="1504266" y="684619"/>
                    </a:lnTo>
                    <a:lnTo>
                      <a:pt x="1529821" y="645370"/>
                    </a:lnTo>
                    <a:lnTo>
                      <a:pt x="1519285" y="601167"/>
                    </a:lnTo>
                    <a:lnTo>
                      <a:pt x="1535750" y="573160"/>
                    </a:lnTo>
                    <a:lnTo>
                      <a:pt x="1604045" y="557909"/>
                    </a:lnTo>
                    <a:lnTo>
                      <a:pt x="1959001" y="395090"/>
                    </a:lnTo>
                    <a:lnTo>
                      <a:pt x="2017778" y="399186"/>
                    </a:lnTo>
                    <a:lnTo>
                      <a:pt x="2065240" y="430725"/>
                    </a:lnTo>
                    <a:lnTo>
                      <a:pt x="2148314" y="422075"/>
                    </a:lnTo>
                    <a:lnTo>
                      <a:pt x="2220167" y="440129"/>
                    </a:lnTo>
                    <a:lnTo>
                      <a:pt x="2310701" y="294759"/>
                    </a:lnTo>
                    <a:lnTo>
                      <a:pt x="2390112" y="224621"/>
                    </a:lnTo>
                    <a:lnTo>
                      <a:pt x="2470002" y="189721"/>
                    </a:lnTo>
                    <a:lnTo>
                      <a:pt x="2484799" y="141907"/>
                    </a:lnTo>
                    <a:lnTo>
                      <a:pt x="2534212" y="84785"/>
                    </a:lnTo>
                    <a:lnTo>
                      <a:pt x="2616695" y="68234"/>
                    </a:lnTo>
                    <a:lnTo>
                      <a:pt x="2642665" y="84009"/>
                    </a:lnTo>
                    <a:lnTo>
                      <a:pt x="2636670" y="127551"/>
                    </a:lnTo>
                    <a:lnTo>
                      <a:pt x="2563255" y="178999"/>
                    </a:lnTo>
                    <a:lnTo>
                      <a:pt x="2565055" y="197477"/>
                    </a:lnTo>
                    <a:lnTo>
                      <a:pt x="2622029" y="251533"/>
                    </a:lnTo>
                    <a:lnTo>
                      <a:pt x="2637962" y="257895"/>
                    </a:lnTo>
                    <a:lnTo>
                      <a:pt x="2678070" y="223841"/>
                    </a:lnTo>
                    <a:lnTo>
                      <a:pt x="2709150" y="173906"/>
                    </a:lnTo>
                    <a:lnTo>
                      <a:pt x="2758675" y="227769"/>
                    </a:lnTo>
                    <a:lnTo>
                      <a:pt x="2803110" y="228342"/>
                    </a:lnTo>
                    <a:lnTo>
                      <a:pt x="2805846" y="253850"/>
                    </a:lnTo>
                    <a:lnTo>
                      <a:pt x="2846282" y="260682"/>
                    </a:lnTo>
                    <a:lnTo>
                      <a:pt x="2843992" y="278527"/>
                    </a:lnTo>
                    <a:lnTo>
                      <a:pt x="2873411" y="290093"/>
                    </a:lnTo>
                    <a:lnTo>
                      <a:pt x="2896375" y="323961"/>
                    </a:lnTo>
                    <a:lnTo>
                      <a:pt x="2897710" y="336816"/>
                    </a:lnTo>
                    <a:lnTo>
                      <a:pt x="2849707" y="369972"/>
                    </a:lnTo>
                    <a:lnTo>
                      <a:pt x="2764771" y="543035"/>
                    </a:lnTo>
                    <a:lnTo>
                      <a:pt x="2775406" y="574619"/>
                    </a:lnTo>
                    <a:lnTo>
                      <a:pt x="2805135" y="576558"/>
                    </a:lnTo>
                    <a:lnTo>
                      <a:pt x="2787919" y="595630"/>
                    </a:lnTo>
                    <a:lnTo>
                      <a:pt x="2802737" y="626745"/>
                    </a:lnTo>
                    <a:lnTo>
                      <a:pt x="2833814" y="646372"/>
                    </a:lnTo>
                    <a:lnTo>
                      <a:pt x="2898995" y="632373"/>
                    </a:lnTo>
                    <a:lnTo>
                      <a:pt x="2941397" y="649694"/>
                    </a:lnTo>
                    <a:lnTo>
                      <a:pt x="2954410" y="711750"/>
                    </a:lnTo>
                    <a:lnTo>
                      <a:pt x="2999246" y="740422"/>
                    </a:lnTo>
                    <a:lnTo>
                      <a:pt x="2965668" y="776201"/>
                    </a:lnTo>
                    <a:lnTo>
                      <a:pt x="2965502" y="822915"/>
                    </a:lnTo>
                    <a:lnTo>
                      <a:pt x="2908384" y="816810"/>
                    </a:lnTo>
                    <a:lnTo>
                      <a:pt x="2915145" y="844720"/>
                    </a:lnTo>
                    <a:lnTo>
                      <a:pt x="2870478" y="862395"/>
                    </a:lnTo>
                    <a:lnTo>
                      <a:pt x="2837356" y="907208"/>
                    </a:lnTo>
                    <a:lnTo>
                      <a:pt x="2808166" y="912226"/>
                    </a:lnTo>
                    <a:lnTo>
                      <a:pt x="2813673" y="944278"/>
                    </a:lnTo>
                    <a:lnTo>
                      <a:pt x="2828670" y="941028"/>
                    </a:lnTo>
                    <a:lnTo>
                      <a:pt x="2841648" y="969352"/>
                    </a:lnTo>
                    <a:lnTo>
                      <a:pt x="2819967" y="975965"/>
                    </a:lnTo>
                    <a:lnTo>
                      <a:pt x="2806949" y="1002264"/>
                    </a:lnTo>
                    <a:lnTo>
                      <a:pt x="2855524" y="1055850"/>
                    </a:lnTo>
                    <a:lnTo>
                      <a:pt x="2831433" y="1106061"/>
                    </a:lnTo>
                    <a:lnTo>
                      <a:pt x="2853768" y="1149115"/>
                    </a:lnTo>
                    <a:lnTo>
                      <a:pt x="2893028" y="1158711"/>
                    </a:lnTo>
                    <a:lnTo>
                      <a:pt x="2887806" y="1199506"/>
                    </a:lnTo>
                    <a:lnTo>
                      <a:pt x="2906296" y="1212872"/>
                    </a:lnTo>
                    <a:lnTo>
                      <a:pt x="2895016" y="1231197"/>
                    </a:lnTo>
                    <a:lnTo>
                      <a:pt x="2872243" y="1223160"/>
                    </a:lnTo>
                    <a:lnTo>
                      <a:pt x="2860427" y="1267300"/>
                    </a:lnTo>
                    <a:lnTo>
                      <a:pt x="2821075" y="1300483"/>
                    </a:lnTo>
                    <a:lnTo>
                      <a:pt x="2833644" y="1325467"/>
                    </a:lnTo>
                    <a:lnTo>
                      <a:pt x="2798395" y="1332729"/>
                    </a:lnTo>
                    <a:lnTo>
                      <a:pt x="2781486" y="1308330"/>
                    </a:lnTo>
                    <a:lnTo>
                      <a:pt x="2762459" y="1307860"/>
                    </a:lnTo>
                    <a:lnTo>
                      <a:pt x="2749391" y="1354989"/>
                    </a:lnTo>
                    <a:lnTo>
                      <a:pt x="2713952" y="1379653"/>
                    </a:lnTo>
                    <a:lnTo>
                      <a:pt x="2681673" y="1380920"/>
                    </a:lnTo>
                    <a:lnTo>
                      <a:pt x="2678492" y="1407359"/>
                    </a:lnTo>
                    <a:lnTo>
                      <a:pt x="2711288" y="1418626"/>
                    </a:lnTo>
                    <a:lnTo>
                      <a:pt x="2723687" y="1465841"/>
                    </a:lnTo>
                    <a:lnTo>
                      <a:pt x="2697666" y="1471905"/>
                    </a:lnTo>
                    <a:lnTo>
                      <a:pt x="2679876" y="1452886"/>
                    </a:lnTo>
                    <a:lnTo>
                      <a:pt x="2676729" y="1487289"/>
                    </a:lnTo>
                    <a:lnTo>
                      <a:pt x="2610187" y="1505504"/>
                    </a:lnTo>
                    <a:lnTo>
                      <a:pt x="2624406" y="1546395"/>
                    </a:lnTo>
                    <a:lnTo>
                      <a:pt x="2601956" y="1583795"/>
                    </a:lnTo>
                    <a:lnTo>
                      <a:pt x="2621425" y="1598845"/>
                    </a:lnTo>
                    <a:lnTo>
                      <a:pt x="2638667" y="1670139"/>
                    </a:lnTo>
                    <a:lnTo>
                      <a:pt x="2717663" y="1747713"/>
                    </a:lnTo>
                    <a:lnTo>
                      <a:pt x="2703443" y="1770422"/>
                    </a:lnTo>
                    <a:lnTo>
                      <a:pt x="2725703" y="1792571"/>
                    </a:lnTo>
                    <a:lnTo>
                      <a:pt x="2719437" y="1903835"/>
                    </a:lnTo>
                    <a:lnTo>
                      <a:pt x="2700112" y="1913010"/>
                    </a:lnTo>
                    <a:lnTo>
                      <a:pt x="2675328" y="1884216"/>
                    </a:lnTo>
                    <a:lnTo>
                      <a:pt x="2672609" y="1913088"/>
                    </a:lnTo>
                    <a:lnTo>
                      <a:pt x="2658135" y="1892591"/>
                    </a:lnTo>
                    <a:lnTo>
                      <a:pt x="2624408" y="1897792"/>
                    </a:lnTo>
                    <a:lnTo>
                      <a:pt x="2629219" y="1933570"/>
                    </a:lnTo>
                    <a:lnTo>
                      <a:pt x="2606388" y="1938007"/>
                    </a:lnTo>
                    <a:lnTo>
                      <a:pt x="2599541" y="1962049"/>
                    </a:lnTo>
                    <a:lnTo>
                      <a:pt x="2565304" y="1947611"/>
                    </a:lnTo>
                    <a:lnTo>
                      <a:pt x="2550622" y="1969384"/>
                    </a:lnTo>
                    <a:lnTo>
                      <a:pt x="2461205" y="1939338"/>
                    </a:lnTo>
                    <a:lnTo>
                      <a:pt x="2441801" y="1945494"/>
                    </a:lnTo>
                    <a:lnTo>
                      <a:pt x="2443229" y="1966739"/>
                    </a:lnTo>
                    <a:lnTo>
                      <a:pt x="2428655" y="1975126"/>
                    </a:lnTo>
                    <a:lnTo>
                      <a:pt x="2452228" y="2029805"/>
                    </a:lnTo>
                    <a:lnTo>
                      <a:pt x="2439592" y="2049131"/>
                    </a:lnTo>
                    <a:lnTo>
                      <a:pt x="2454657" y="2132514"/>
                    </a:lnTo>
                    <a:lnTo>
                      <a:pt x="2414026" y="2183061"/>
                    </a:lnTo>
                    <a:lnTo>
                      <a:pt x="2422480" y="2201354"/>
                    </a:lnTo>
                    <a:lnTo>
                      <a:pt x="2407314" y="2229501"/>
                    </a:lnTo>
                    <a:lnTo>
                      <a:pt x="2419126" y="2267706"/>
                    </a:lnTo>
                    <a:lnTo>
                      <a:pt x="2445965" y="2279272"/>
                    </a:lnTo>
                    <a:lnTo>
                      <a:pt x="2469706" y="2355342"/>
                    </a:lnTo>
                    <a:lnTo>
                      <a:pt x="2517214" y="2429437"/>
                    </a:lnTo>
                    <a:lnTo>
                      <a:pt x="2504121" y="2434542"/>
                    </a:lnTo>
                    <a:lnTo>
                      <a:pt x="2490787" y="2412321"/>
                    </a:lnTo>
                    <a:lnTo>
                      <a:pt x="2468863" y="2439428"/>
                    </a:lnTo>
                    <a:lnTo>
                      <a:pt x="2476399" y="2470140"/>
                    </a:lnTo>
                    <a:lnTo>
                      <a:pt x="2443379" y="2528625"/>
                    </a:lnTo>
                    <a:lnTo>
                      <a:pt x="2355652" y="2548131"/>
                    </a:lnTo>
                    <a:lnTo>
                      <a:pt x="2350974" y="2621120"/>
                    </a:lnTo>
                    <a:lnTo>
                      <a:pt x="2310701" y="2624067"/>
                    </a:lnTo>
                    <a:lnTo>
                      <a:pt x="2300086" y="2643902"/>
                    </a:lnTo>
                    <a:lnTo>
                      <a:pt x="2259111" y="2644018"/>
                    </a:lnTo>
                    <a:lnTo>
                      <a:pt x="2233389" y="2663182"/>
                    </a:lnTo>
                    <a:lnTo>
                      <a:pt x="2219318" y="2655984"/>
                    </a:lnTo>
                    <a:lnTo>
                      <a:pt x="2184228" y="2707862"/>
                    </a:lnTo>
                    <a:lnTo>
                      <a:pt x="2198094" y="2806942"/>
                    </a:lnTo>
                    <a:lnTo>
                      <a:pt x="2176705" y="2816991"/>
                    </a:lnTo>
                    <a:lnTo>
                      <a:pt x="2198887" y="2851179"/>
                    </a:lnTo>
                    <a:lnTo>
                      <a:pt x="2189907" y="2872275"/>
                    </a:lnTo>
                    <a:lnTo>
                      <a:pt x="2206453" y="2877729"/>
                    </a:lnTo>
                    <a:lnTo>
                      <a:pt x="2148034" y="2886009"/>
                    </a:lnTo>
                    <a:lnTo>
                      <a:pt x="2228552" y="2934887"/>
                    </a:lnTo>
                    <a:lnTo>
                      <a:pt x="2210413" y="2962546"/>
                    </a:lnTo>
                    <a:lnTo>
                      <a:pt x="2219837" y="3004941"/>
                    </a:lnTo>
                    <a:lnTo>
                      <a:pt x="2186307" y="3029300"/>
                    </a:lnTo>
                    <a:lnTo>
                      <a:pt x="2224593" y="3036914"/>
                    </a:lnTo>
                    <a:lnTo>
                      <a:pt x="2274058" y="3072462"/>
                    </a:lnTo>
                    <a:lnTo>
                      <a:pt x="2267935" y="3090202"/>
                    </a:lnTo>
                    <a:lnTo>
                      <a:pt x="2285820" y="3118208"/>
                    </a:lnTo>
                    <a:lnTo>
                      <a:pt x="2261611" y="3113466"/>
                    </a:lnTo>
                    <a:lnTo>
                      <a:pt x="2264064" y="3131764"/>
                    </a:lnTo>
                    <a:lnTo>
                      <a:pt x="2243845" y="3129804"/>
                    </a:lnTo>
                    <a:lnTo>
                      <a:pt x="2241858" y="3149878"/>
                    </a:lnTo>
                    <a:lnTo>
                      <a:pt x="2255717" y="3228358"/>
                    </a:lnTo>
                    <a:lnTo>
                      <a:pt x="2276664" y="3253739"/>
                    </a:lnTo>
                    <a:lnTo>
                      <a:pt x="2157298" y="3299055"/>
                    </a:lnTo>
                    <a:lnTo>
                      <a:pt x="2126421" y="3325312"/>
                    </a:lnTo>
                    <a:lnTo>
                      <a:pt x="2134572" y="3355561"/>
                    </a:lnTo>
                    <a:lnTo>
                      <a:pt x="2092379" y="3365546"/>
                    </a:lnTo>
                    <a:lnTo>
                      <a:pt x="2065250" y="3351510"/>
                    </a:lnTo>
                    <a:lnTo>
                      <a:pt x="2018314" y="3365538"/>
                    </a:lnTo>
                    <a:lnTo>
                      <a:pt x="2005245" y="3396839"/>
                    </a:lnTo>
                    <a:lnTo>
                      <a:pt x="1974939" y="3385764"/>
                    </a:lnTo>
                    <a:lnTo>
                      <a:pt x="1924495" y="3432142"/>
                    </a:lnTo>
                    <a:lnTo>
                      <a:pt x="1893611" y="3439758"/>
                    </a:lnTo>
                    <a:lnTo>
                      <a:pt x="1886349" y="3422227"/>
                    </a:lnTo>
                    <a:lnTo>
                      <a:pt x="1861243" y="3416806"/>
                    </a:lnTo>
                    <a:lnTo>
                      <a:pt x="1840891" y="3435091"/>
                    </a:lnTo>
                    <a:lnTo>
                      <a:pt x="1807093" y="3419890"/>
                    </a:lnTo>
                    <a:lnTo>
                      <a:pt x="1747256" y="3445879"/>
                    </a:lnTo>
                    <a:lnTo>
                      <a:pt x="1673123" y="3389269"/>
                    </a:lnTo>
                    <a:lnTo>
                      <a:pt x="1611470" y="3402107"/>
                    </a:lnTo>
                    <a:lnTo>
                      <a:pt x="1578545" y="3387704"/>
                    </a:lnTo>
                    <a:lnTo>
                      <a:pt x="1558651" y="3412647"/>
                    </a:lnTo>
                    <a:lnTo>
                      <a:pt x="1512812" y="3384995"/>
                    </a:lnTo>
                    <a:lnTo>
                      <a:pt x="1468319" y="3400672"/>
                    </a:lnTo>
                    <a:lnTo>
                      <a:pt x="1438970" y="3369201"/>
                    </a:lnTo>
                    <a:lnTo>
                      <a:pt x="1367657" y="3381893"/>
                    </a:lnTo>
                    <a:lnTo>
                      <a:pt x="1316497" y="3420234"/>
                    </a:lnTo>
                    <a:lnTo>
                      <a:pt x="1290745" y="3405981"/>
                    </a:lnTo>
                    <a:lnTo>
                      <a:pt x="1292889" y="3382339"/>
                    </a:lnTo>
                    <a:lnTo>
                      <a:pt x="1258254" y="3350461"/>
                    </a:lnTo>
                    <a:lnTo>
                      <a:pt x="1259508" y="3323559"/>
                    </a:lnTo>
                    <a:lnTo>
                      <a:pt x="1239803" y="3344334"/>
                    </a:lnTo>
                    <a:lnTo>
                      <a:pt x="1216571" y="3311559"/>
                    </a:lnTo>
                    <a:lnTo>
                      <a:pt x="1211104" y="3246595"/>
                    </a:lnTo>
                    <a:lnTo>
                      <a:pt x="1190399" y="3194622"/>
                    </a:lnTo>
                    <a:lnTo>
                      <a:pt x="1157114" y="3185445"/>
                    </a:lnTo>
                    <a:lnTo>
                      <a:pt x="1124661" y="3065343"/>
                    </a:lnTo>
                    <a:lnTo>
                      <a:pt x="1076451" y="3042288"/>
                    </a:lnTo>
                    <a:lnTo>
                      <a:pt x="1062119" y="3047724"/>
                    </a:lnTo>
                    <a:lnTo>
                      <a:pt x="1058846" y="3079358"/>
                    </a:lnTo>
                    <a:lnTo>
                      <a:pt x="1043455" y="3064816"/>
                    </a:lnTo>
                    <a:lnTo>
                      <a:pt x="1031535" y="3082109"/>
                    </a:lnTo>
                    <a:lnTo>
                      <a:pt x="1005621" y="3082949"/>
                    </a:lnTo>
                    <a:lnTo>
                      <a:pt x="991584" y="3071107"/>
                    </a:lnTo>
                    <a:lnTo>
                      <a:pt x="989966" y="3028877"/>
                    </a:lnTo>
                    <a:lnTo>
                      <a:pt x="971876" y="3025720"/>
                    </a:lnTo>
                    <a:lnTo>
                      <a:pt x="993592" y="3003849"/>
                    </a:lnTo>
                    <a:lnTo>
                      <a:pt x="965735" y="3007025"/>
                    </a:lnTo>
                    <a:lnTo>
                      <a:pt x="923852" y="2963834"/>
                    </a:lnTo>
                    <a:lnTo>
                      <a:pt x="853879" y="2953613"/>
                    </a:lnTo>
                    <a:lnTo>
                      <a:pt x="816197" y="2971220"/>
                    </a:lnTo>
                    <a:lnTo>
                      <a:pt x="810417" y="3013028"/>
                    </a:lnTo>
                    <a:lnTo>
                      <a:pt x="779108" y="3036506"/>
                    </a:lnTo>
                    <a:lnTo>
                      <a:pt x="784306" y="3058004"/>
                    </a:lnTo>
                    <a:lnTo>
                      <a:pt x="759634" y="3101904"/>
                    </a:lnTo>
                    <a:lnTo>
                      <a:pt x="721039" y="3133830"/>
                    </a:lnTo>
                    <a:lnTo>
                      <a:pt x="721190" y="3185867"/>
                    </a:lnTo>
                    <a:lnTo>
                      <a:pt x="671454" y="3229180"/>
                    </a:lnTo>
                    <a:lnTo>
                      <a:pt x="658383" y="3222716"/>
                    </a:lnTo>
                    <a:lnTo>
                      <a:pt x="657443" y="3257343"/>
                    </a:lnTo>
                    <a:lnTo>
                      <a:pt x="644622" y="3218250"/>
                    </a:lnTo>
                    <a:lnTo>
                      <a:pt x="656225" y="3190506"/>
                    </a:lnTo>
                    <a:lnTo>
                      <a:pt x="627493" y="3197963"/>
                    </a:lnTo>
                    <a:lnTo>
                      <a:pt x="620760" y="3162380"/>
                    </a:lnTo>
                    <a:lnTo>
                      <a:pt x="601800" y="3205646"/>
                    </a:lnTo>
                    <a:lnTo>
                      <a:pt x="580150" y="3218043"/>
                    </a:lnTo>
                    <a:lnTo>
                      <a:pt x="506009" y="3221036"/>
                    </a:lnTo>
                    <a:lnTo>
                      <a:pt x="476335" y="3271150"/>
                    </a:lnTo>
                    <a:lnTo>
                      <a:pt x="425853" y="3267590"/>
                    </a:lnTo>
                    <a:lnTo>
                      <a:pt x="386308" y="3208884"/>
                    </a:lnTo>
                    <a:lnTo>
                      <a:pt x="404895" y="3174858"/>
                    </a:lnTo>
                    <a:lnTo>
                      <a:pt x="406755" y="3084307"/>
                    </a:lnTo>
                    <a:lnTo>
                      <a:pt x="430319" y="3024928"/>
                    </a:lnTo>
                    <a:lnTo>
                      <a:pt x="422342" y="3012338"/>
                    </a:lnTo>
                    <a:lnTo>
                      <a:pt x="439324" y="3007056"/>
                    </a:lnTo>
                    <a:lnTo>
                      <a:pt x="447823" y="2933296"/>
                    </a:lnTo>
                    <a:lnTo>
                      <a:pt x="385726" y="2915553"/>
                    </a:lnTo>
                    <a:lnTo>
                      <a:pt x="389171" y="2880874"/>
                    </a:lnTo>
                    <a:lnTo>
                      <a:pt x="359665" y="2827956"/>
                    </a:lnTo>
                    <a:lnTo>
                      <a:pt x="381462" y="2761483"/>
                    </a:lnTo>
                    <a:lnTo>
                      <a:pt x="372640" y="2743480"/>
                    </a:lnTo>
                    <a:lnTo>
                      <a:pt x="339446" y="2750013"/>
                    </a:lnTo>
                    <a:lnTo>
                      <a:pt x="322585" y="2728565"/>
                    </a:lnTo>
                    <a:lnTo>
                      <a:pt x="347491" y="2682921"/>
                    </a:lnTo>
                    <a:lnTo>
                      <a:pt x="316801" y="2603339"/>
                    </a:lnTo>
                    <a:lnTo>
                      <a:pt x="289841" y="2575402"/>
                    </a:lnTo>
                    <a:lnTo>
                      <a:pt x="223856" y="2578776"/>
                    </a:lnTo>
                    <a:lnTo>
                      <a:pt x="231275" y="2540338"/>
                    </a:lnTo>
                    <a:lnTo>
                      <a:pt x="264985" y="2532490"/>
                    </a:lnTo>
                    <a:lnTo>
                      <a:pt x="242559" y="2474898"/>
                    </a:lnTo>
                    <a:lnTo>
                      <a:pt x="230800" y="2465916"/>
                    </a:lnTo>
                    <a:lnTo>
                      <a:pt x="202406" y="2491154"/>
                    </a:lnTo>
                    <a:lnTo>
                      <a:pt x="177572" y="2473751"/>
                    </a:lnTo>
                    <a:lnTo>
                      <a:pt x="156755" y="2482311"/>
                    </a:lnTo>
                    <a:lnTo>
                      <a:pt x="101960" y="2445113"/>
                    </a:lnTo>
                    <a:lnTo>
                      <a:pt x="76941" y="2467285"/>
                    </a:lnTo>
                    <a:lnTo>
                      <a:pt x="64488" y="2448767"/>
                    </a:lnTo>
                    <a:lnTo>
                      <a:pt x="46975" y="2457651"/>
                    </a:lnTo>
                    <a:lnTo>
                      <a:pt x="52297" y="2393248"/>
                    </a:lnTo>
                    <a:lnTo>
                      <a:pt x="72316" y="2396120"/>
                    </a:lnTo>
                    <a:lnTo>
                      <a:pt x="52928" y="2371701"/>
                    </a:lnTo>
                    <a:lnTo>
                      <a:pt x="113265" y="2292809"/>
                    </a:lnTo>
                    <a:lnTo>
                      <a:pt x="74900" y="2271286"/>
                    </a:lnTo>
                    <a:lnTo>
                      <a:pt x="76648" y="2219169"/>
                    </a:lnTo>
                    <a:lnTo>
                      <a:pt x="47633" y="2191319"/>
                    </a:lnTo>
                    <a:lnTo>
                      <a:pt x="58065" y="2146922"/>
                    </a:lnTo>
                    <a:lnTo>
                      <a:pt x="46122" y="2097273"/>
                    </a:lnTo>
                    <a:lnTo>
                      <a:pt x="-666" y="2067103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9" name="Забайкальский край">
                <a:extLst>
                  <a:ext uri="{FF2B5EF4-FFF2-40B4-BE49-F238E27FC236}">
                    <a16:creationId xmlns:a16="http://schemas.microsoft.com/office/drawing/2014/main" id="{C88443DB-D371-4A14-AEA0-AB87C9B941EF}"/>
                  </a:ext>
                </a:extLst>
              </p:cNvPr>
              <p:cNvSpPr/>
              <p:nvPr/>
            </p:nvSpPr>
            <p:spPr>
              <a:xfrm>
                <a:off x="7410496" y="4579229"/>
                <a:ext cx="1241284" cy="1557677"/>
              </a:xfrm>
              <a:custGeom>
                <a:avLst/>
                <a:gdLst>
                  <a:gd name="connsiteX0" fmla="*/ -666 w 1241284"/>
                  <a:gd name="connsiteY0" fmla="*/ 1441512 h 1557677"/>
                  <a:gd name="connsiteX1" fmla="*/ 23251 w 1241284"/>
                  <a:gd name="connsiteY1" fmla="*/ 1401795 h 1557677"/>
                  <a:gd name="connsiteX2" fmla="*/ 86524 w 1241284"/>
                  <a:gd name="connsiteY2" fmla="*/ 1368064 h 1557677"/>
                  <a:gd name="connsiteX3" fmla="*/ 19937 w 1241284"/>
                  <a:gd name="connsiteY3" fmla="*/ 1335025 h 1557677"/>
                  <a:gd name="connsiteX4" fmla="*/ 62324 w 1241284"/>
                  <a:gd name="connsiteY4" fmla="*/ 1275661 h 1557677"/>
                  <a:gd name="connsiteX5" fmla="*/ 41790 w 1241284"/>
                  <a:gd name="connsiteY5" fmla="*/ 1256881 h 1557677"/>
                  <a:gd name="connsiteX6" fmla="*/ 61682 w 1241284"/>
                  <a:gd name="connsiteY6" fmla="*/ 1217332 h 1557677"/>
                  <a:gd name="connsiteX7" fmla="*/ 90582 w 1241284"/>
                  <a:gd name="connsiteY7" fmla="*/ 1223306 h 1557677"/>
                  <a:gd name="connsiteX8" fmla="*/ 103010 w 1241284"/>
                  <a:gd name="connsiteY8" fmla="*/ 1208089 h 1557677"/>
                  <a:gd name="connsiteX9" fmla="*/ 138070 w 1241284"/>
                  <a:gd name="connsiteY9" fmla="*/ 1229258 h 1557677"/>
                  <a:gd name="connsiteX10" fmla="*/ 188281 w 1241284"/>
                  <a:gd name="connsiteY10" fmla="*/ 1180917 h 1557677"/>
                  <a:gd name="connsiteX11" fmla="*/ 260531 w 1241284"/>
                  <a:gd name="connsiteY11" fmla="*/ 1186707 h 1557677"/>
                  <a:gd name="connsiteX12" fmla="*/ 283258 w 1241284"/>
                  <a:gd name="connsiteY12" fmla="*/ 1139023 h 1557677"/>
                  <a:gd name="connsiteX13" fmla="*/ 344970 w 1241284"/>
                  <a:gd name="connsiteY13" fmla="*/ 1099815 h 1557677"/>
                  <a:gd name="connsiteX14" fmla="*/ 370790 w 1241284"/>
                  <a:gd name="connsiteY14" fmla="*/ 1046437 h 1557677"/>
                  <a:gd name="connsiteX15" fmla="*/ 403629 w 1241284"/>
                  <a:gd name="connsiteY15" fmla="*/ 1053179 h 1557677"/>
                  <a:gd name="connsiteX16" fmla="*/ 413139 w 1241284"/>
                  <a:gd name="connsiteY16" fmla="*/ 1029224 h 1557677"/>
                  <a:gd name="connsiteX17" fmla="*/ 507523 w 1241284"/>
                  <a:gd name="connsiteY17" fmla="*/ 995232 h 1557677"/>
                  <a:gd name="connsiteX18" fmla="*/ 546060 w 1241284"/>
                  <a:gd name="connsiteY18" fmla="*/ 953520 h 1557677"/>
                  <a:gd name="connsiteX19" fmla="*/ 561349 w 1241284"/>
                  <a:gd name="connsiteY19" fmla="*/ 888175 h 1557677"/>
                  <a:gd name="connsiteX20" fmla="*/ 539440 w 1241284"/>
                  <a:gd name="connsiteY20" fmla="*/ 889567 h 1557677"/>
                  <a:gd name="connsiteX21" fmla="*/ 541718 w 1241284"/>
                  <a:gd name="connsiteY21" fmla="*/ 872438 h 1557677"/>
                  <a:gd name="connsiteX22" fmla="*/ 516055 w 1241284"/>
                  <a:gd name="connsiteY22" fmla="*/ 866139 h 1557677"/>
                  <a:gd name="connsiteX23" fmla="*/ 491302 w 1241284"/>
                  <a:gd name="connsiteY23" fmla="*/ 812911 h 1557677"/>
                  <a:gd name="connsiteX24" fmla="*/ 585159 w 1241284"/>
                  <a:gd name="connsiteY24" fmla="*/ 733218 h 1557677"/>
                  <a:gd name="connsiteX25" fmla="*/ 626582 w 1241284"/>
                  <a:gd name="connsiteY25" fmla="*/ 656831 h 1557677"/>
                  <a:gd name="connsiteX26" fmla="*/ 720364 w 1241284"/>
                  <a:gd name="connsiteY26" fmla="*/ 616543 h 1557677"/>
                  <a:gd name="connsiteX27" fmla="*/ 727900 w 1241284"/>
                  <a:gd name="connsiteY27" fmla="*/ 571648 h 1557677"/>
                  <a:gd name="connsiteX28" fmla="*/ 712126 w 1241284"/>
                  <a:gd name="connsiteY28" fmla="*/ 537298 h 1557677"/>
                  <a:gd name="connsiteX29" fmla="*/ 659221 w 1241284"/>
                  <a:gd name="connsiteY29" fmla="*/ 494541 h 1557677"/>
                  <a:gd name="connsiteX30" fmla="*/ 617958 w 1241284"/>
                  <a:gd name="connsiteY30" fmla="*/ 500369 h 1557677"/>
                  <a:gd name="connsiteX31" fmla="*/ 599738 w 1241284"/>
                  <a:gd name="connsiteY31" fmla="*/ 420691 h 1557677"/>
                  <a:gd name="connsiteX32" fmla="*/ 567024 w 1241284"/>
                  <a:gd name="connsiteY32" fmla="*/ 369111 h 1557677"/>
                  <a:gd name="connsiteX33" fmla="*/ 573374 w 1241284"/>
                  <a:gd name="connsiteY33" fmla="*/ 345777 h 1557677"/>
                  <a:gd name="connsiteX34" fmla="*/ 559042 w 1241284"/>
                  <a:gd name="connsiteY34" fmla="*/ 327350 h 1557677"/>
                  <a:gd name="connsiteX35" fmla="*/ 534782 w 1241284"/>
                  <a:gd name="connsiteY35" fmla="*/ 326443 h 1557677"/>
                  <a:gd name="connsiteX36" fmla="*/ 539845 w 1241284"/>
                  <a:gd name="connsiteY36" fmla="*/ 283220 h 1557677"/>
                  <a:gd name="connsiteX37" fmla="*/ 551249 w 1241284"/>
                  <a:gd name="connsiteY37" fmla="*/ 266820 h 1557677"/>
                  <a:gd name="connsiteX38" fmla="*/ 640985 w 1241284"/>
                  <a:gd name="connsiteY38" fmla="*/ 281403 h 1557677"/>
                  <a:gd name="connsiteX39" fmla="*/ 680231 w 1241284"/>
                  <a:gd name="connsiteY39" fmla="*/ 235314 h 1557677"/>
                  <a:gd name="connsiteX40" fmla="*/ 691263 w 1241284"/>
                  <a:gd name="connsiteY40" fmla="*/ 251698 h 1557677"/>
                  <a:gd name="connsiteX41" fmla="*/ 703479 w 1241284"/>
                  <a:gd name="connsiteY41" fmla="*/ 245384 h 1557677"/>
                  <a:gd name="connsiteX42" fmla="*/ 693070 w 1241284"/>
                  <a:gd name="connsiteY42" fmla="*/ 199602 h 1557677"/>
                  <a:gd name="connsiteX43" fmla="*/ 703571 w 1241284"/>
                  <a:gd name="connsiteY43" fmla="*/ 172163 h 1557677"/>
                  <a:gd name="connsiteX44" fmla="*/ 686477 w 1241284"/>
                  <a:gd name="connsiteY44" fmla="*/ 170964 h 1557677"/>
                  <a:gd name="connsiteX45" fmla="*/ 678984 w 1241284"/>
                  <a:gd name="connsiteY45" fmla="*/ 187891 h 1557677"/>
                  <a:gd name="connsiteX46" fmla="*/ 655362 w 1241284"/>
                  <a:gd name="connsiteY46" fmla="*/ 133795 h 1557677"/>
                  <a:gd name="connsiteX47" fmla="*/ 639020 w 1241284"/>
                  <a:gd name="connsiteY47" fmla="*/ 135627 h 1557677"/>
                  <a:gd name="connsiteX48" fmla="*/ 627476 w 1241284"/>
                  <a:gd name="connsiteY48" fmla="*/ 109997 h 1557677"/>
                  <a:gd name="connsiteX49" fmla="*/ 651992 w 1241284"/>
                  <a:gd name="connsiteY49" fmla="*/ 87278 h 1557677"/>
                  <a:gd name="connsiteX50" fmla="*/ 642157 w 1241284"/>
                  <a:gd name="connsiteY50" fmla="*/ 55392 h 1557677"/>
                  <a:gd name="connsiteX51" fmla="*/ 655326 w 1241284"/>
                  <a:gd name="connsiteY51" fmla="*/ 46702 h 1557677"/>
                  <a:gd name="connsiteX52" fmla="*/ 639991 w 1241284"/>
                  <a:gd name="connsiteY52" fmla="*/ 26624 h 1557677"/>
                  <a:gd name="connsiteX53" fmla="*/ 664019 w 1241284"/>
                  <a:gd name="connsiteY53" fmla="*/ 2686 h 1557677"/>
                  <a:gd name="connsiteX54" fmla="*/ 699251 w 1241284"/>
                  <a:gd name="connsiteY54" fmla="*/ -157 h 1557677"/>
                  <a:gd name="connsiteX55" fmla="*/ 741392 w 1241284"/>
                  <a:gd name="connsiteY55" fmla="*/ 23581 h 1557677"/>
                  <a:gd name="connsiteX56" fmla="*/ 773584 w 1241284"/>
                  <a:gd name="connsiteY56" fmla="*/ 5314 h 1557677"/>
                  <a:gd name="connsiteX57" fmla="*/ 788199 w 1241284"/>
                  <a:gd name="connsiteY57" fmla="*/ 80392 h 1557677"/>
                  <a:gd name="connsiteX58" fmla="*/ 811506 w 1241284"/>
                  <a:gd name="connsiteY58" fmla="*/ 113040 h 1557677"/>
                  <a:gd name="connsiteX59" fmla="*/ 831119 w 1241284"/>
                  <a:gd name="connsiteY59" fmla="*/ 92244 h 1557677"/>
                  <a:gd name="connsiteX60" fmla="*/ 829864 w 1241284"/>
                  <a:gd name="connsiteY60" fmla="*/ 119146 h 1557677"/>
                  <a:gd name="connsiteX61" fmla="*/ 864500 w 1241284"/>
                  <a:gd name="connsiteY61" fmla="*/ 151024 h 1557677"/>
                  <a:gd name="connsiteX62" fmla="*/ 862300 w 1241284"/>
                  <a:gd name="connsiteY62" fmla="*/ 174899 h 1557677"/>
                  <a:gd name="connsiteX63" fmla="*/ 890082 w 1241284"/>
                  <a:gd name="connsiteY63" fmla="*/ 189481 h 1557677"/>
                  <a:gd name="connsiteX64" fmla="*/ 879760 w 1241284"/>
                  <a:gd name="connsiteY64" fmla="*/ 214900 h 1557677"/>
                  <a:gd name="connsiteX65" fmla="*/ 901356 w 1241284"/>
                  <a:gd name="connsiteY65" fmla="*/ 220315 h 1557677"/>
                  <a:gd name="connsiteX66" fmla="*/ 915040 w 1241284"/>
                  <a:gd name="connsiteY66" fmla="*/ 247294 h 1557677"/>
                  <a:gd name="connsiteX67" fmla="*/ 940709 w 1241284"/>
                  <a:gd name="connsiteY67" fmla="*/ 242194 h 1557677"/>
                  <a:gd name="connsiteX68" fmla="*/ 972791 w 1241284"/>
                  <a:gd name="connsiteY68" fmla="*/ 263749 h 1557677"/>
                  <a:gd name="connsiteX69" fmla="*/ 937341 w 1241284"/>
                  <a:gd name="connsiteY69" fmla="*/ 296344 h 1557677"/>
                  <a:gd name="connsiteX70" fmla="*/ 957018 w 1241284"/>
                  <a:gd name="connsiteY70" fmla="*/ 336942 h 1557677"/>
                  <a:gd name="connsiteX71" fmla="*/ 1039280 w 1241284"/>
                  <a:gd name="connsiteY71" fmla="*/ 283491 h 1557677"/>
                  <a:gd name="connsiteX72" fmla="*/ 1075015 w 1241284"/>
                  <a:gd name="connsiteY72" fmla="*/ 357081 h 1557677"/>
                  <a:gd name="connsiteX73" fmla="*/ 1105712 w 1241284"/>
                  <a:gd name="connsiteY73" fmla="*/ 329200 h 1557677"/>
                  <a:gd name="connsiteX74" fmla="*/ 1130096 w 1241284"/>
                  <a:gd name="connsiteY74" fmla="*/ 342125 h 1557677"/>
                  <a:gd name="connsiteX75" fmla="*/ 1151799 w 1241284"/>
                  <a:gd name="connsiteY75" fmla="*/ 417884 h 1557677"/>
                  <a:gd name="connsiteX76" fmla="*/ 1135903 w 1241284"/>
                  <a:gd name="connsiteY76" fmla="*/ 461599 h 1557677"/>
                  <a:gd name="connsiteX77" fmla="*/ 1156505 w 1241284"/>
                  <a:gd name="connsiteY77" fmla="*/ 447450 h 1557677"/>
                  <a:gd name="connsiteX78" fmla="*/ 1169818 w 1241284"/>
                  <a:gd name="connsiteY78" fmla="*/ 482482 h 1557677"/>
                  <a:gd name="connsiteX79" fmla="*/ 1194261 w 1241284"/>
                  <a:gd name="connsiteY79" fmla="*/ 494612 h 1557677"/>
                  <a:gd name="connsiteX80" fmla="*/ 1157879 w 1241284"/>
                  <a:gd name="connsiteY80" fmla="*/ 512111 h 1557677"/>
                  <a:gd name="connsiteX81" fmla="*/ 1175850 w 1241284"/>
                  <a:gd name="connsiteY81" fmla="*/ 545231 h 1557677"/>
                  <a:gd name="connsiteX82" fmla="*/ 1166345 w 1241284"/>
                  <a:gd name="connsiteY82" fmla="*/ 561183 h 1557677"/>
                  <a:gd name="connsiteX83" fmla="*/ 1207071 w 1241284"/>
                  <a:gd name="connsiteY83" fmla="*/ 592308 h 1557677"/>
                  <a:gd name="connsiteX84" fmla="*/ 1240619 w 1241284"/>
                  <a:gd name="connsiteY84" fmla="*/ 646154 h 1557677"/>
                  <a:gd name="connsiteX85" fmla="*/ 1138114 w 1241284"/>
                  <a:gd name="connsiteY85" fmla="*/ 701205 h 1557677"/>
                  <a:gd name="connsiteX86" fmla="*/ 1085123 w 1241284"/>
                  <a:gd name="connsiteY86" fmla="*/ 801315 h 1557677"/>
                  <a:gd name="connsiteX87" fmla="*/ 1096684 w 1241284"/>
                  <a:gd name="connsiteY87" fmla="*/ 828814 h 1557677"/>
                  <a:gd name="connsiteX88" fmla="*/ 1130056 w 1241284"/>
                  <a:gd name="connsiteY88" fmla="*/ 809477 h 1557677"/>
                  <a:gd name="connsiteX89" fmla="*/ 1158387 w 1241284"/>
                  <a:gd name="connsiteY89" fmla="*/ 817077 h 1557677"/>
                  <a:gd name="connsiteX90" fmla="*/ 1157166 w 1241284"/>
                  <a:gd name="connsiteY90" fmla="*/ 848575 h 1557677"/>
                  <a:gd name="connsiteX91" fmla="*/ 1181123 w 1241284"/>
                  <a:gd name="connsiteY91" fmla="*/ 873069 h 1557677"/>
                  <a:gd name="connsiteX92" fmla="*/ 1180114 w 1241284"/>
                  <a:gd name="connsiteY92" fmla="*/ 910986 h 1557677"/>
                  <a:gd name="connsiteX93" fmla="*/ 1138399 w 1241284"/>
                  <a:gd name="connsiteY93" fmla="*/ 964278 h 1557677"/>
                  <a:gd name="connsiteX94" fmla="*/ 1133865 w 1241284"/>
                  <a:gd name="connsiteY94" fmla="*/ 1060781 h 1557677"/>
                  <a:gd name="connsiteX95" fmla="*/ 1103362 w 1241284"/>
                  <a:gd name="connsiteY95" fmla="*/ 1183096 h 1557677"/>
                  <a:gd name="connsiteX96" fmla="*/ 1131240 w 1241284"/>
                  <a:gd name="connsiteY96" fmla="*/ 1186385 h 1557677"/>
                  <a:gd name="connsiteX97" fmla="*/ 1122360 w 1241284"/>
                  <a:gd name="connsiteY97" fmla="*/ 1237361 h 1557677"/>
                  <a:gd name="connsiteX98" fmla="*/ 1069312 w 1241284"/>
                  <a:gd name="connsiteY98" fmla="*/ 1266760 h 1557677"/>
                  <a:gd name="connsiteX99" fmla="*/ 1018142 w 1241284"/>
                  <a:gd name="connsiteY99" fmla="*/ 1348398 h 1557677"/>
                  <a:gd name="connsiteX100" fmla="*/ 932299 w 1241284"/>
                  <a:gd name="connsiteY100" fmla="*/ 1341747 h 1557677"/>
                  <a:gd name="connsiteX101" fmla="*/ 838789 w 1241284"/>
                  <a:gd name="connsiteY101" fmla="*/ 1308277 h 1557677"/>
                  <a:gd name="connsiteX102" fmla="*/ 772095 w 1241284"/>
                  <a:gd name="connsiteY102" fmla="*/ 1344208 h 1557677"/>
                  <a:gd name="connsiteX103" fmla="*/ 698199 w 1241284"/>
                  <a:gd name="connsiteY103" fmla="*/ 1311025 h 1557677"/>
                  <a:gd name="connsiteX104" fmla="*/ 645600 w 1241284"/>
                  <a:gd name="connsiteY104" fmla="*/ 1311684 h 1557677"/>
                  <a:gd name="connsiteX105" fmla="*/ 549539 w 1241284"/>
                  <a:gd name="connsiteY105" fmla="*/ 1400537 h 1557677"/>
                  <a:gd name="connsiteX106" fmla="*/ 519227 w 1241284"/>
                  <a:gd name="connsiteY106" fmla="*/ 1457752 h 1557677"/>
                  <a:gd name="connsiteX107" fmla="*/ 378809 w 1241284"/>
                  <a:gd name="connsiteY107" fmla="*/ 1507821 h 1557677"/>
                  <a:gd name="connsiteX108" fmla="*/ 326085 w 1241284"/>
                  <a:gd name="connsiteY108" fmla="*/ 1544257 h 1557677"/>
                  <a:gd name="connsiteX109" fmla="*/ 282441 w 1241284"/>
                  <a:gd name="connsiteY109" fmla="*/ 1539671 h 1557677"/>
                  <a:gd name="connsiteX110" fmla="*/ 265428 w 1241284"/>
                  <a:gd name="connsiteY110" fmla="*/ 1557521 h 1557677"/>
                  <a:gd name="connsiteX111" fmla="*/ 159771 w 1241284"/>
                  <a:gd name="connsiteY111" fmla="*/ 1541071 h 1557677"/>
                  <a:gd name="connsiteX112" fmla="*/ 92069 w 1241284"/>
                  <a:gd name="connsiteY112" fmla="*/ 1554329 h 1557677"/>
                  <a:gd name="connsiteX113" fmla="*/ 28323 w 1241284"/>
                  <a:gd name="connsiteY113" fmla="*/ 1507257 h 1557677"/>
                  <a:gd name="connsiteX114" fmla="*/ 26353 w 1241284"/>
                  <a:gd name="connsiteY114" fmla="*/ 1465690 h 1557677"/>
                  <a:gd name="connsiteX115" fmla="*/ 8285 w 1241284"/>
                  <a:gd name="connsiteY115" fmla="*/ 1467592 h 1557677"/>
                  <a:gd name="connsiteX116" fmla="*/ -666 w 1241284"/>
                  <a:gd name="connsiteY116" fmla="*/ 1441512 h 1557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</a:cxnLst>
                <a:rect l="l" t="t" r="r" b="b"/>
                <a:pathLst>
                  <a:path w="1241284" h="1557677">
                    <a:moveTo>
                      <a:pt x="-666" y="1441512"/>
                    </a:moveTo>
                    <a:lnTo>
                      <a:pt x="23251" y="1401795"/>
                    </a:lnTo>
                    <a:lnTo>
                      <a:pt x="86524" y="1368064"/>
                    </a:lnTo>
                    <a:lnTo>
                      <a:pt x="19937" y="1335025"/>
                    </a:lnTo>
                    <a:lnTo>
                      <a:pt x="62324" y="1275661"/>
                    </a:lnTo>
                    <a:lnTo>
                      <a:pt x="41790" y="1256881"/>
                    </a:lnTo>
                    <a:lnTo>
                      <a:pt x="61682" y="1217332"/>
                    </a:lnTo>
                    <a:lnTo>
                      <a:pt x="90582" y="1223306"/>
                    </a:lnTo>
                    <a:lnTo>
                      <a:pt x="103010" y="1208089"/>
                    </a:lnTo>
                    <a:lnTo>
                      <a:pt x="138070" y="1229258"/>
                    </a:lnTo>
                    <a:lnTo>
                      <a:pt x="188281" y="1180917"/>
                    </a:lnTo>
                    <a:lnTo>
                      <a:pt x="260531" y="1186707"/>
                    </a:lnTo>
                    <a:lnTo>
                      <a:pt x="283258" y="1139023"/>
                    </a:lnTo>
                    <a:lnTo>
                      <a:pt x="344970" y="1099815"/>
                    </a:lnTo>
                    <a:lnTo>
                      <a:pt x="370790" y="1046437"/>
                    </a:lnTo>
                    <a:lnTo>
                      <a:pt x="403629" y="1053179"/>
                    </a:lnTo>
                    <a:lnTo>
                      <a:pt x="413139" y="1029224"/>
                    </a:lnTo>
                    <a:lnTo>
                      <a:pt x="507523" y="995232"/>
                    </a:lnTo>
                    <a:lnTo>
                      <a:pt x="546060" y="953520"/>
                    </a:lnTo>
                    <a:lnTo>
                      <a:pt x="561349" y="888175"/>
                    </a:lnTo>
                    <a:lnTo>
                      <a:pt x="539440" y="889567"/>
                    </a:lnTo>
                    <a:lnTo>
                      <a:pt x="541718" y="872438"/>
                    </a:lnTo>
                    <a:lnTo>
                      <a:pt x="516055" y="866139"/>
                    </a:lnTo>
                    <a:lnTo>
                      <a:pt x="491302" y="812911"/>
                    </a:lnTo>
                    <a:lnTo>
                      <a:pt x="585159" y="733218"/>
                    </a:lnTo>
                    <a:lnTo>
                      <a:pt x="626582" y="656831"/>
                    </a:lnTo>
                    <a:lnTo>
                      <a:pt x="720364" y="616543"/>
                    </a:lnTo>
                    <a:lnTo>
                      <a:pt x="727900" y="571648"/>
                    </a:lnTo>
                    <a:lnTo>
                      <a:pt x="712126" y="537298"/>
                    </a:lnTo>
                    <a:lnTo>
                      <a:pt x="659221" y="494541"/>
                    </a:lnTo>
                    <a:lnTo>
                      <a:pt x="617958" y="500369"/>
                    </a:lnTo>
                    <a:lnTo>
                      <a:pt x="599738" y="420691"/>
                    </a:lnTo>
                    <a:lnTo>
                      <a:pt x="567024" y="369111"/>
                    </a:lnTo>
                    <a:lnTo>
                      <a:pt x="573374" y="345777"/>
                    </a:lnTo>
                    <a:lnTo>
                      <a:pt x="559042" y="327350"/>
                    </a:lnTo>
                    <a:lnTo>
                      <a:pt x="534782" y="326443"/>
                    </a:lnTo>
                    <a:lnTo>
                      <a:pt x="539845" y="283220"/>
                    </a:lnTo>
                    <a:lnTo>
                      <a:pt x="551249" y="266820"/>
                    </a:lnTo>
                    <a:lnTo>
                      <a:pt x="640985" y="281403"/>
                    </a:lnTo>
                    <a:lnTo>
                      <a:pt x="680231" y="235314"/>
                    </a:lnTo>
                    <a:lnTo>
                      <a:pt x="691263" y="251698"/>
                    </a:lnTo>
                    <a:lnTo>
                      <a:pt x="703479" y="245384"/>
                    </a:lnTo>
                    <a:lnTo>
                      <a:pt x="693070" y="199602"/>
                    </a:lnTo>
                    <a:lnTo>
                      <a:pt x="703571" y="172163"/>
                    </a:lnTo>
                    <a:lnTo>
                      <a:pt x="686477" y="170964"/>
                    </a:lnTo>
                    <a:lnTo>
                      <a:pt x="678984" y="187891"/>
                    </a:lnTo>
                    <a:lnTo>
                      <a:pt x="655362" y="133795"/>
                    </a:lnTo>
                    <a:lnTo>
                      <a:pt x="639020" y="135627"/>
                    </a:lnTo>
                    <a:lnTo>
                      <a:pt x="627476" y="109997"/>
                    </a:lnTo>
                    <a:lnTo>
                      <a:pt x="651992" y="87278"/>
                    </a:lnTo>
                    <a:lnTo>
                      <a:pt x="642157" y="55392"/>
                    </a:lnTo>
                    <a:lnTo>
                      <a:pt x="655326" y="46702"/>
                    </a:lnTo>
                    <a:lnTo>
                      <a:pt x="639991" y="26624"/>
                    </a:lnTo>
                    <a:lnTo>
                      <a:pt x="664019" y="2686"/>
                    </a:lnTo>
                    <a:lnTo>
                      <a:pt x="699251" y="-157"/>
                    </a:lnTo>
                    <a:lnTo>
                      <a:pt x="741392" y="23581"/>
                    </a:lnTo>
                    <a:lnTo>
                      <a:pt x="773584" y="5314"/>
                    </a:lnTo>
                    <a:lnTo>
                      <a:pt x="788199" y="80392"/>
                    </a:lnTo>
                    <a:lnTo>
                      <a:pt x="811506" y="113040"/>
                    </a:lnTo>
                    <a:lnTo>
                      <a:pt x="831119" y="92244"/>
                    </a:lnTo>
                    <a:lnTo>
                      <a:pt x="829864" y="119146"/>
                    </a:lnTo>
                    <a:lnTo>
                      <a:pt x="864500" y="151024"/>
                    </a:lnTo>
                    <a:lnTo>
                      <a:pt x="862300" y="174899"/>
                    </a:lnTo>
                    <a:lnTo>
                      <a:pt x="890082" y="189481"/>
                    </a:lnTo>
                    <a:lnTo>
                      <a:pt x="879760" y="214900"/>
                    </a:lnTo>
                    <a:lnTo>
                      <a:pt x="901356" y="220315"/>
                    </a:lnTo>
                    <a:lnTo>
                      <a:pt x="915040" y="247294"/>
                    </a:lnTo>
                    <a:lnTo>
                      <a:pt x="940709" y="242194"/>
                    </a:lnTo>
                    <a:lnTo>
                      <a:pt x="972791" y="263749"/>
                    </a:lnTo>
                    <a:lnTo>
                      <a:pt x="937341" y="296344"/>
                    </a:lnTo>
                    <a:lnTo>
                      <a:pt x="957018" y="336942"/>
                    </a:lnTo>
                    <a:lnTo>
                      <a:pt x="1039280" y="283491"/>
                    </a:lnTo>
                    <a:lnTo>
                      <a:pt x="1075015" y="357081"/>
                    </a:lnTo>
                    <a:lnTo>
                      <a:pt x="1105712" y="329200"/>
                    </a:lnTo>
                    <a:lnTo>
                      <a:pt x="1130096" y="342125"/>
                    </a:lnTo>
                    <a:lnTo>
                      <a:pt x="1151799" y="417884"/>
                    </a:lnTo>
                    <a:lnTo>
                      <a:pt x="1135903" y="461599"/>
                    </a:lnTo>
                    <a:lnTo>
                      <a:pt x="1156505" y="447450"/>
                    </a:lnTo>
                    <a:lnTo>
                      <a:pt x="1169818" y="482482"/>
                    </a:lnTo>
                    <a:lnTo>
                      <a:pt x="1194261" y="494612"/>
                    </a:lnTo>
                    <a:lnTo>
                      <a:pt x="1157879" y="512111"/>
                    </a:lnTo>
                    <a:lnTo>
                      <a:pt x="1175850" y="545231"/>
                    </a:lnTo>
                    <a:lnTo>
                      <a:pt x="1166345" y="561183"/>
                    </a:lnTo>
                    <a:lnTo>
                      <a:pt x="1207071" y="592308"/>
                    </a:lnTo>
                    <a:lnTo>
                      <a:pt x="1240619" y="646154"/>
                    </a:lnTo>
                    <a:lnTo>
                      <a:pt x="1138114" y="701205"/>
                    </a:lnTo>
                    <a:lnTo>
                      <a:pt x="1085123" y="801315"/>
                    </a:lnTo>
                    <a:lnTo>
                      <a:pt x="1096684" y="828814"/>
                    </a:lnTo>
                    <a:lnTo>
                      <a:pt x="1130056" y="809477"/>
                    </a:lnTo>
                    <a:lnTo>
                      <a:pt x="1158387" y="817077"/>
                    </a:lnTo>
                    <a:lnTo>
                      <a:pt x="1157166" y="848575"/>
                    </a:lnTo>
                    <a:lnTo>
                      <a:pt x="1181123" y="873069"/>
                    </a:lnTo>
                    <a:lnTo>
                      <a:pt x="1180114" y="910986"/>
                    </a:lnTo>
                    <a:lnTo>
                      <a:pt x="1138399" y="964278"/>
                    </a:lnTo>
                    <a:lnTo>
                      <a:pt x="1133865" y="1060781"/>
                    </a:lnTo>
                    <a:lnTo>
                      <a:pt x="1103362" y="1183096"/>
                    </a:lnTo>
                    <a:lnTo>
                      <a:pt x="1131240" y="1186385"/>
                    </a:lnTo>
                    <a:lnTo>
                      <a:pt x="1122360" y="1237361"/>
                    </a:lnTo>
                    <a:lnTo>
                      <a:pt x="1069312" y="1266760"/>
                    </a:lnTo>
                    <a:lnTo>
                      <a:pt x="1018142" y="1348398"/>
                    </a:lnTo>
                    <a:lnTo>
                      <a:pt x="932299" y="1341747"/>
                    </a:lnTo>
                    <a:lnTo>
                      <a:pt x="838789" y="1308277"/>
                    </a:lnTo>
                    <a:lnTo>
                      <a:pt x="772095" y="1344208"/>
                    </a:lnTo>
                    <a:lnTo>
                      <a:pt x="698199" y="1311025"/>
                    </a:lnTo>
                    <a:lnTo>
                      <a:pt x="645600" y="1311684"/>
                    </a:lnTo>
                    <a:lnTo>
                      <a:pt x="549539" y="1400537"/>
                    </a:lnTo>
                    <a:lnTo>
                      <a:pt x="519227" y="1457752"/>
                    </a:lnTo>
                    <a:lnTo>
                      <a:pt x="378809" y="1507821"/>
                    </a:lnTo>
                    <a:lnTo>
                      <a:pt x="326085" y="1544257"/>
                    </a:lnTo>
                    <a:lnTo>
                      <a:pt x="282441" y="1539671"/>
                    </a:lnTo>
                    <a:lnTo>
                      <a:pt x="265428" y="1557521"/>
                    </a:lnTo>
                    <a:lnTo>
                      <a:pt x="159771" y="1541071"/>
                    </a:lnTo>
                    <a:lnTo>
                      <a:pt x="92069" y="1554329"/>
                    </a:lnTo>
                    <a:lnTo>
                      <a:pt x="28323" y="1507257"/>
                    </a:lnTo>
                    <a:lnTo>
                      <a:pt x="26353" y="1465690"/>
                    </a:lnTo>
                    <a:lnTo>
                      <a:pt x="8285" y="1467592"/>
                    </a:lnTo>
                    <a:lnTo>
                      <a:pt x="-666" y="1441512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0" name="Амурская область">
                <a:extLst>
                  <a:ext uri="{FF2B5EF4-FFF2-40B4-BE49-F238E27FC236}">
                    <a16:creationId xmlns:a16="http://schemas.microsoft.com/office/drawing/2014/main" id="{E085C8D6-1B2A-4D4C-AB38-9B41630224DE}"/>
                  </a:ext>
                </a:extLst>
              </p:cNvPr>
              <p:cNvSpPr/>
              <p:nvPr/>
            </p:nvSpPr>
            <p:spPr>
              <a:xfrm>
                <a:off x="8290902" y="4541135"/>
                <a:ext cx="1492532" cy="1056885"/>
              </a:xfrm>
              <a:custGeom>
                <a:avLst/>
                <a:gdLst>
                  <a:gd name="connsiteX0" fmla="*/ -646 w 1492532"/>
                  <a:gd name="connsiteY0" fmla="*/ 252995 h 1056885"/>
                  <a:gd name="connsiteX1" fmla="*/ 39218 w 1492532"/>
                  <a:gd name="connsiteY1" fmla="*/ 197287 h 1056885"/>
                  <a:gd name="connsiteX2" fmla="*/ 130622 w 1492532"/>
                  <a:gd name="connsiteY2" fmla="*/ 176004 h 1056885"/>
                  <a:gd name="connsiteX3" fmla="*/ 159311 w 1492532"/>
                  <a:gd name="connsiteY3" fmla="*/ 207289 h 1056885"/>
                  <a:gd name="connsiteX4" fmla="*/ 204017 w 1492532"/>
                  <a:gd name="connsiteY4" fmla="*/ 191774 h 1056885"/>
                  <a:gd name="connsiteX5" fmla="*/ 249856 w 1492532"/>
                  <a:gd name="connsiteY5" fmla="*/ 219426 h 1056885"/>
                  <a:gd name="connsiteX6" fmla="*/ 269750 w 1492532"/>
                  <a:gd name="connsiteY6" fmla="*/ 194483 h 1056885"/>
                  <a:gd name="connsiteX7" fmla="*/ 294892 w 1492532"/>
                  <a:gd name="connsiteY7" fmla="*/ 208779 h 1056885"/>
                  <a:gd name="connsiteX8" fmla="*/ 364328 w 1492532"/>
                  <a:gd name="connsiteY8" fmla="*/ 196048 h 1056885"/>
                  <a:gd name="connsiteX9" fmla="*/ 438537 w 1492532"/>
                  <a:gd name="connsiteY9" fmla="*/ 252682 h 1056885"/>
                  <a:gd name="connsiteX10" fmla="*/ 497987 w 1492532"/>
                  <a:gd name="connsiteY10" fmla="*/ 226756 h 1056885"/>
                  <a:gd name="connsiteX11" fmla="*/ 532096 w 1492532"/>
                  <a:gd name="connsiteY11" fmla="*/ 241870 h 1056885"/>
                  <a:gd name="connsiteX12" fmla="*/ 552448 w 1492532"/>
                  <a:gd name="connsiteY12" fmla="*/ 223585 h 1056885"/>
                  <a:gd name="connsiteX13" fmla="*/ 577224 w 1492532"/>
                  <a:gd name="connsiteY13" fmla="*/ 228835 h 1056885"/>
                  <a:gd name="connsiteX14" fmla="*/ 584816 w 1492532"/>
                  <a:gd name="connsiteY14" fmla="*/ 246537 h 1056885"/>
                  <a:gd name="connsiteX15" fmla="*/ 614707 w 1492532"/>
                  <a:gd name="connsiteY15" fmla="*/ 239573 h 1056885"/>
                  <a:gd name="connsiteX16" fmla="*/ 666144 w 1492532"/>
                  <a:gd name="connsiteY16" fmla="*/ 192544 h 1056885"/>
                  <a:gd name="connsiteX17" fmla="*/ 696450 w 1492532"/>
                  <a:gd name="connsiteY17" fmla="*/ 203619 h 1056885"/>
                  <a:gd name="connsiteX18" fmla="*/ 709518 w 1492532"/>
                  <a:gd name="connsiteY18" fmla="*/ 172318 h 1056885"/>
                  <a:gd name="connsiteX19" fmla="*/ 756455 w 1492532"/>
                  <a:gd name="connsiteY19" fmla="*/ 158289 h 1056885"/>
                  <a:gd name="connsiteX20" fmla="*/ 809296 w 1492532"/>
                  <a:gd name="connsiteY20" fmla="*/ 171002 h 1056885"/>
                  <a:gd name="connsiteX21" fmla="*/ 831199 w 1492532"/>
                  <a:gd name="connsiteY21" fmla="*/ 155099 h 1056885"/>
                  <a:gd name="connsiteX22" fmla="*/ 817626 w 1492532"/>
                  <a:gd name="connsiteY22" fmla="*/ 132091 h 1056885"/>
                  <a:gd name="connsiteX23" fmla="*/ 860485 w 1492532"/>
                  <a:gd name="connsiteY23" fmla="*/ 97446 h 1056885"/>
                  <a:gd name="connsiteX24" fmla="*/ 947964 w 1492532"/>
                  <a:gd name="connsiteY24" fmla="*/ 62697 h 1056885"/>
                  <a:gd name="connsiteX25" fmla="*/ 987453 w 1492532"/>
                  <a:gd name="connsiteY25" fmla="*/ 63030 h 1056885"/>
                  <a:gd name="connsiteX26" fmla="*/ 1080538 w 1492532"/>
                  <a:gd name="connsiteY26" fmla="*/ -157 h 1056885"/>
                  <a:gd name="connsiteX27" fmla="*/ 1146524 w 1492532"/>
                  <a:gd name="connsiteY27" fmla="*/ 23483 h 1056885"/>
                  <a:gd name="connsiteX28" fmla="*/ 1131648 w 1492532"/>
                  <a:gd name="connsiteY28" fmla="*/ 63329 h 1056885"/>
                  <a:gd name="connsiteX29" fmla="*/ 1110461 w 1492532"/>
                  <a:gd name="connsiteY29" fmla="*/ 73548 h 1056885"/>
                  <a:gd name="connsiteX30" fmla="*/ 1127331 w 1492532"/>
                  <a:gd name="connsiteY30" fmla="*/ 91705 h 1056885"/>
                  <a:gd name="connsiteX31" fmla="*/ 1101955 w 1492532"/>
                  <a:gd name="connsiteY31" fmla="*/ 108468 h 1056885"/>
                  <a:gd name="connsiteX32" fmla="*/ 1101853 w 1492532"/>
                  <a:gd name="connsiteY32" fmla="*/ 137854 h 1056885"/>
                  <a:gd name="connsiteX33" fmla="*/ 1057246 w 1492532"/>
                  <a:gd name="connsiteY33" fmla="*/ 203915 h 1056885"/>
                  <a:gd name="connsiteX34" fmla="*/ 1073348 w 1492532"/>
                  <a:gd name="connsiteY34" fmla="*/ 247906 h 1056885"/>
                  <a:gd name="connsiteX35" fmla="*/ 1044424 w 1492532"/>
                  <a:gd name="connsiteY35" fmla="*/ 267703 h 1056885"/>
                  <a:gd name="connsiteX36" fmla="*/ 1040796 w 1492532"/>
                  <a:gd name="connsiteY36" fmla="*/ 334801 h 1056885"/>
                  <a:gd name="connsiteX37" fmla="*/ 1137357 w 1492532"/>
                  <a:gd name="connsiteY37" fmla="*/ 317967 h 1056885"/>
                  <a:gd name="connsiteX38" fmla="*/ 1174927 w 1492532"/>
                  <a:gd name="connsiteY38" fmla="*/ 391852 h 1056885"/>
                  <a:gd name="connsiteX39" fmla="*/ 1202909 w 1492532"/>
                  <a:gd name="connsiteY39" fmla="*/ 372177 h 1056885"/>
                  <a:gd name="connsiteX40" fmla="*/ 1218879 w 1492532"/>
                  <a:gd name="connsiteY40" fmla="*/ 385318 h 1056885"/>
                  <a:gd name="connsiteX41" fmla="*/ 1229121 w 1492532"/>
                  <a:gd name="connsiteY41" fmla="*/ 362094 h 1056885"/>
                  <a:gd name="connsiteX42" fmla="*/ 1292379 w 1492532"/>
                  <a:gd name="connsiteY42" fmla="*/ 331371 h 1056885"/>
                  <a:gd name="connsiteX43" fmla="*/ 1328102 w 1492532"/>
                  <a:gd name="connsiteY43" fmla="*/ 257920 h 1056885"/>
                  <a:gd name="connsiteX44" fmla="*/ 1366977 w 1492532"/>
                  <a:gd name="connsiteY44" fmla="*/ 256981 h 1056885"/>
                  <a:gd name="connsiteX45" fmla="*/ 1404394 w 1492532"/>
                  <a:gd name="connsiteY45" fmla="*/ 205267 h 1056885"/>
                  <a:gd name="connsiteX46" fmla="*/ 1448642 w 1492532"/>
                  <a:gd name="connsiteY46" fmla="*/ 219060 h 1056885"/>
                  <a:gd name="connsiteX47" fmla="*/ 1439577 w 1492532"/>
                  <a:gd name="connsiteY47" fmla="*/ 228241 h 1056885"/>
                  <a:gd name="connsiteX48" fmla="*/ 1467363 w 1492532"/>
                  <a:gd name="connsiteY48" fmla="*/ 263704 h 1056885"/>
                  <a:gd name="connsiteX49" fmla="*/ 1459874 w 1492532"/>
                  <a:gd name="connsiteY49" fmla="*/ 302631 h 1056885"/>
                  <a:gd name="connsiteX50" fmla="*/ 1491867 w 1492532"/>
                  <a:gd name="connsiteY50" fmla="*/ 330931 h 1056885"/>
                  <a:gd name="connsiteX51" fmla="*/ 1490888 w 1492532"/>
                  <a:gd name="connsiteY51" fmla="*/ 370365 h 1056885"/>
                  <a:gd name="connsiteX52" fmla="*/ 1364942 w 1492532"/>
                  <a:gd name="connsiteY52" fmla="*/ 391101 h 1056885"/>
                  <a:gd name="connsiteX53" fmla="*/ 1379288 w 1492532"/>
                  <a:gd name="connsiteY53" fmla="*/ 424871 h 1056885"/>
                  <a:gd name="connsiteX54" fmla="*/ 1410058 w 1492532"/>
                  <a:gd name="connsiteY54" fmla="*/ 446575 h 1056885"/>
                  <a:gd name="connsiteX55" fmla="*/ 1362792 w 1492532"/>
                  <a:gd name="connsiteY55" fmla="*/ 479478 h 1056885"/>
                  <a:gd name="connsiteX56" fmla="*/ 1353258 w 1492532"/>
                  <a:gd name="connsiteY56" fmla="*/ 523591 h 1056885"/>
                  <a:gd name="connsiteX57" fmla="*/ 1340992 w 1492532"/>
                  <a:gd name="connsiteY57" fmla="*/ 526211 h 1056885"/>
                  <a:gd name="connsiteX58" fmla="*/ 1352232 w 1492532"/>
                  <a:gd name="connsiteY58" fmla="*/ 536731 h 1056885"/>
                  <a:gd name="connsiteX59" fmla="*/ 1344266 w 1492532"/>
                  <a:gd name="connsiteY59" fmla="*/ 554422 h 1056885"/>
                  <a:gd name="connsiteX60" fmla="*/ 1274855 w 1492532"/>
                  <a:gd name="connsiteY60" fmla="*/ 608298 h 1056885"/>
                  <a:gd name="connsiteX61" fmla="*/ 1306019 w 1492532"/>
                  <a:gd name="connsiteY61" fmla="*/ 653012 h 1056885"/>
                  <a:gd name="connsiteX62" fmla="*/ 1288696 w 1492532"/>
                  <a:gd name="connsiteY62" fmla="*/ 654830 h 1056885"/>
                  <a:gd name="connsiteX63" fmla="*/ 1273974 w 1492532"/>
                  <a:gd name="connsiteY63" fmla="*/ 686941 h 1056885"/>
                  <a:gd name="connsiteX64" fmla="*/ 1276279 w 1492532"/>
                  <a:gd name="connsiteY64" fmla="*/ 783437 h 1056885"/>
                  <a:gd name="connsiteX65" fmla="*/ 1308994 w 1492532"/>
                  <a:gd name="connsiteY65" fmla="*/ 774075 h 1056885"/>
                  <a:gd name="connsiteX66" fmla="*/ 1323589 w 1492532"/>
                  <a:gd name="connsiteY66" fmla="*/ 814615 h 1056885"/>
                  <a:gd name="connsiteX67" fmla="*/ 1326020 w 1492532"/>
                  <a:gd name="connsiteY67" fmla="*/ 801012 h 1056885"/>
                  <a:gd name="connsiteX68" fmla="*/ 1357466 w 1492532"/>
                  <a:gd name="connsiteY68" fmla="*/ 798323 h 1056885"/>
                  <a:gd name="connsiteX69" fmla="*/ 1382348 w 1492532"/>
                  <a:gd name="connsiteY69" fmla="*/ 818549 h 1056885"/>
                  <a:gd name="connsiteX70" fmla="*/ 1389891 w 1492532"/>
                  <a:gd name="connsiteY70" fmla="*/ 850483 h 1056885"/>
                  <a:gd name="connsiteX71" fmla="*/ 1406511 w 1492532"/>
                  <a:gd name="connsiteY71" fmla="*/ 854284 h 1056885"/>
                  <a:gd name="connsiteX72" fmla="*/ 1416345 w 1492532"/>
                  <a:gd name="connsiteY72" fmla="*/ 878293 h 1056885"/>
                  <a:gd name="connsiteX73" fmla="*/ 1405112 w 1492532"/>
                  <a:gd name="connsiteY73" fmla="*/ 890364 h 1056885"/>
                  <a:gd name="connsiteX74" fmla="*/ 1439312 w 1492532"/>
                  <a:gd name="connsiteY74" fmla="*/ 920555 h 1056885"/>
                  <a:gd name="connsiteX75" fmla="*/ 1441017 w 1492532"/>
                  <a:gd name="connsiteY75" fmla="*/ 949782 h 1056885"/>
                  <a:gd name="connsiteX76" fmla="*/ 1414311 w 1492532"/>
                  <a:gd name="connsiteY76" fmla="*/ 966399 h 1056885"/>
                  <a:gd name="connsiteX77" fmla="*/ 1424878 w 1492532"/>
                  <a:gd name="connsiteY77" fmla="*/ 1006169 h 1056885"/>
                  <a:gd name="connsiteX78" fmla="*/ 1358458 w 1492532"/>
                  <a:gd name="connsiteY78" fmla="*/ 1056729 h 1056885"/>
                  <a:gd name="connsiteX79" fmla="*/ 1253176 w 1492532"/>
                  <a:gd name="connsiteY79" fmla="*/ 1007962 h 1056885"/>
                  <a:gd name="connsiteX80" fmla="*/ 1217887 w 1492532"/>
                  <a:gd name="connsiteY80" fmla="*/ 1035527 h 1056885"/>
                  <a:gd name="connsiteX81" fmla="*/ 1179237 w 1492532"/>
                  <a:gd name="connsiteY81" fmla="*/ 1030659 h 1056885"/>
                  <a:gd name="connsiteX82" fmla="*/ 1173278 w 1492532"/>
                  <a:gd name="connsiteY82" fmla="*/ 1014445 h 1056885"/>
                  <a:gd name="connsiteX83" fmla="*/ 1122601 w 1492532"/>
                  <a:gd name="connsiteY83" fmla="*/ 1046040 h 1056885"/>
                  <a:gd name="connsiteX84" fmla="*/ 1069758 w 1492532"/>
                  <a:gd name="connsiteY84" fmla="*/ 1046155 h 1056885"/>
                  <a:gd name="connsiteX85" fmla="*/ 1032044 w 1492532"/>
                  <a:gd name="connsiteY85" fmla="*/ 1007244 h 1056885"/>
                  <a:gd name="connsiteX86" fmla="*/ 1028149 w 1492532"/>
                  <a:gd name="connsiteY86" fmla="*/ 967565 h 1056885"/>
                  <a:gd name="connsiteX87" fmla="*/ 996402 w 1492532"/>
                  <a:gd name="connsiteY87" fmla="*/ 963830 h 1056885"/>
                  <a:gd name="connsiteX88" fmla="*/ 969806 w 1492532"/>
                  <a:gd name="connsiteY88" fmla="*/ 905653 h 1056885"/>
                  <a:gd name="connsiteX89" fmla="*/ 917201 w 1492532"/>
                  <a:gd name="connsiteY89" fmla="*/ 875238 h 1056885"/>
                  <a:gd name="connsiteX90" fmla="*/ 906679 w 1492532"/>
                  <a:gd name="connsiteY90" fmla="*/ 834629 h 1056885"/>
                  <a:gd name="connsiteX91" fmla="*/ 898553 w 1492532"/>
                  <a:gd name="connsiteY91" fmla="*/ 849250 h 1056885"/>
                  <a:gd name="connsiteX92" fmla="*/ 882036 w 1492532"/>
                  <a:gd name="connsiteY92" fmla="*/ 809574 h 1056885"/>
                  <a:gd name="connsiteX93" fmla="*/ 823819 w 1492532"/>
                  <a:gd name="connsiteY93" fmla="*/ 763105 h 1056885"/>
                  <a:gd name="connsiteX94" fmla="*/ 821768 w 1492532"/>
                  <a:gd name="connsiteY94" fmla="*/ 732677 h 1056885"/>
                  <a:gd name="connsiteX95" fmla="*/ 794908 w 1492532"/>
                  <a:gd name="connsiteY95" fmla="*/ 730602 h 1056885"/>
                  <a:gd name="connsiteX96" fmla="*/ 801633 w 1492532"/>
                  <a:gd name="connsiteY96" fmla="*/ 713622 h 1056885"/>
                  <a:gd name="connsiteX97" fmla="*/ 741493 w 1492532"/>
                  <a:gd name="connsiteY97" fmla="*/ 681838 h 1056885"/>
                  <a:gd name="connsiteX98" fmla="*/ 746171 w 1492532"/>
                  <a:gd name="connsiteY98" fmla="*/ 656028 h 1056885"/>
                  <a:gd name="connsiteX99" fmla="*/ 731444 w 1492532"/>
                  <a:gd name="connsiteY99" fmla="*/ 662206 h 1056885"/>
                  <a:gd name="connsiteX100" fmla="*/ 714394 w 1492532"/>
                  <a:gd name="connsiteY100" fmla="*/ 646723 h 1056885"/>
                  <a:gd name="connsiteX101" fmla="*/ 701950 w 1492532"/>
                  <a:gd name="connsiteY101" fmla="*/ 657228 h 1056885"/>
                  <a:gd name="connsiteX102" fmla="*/ 685383 w 1492532"/>
                  <a:gd name="connsiteY102" fmla="*/ 627378 h 1056885"/>
                  <a:gd name="connsiteX103" fmla="*/ 638653 w 1492532"/>
                  <a:gd name="connsiteY103" fmla="*/ 624145 h 1056885"/>
                  <a:gd name="connsiteX104" fmla="*/ 618544 w 1492532"/>
                  <a:gd name="connsiteY104" fmla="*/ 649071 h 1056885"/>
                  <a:gd name="connsiteX105" fmla="*/ 485708 w 1492532"/>
                  <a:gd name="connsiteY105" fmla="*/ 622623 h 1056885"/>
                  <a:gd name="connsiteX106" fmla="*/ 358709 w 1492532"/>
                  <a:gd name="connsiteY106" fmla="*/ 683686 h 1056885"/>
                  <a:gd name="connsiteX107" fmla="*/ 326646 w 1492532"/>
                  <a:gd name="connsiteY107" fmla="*/ 630402 h 1056885"/>
                  <a:gd name="connsiteX108" fmla="*/ 286089 w 1492532"/>
                  <a:gd name="connsiteY108" fmla="*/ 599883 h 1056885"/>
                  <a:gd name="connsiteX109" fmla="*/ 295121 w 1492532"/>
                  <a:gd name="connsiteY109" fmla="*/ 583629 h 1056885"/>
                  <a:gd name="connsiteX110" fmla="*/ 276769 w 1492532"/>
                  <a:gd name="connsiteY110" fmla="*/ 551766 h 1056885"/>
                  <a:gd name="connsiteX111" fmla="*/ 313835 w 1492532"/>
                  <a:gd name="connsiteY111" fmla="*/ 532706 h 1056885"/>
                  <a:gd name="connsiteX112" fmla="*/ 289393 w 1492532"/>
                  <a:gd name="connsiteY112" fmla="*/ 520576 h 1056885"/>
                  <a:gd name="connsiteX113" fmla="*/ 276079 w 1492532"/>
                  <a:gd name="connsiteY113" fmla="*/ 485544 h 1056885"/>
                  <a:gd name="connsiteX114" fmla="*/ 255477 w 1492532"/>
                  <a:gd name="connsiteY114" fmla="*/ 499693 h 1056885"/>
                  <a:gd name="connsiteX115" fmla="*/ 271374 w 1492532"/>
                  <a:gd name="connsiteY115" fmla="*/ 455978 h 1056885"/>
                  <a:gd name="connsiteX116" fmla="*/ 249644 w 1492532"/>
                  <a:gd name="connsiteY116" fmla="*/ 379997 h 1056885"/>
                  <a:gd name="connsiteX117" fmla="*/ 224862 w 1492532"/>
                  <a:gd name="connsiteY117" fmla="*/ 367456 h 1056885"/>
                  <a:gd name="connsiteX118" fmla="*/ 194589 w 1492532"/>
                  <a:gd name="connsiteY118" fmla="*/ 395175 h 1056885"/>
                  <a:gd name="connsiteX119" fmla="*/ 158854 w 1492532"/>
                  <a:gd name="connsiteY119" fmla="*/ 321585 h 1056885"/>
                  <a:gd name="connsiteX120" fmla="*/ 76717 w 1492532"/>
                  <a:gd name="connsiteY120" fmla="*/ 375111 h 1056885"/>
                  <a:gd name="connsiteX121" fmla="*/ 56937 w 1492532"/>
                  <a:gd name="connsiteY121" fmla="*/ 333794 h 1056885"/>
                  <a:gd name="connsiteX122" fmla="*/ 92366 w 1492532"/>
                  <a:gd name="connsiteY122" fmla="*/ 301843 h 1056885"/>
                  <a:gd name="connsiteX123" fmla="*/ 60712 w 1492532"/>
                  <a:gd name="connsiteY123" fmla="*/ 280449 h 1056885"/>
                  <a:gd name="connsiteX124" fmla="*/ 34955 w 1492532"/>
                  <a:gd name="connsiteY124" fmla="*/ 285542 h 1056885"/>
                  <a:gd name="connsiteX125" fmla="*/ 20930 w 1492532"/>
                  <a:gd name="connsiteY125" fmla="*/ 258409 h 1056885"/>
                  <a:gd name="connsiteX126" fmla="*/ -666 w 1492532"/>
                  <a:gd name="connsiteY126" fmla="*/ 252994 h 1056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1492532" h="1056885">
                    <a:moveTo>
                      <a:pt x="-646" y="252995"/>
                    </a:moveTo>
                    <a:lnTo>
                      <a:pt x="39218" y="197287"/>
                    </a:lnTo>
                    <a:lnTo>
                      <a:pt x="130622" y="176004"/>
                    </a:lnTo>
                    <a:lnTo>
                      <a:pt x="159311" y="207289"/>
                    </a:lnTo>
                    <a:lnTo>
                      <a:pt x="204017" y="191774"/>
                    </a:lnTo>
                    <a:lnTo>
                      <a:pt x="249856" y="219426"/>
                    </a:lnTo>
                    <a:lnTo>
                      <a:pt x="269750" y="194483"/>
                    </a:lnTo>
                    <a:lnTo>
                      <a:pt x="294892" y="208779"/>
                    </a:lnTo>
                    <a:lnTo>
                      <a:pt x="364328" y="196048"/>
                    </a:lnTo>
                    <a:lnTo>
                      <a:pt x="438537" y="252682"/>
                    </a:lnTo>
                    <a:lnTo>
                      <a:pt x="497987" y="226756"/>
                    </a:lnTo>
                    <a:lnTo>
                      <a:pt x="532096" y="241870"/>
                    </a:lnTo>
                    <a:lnTo>
                      <a:pt x="552448" y="223585"/>
                    </a:lnTo>
                    <a:lnTo>
                      <a:pt x="577224" y="228835"/>
                    </a:lnTo>
                    <a:lnTo>
                      <a:pt x="584816" y="246537"/>
                    </a:lnTo>
                    <a:lnTo>
                      <a:pt x="614707" y="239573"/>
                    </a:lnTo>
                    <a:lnTo>
                      <a:pt x="666144" y="192544"/>
                    </a:lnTo>
                    <a:lnTo>
                      <a:pt x="696450" y="203619"/>
                    </a:lnTo>
                    <a:lnTo>
                      <a:pt x="709518" y="172318"/>
                    </a:lnTo>
                    <a:lnTo>
                      <a:pt x="756455" y="158289"/>
                    </a:lnTo>
                    <a:lnTo>
                      <a:pt x="809296" y="171002"/>
                    </a:lnTo>
                    <a:lnTo>
                      <a:pt x="831199" y="155099"/>
                    </a:lnTo>
                    <a:lnTo>
                      <a:pt x="817626" y="132091"/>
                    </a:lnTo>
                    <a:lnTo>
                      <a:pt x="860485" y="97446"/>
                    </a:lnTo>
                    <a:lnTo>
                      <a:pt x="947964" y="62697"/>
                    </a:lnTo>
                    <a:lnTo>
                      <a:pt x="987453" y="63030"/>
                    </a:lnTo>
                    <a:lnTo>
                      <a:pt x="1080538" y="-157"/>
                    </a:lnTo>
                    <a:lnTo>
                      <a:pt x="1146524" y="23483"/>
                    </a:lnTo>
                    <a:lnTo>
                      <a:pt x="1131648" y="63329"/>
                    </a:lnTo>
                    <a:lnTo>
                      <a:pt x="1110461" y="73548"/>
                    </a:lnTo>
                    <a:lnTo>
                      <a:pt x="1127331" y="91705"/>
                    </a:lnTo>
                    <a:lnTo>
                      <a:pt x="1101955" y="108468"/>
                    </a:lnTo>
                    <a:lnTo>
                      <a:pt x="1101853" y="137854"/>
                    </a:lnTo>
                    <a:lnTo>
                      <a:pt x="1057246" y="203915"/>
                    </a:lnTo>
                    <a:lnTo>
                      <a:pt x="1073348" y="247906"/>
                    </a:lnTo>
                    <a:lnTo>
                      <a:pt x="1044424" y="267703"/>
                    </a:lnTo>
                    <a:lnTo>
                      <a:pt x="1040796" y="334801"/>
                    </a:lnTo>
                    <a:lnTo>
                      <a:pt x="1137357" y="317967"/>
                    </a:lnTo>
                    <a:lnTo>
                      <a:pt x="1174927" y="391852"/>
                    </a:lnTo>
                    <a:lnTo>
                      <a:pt x="1202909" y="372177"/>
                    </a:lnTo>
                    <a:lnTo>
                      <a:pt x="1218879" y="385318"/>
                    </a:lnTo>
                    <a:lnTo>
                      <a:pt x="1229121" y="362094"/>
                    </a:lnTo>
                    <a:lnTo>
                      <a:pt x="1292379" y="331371"/>
                    </a:lnTo>
                    <a:lnTo>
                      <a:pt x="1328102" y="257920"/>
                    </a:lnTo>
                    <a:lnTo>
                      <a:pt x="1366977" y="256981"/>
                    </a:lnTo>
                    <a:lnTo>
                      <a:pt x="1404394" y="205267"/>
                    </a:lnTo>
                    <a:lnTo>
                      <a:pt x="1448642" y="219060"/>
                    </a:lnTo>
                    <a:lnTo>
                      <a:pt x="1439577" y="228241"/>
                    </a:lnTo>
                    <a:lnTo>
                      <a:pt x="1467363" y="263704"/>
                    </a:lnTo>
                    <a:lnTo>
                      <a:pt x="1459874" y="302631"/>
                    </a:lnTo>
                    <a:lnTo>
                      <a:pt x="1491867" y="330931"/>
                    </a:lnTo>
                    <a:lnTo>
                      <a:pt x="1490888" y="370365"/>
                    </a:lnTo>
                    <a:lnTo>
                      <a:pt x="1364942" y="391101"/>
                    </a:lnTo>
                    <a:lnTo>
                      <a:pt x="1379288" y="424871"/>
                    </a:lnTo>
                    <a:lnTo>
                      <a:pt x="1410058" y="446575"/>
                    </a:lnTo>
                    <a:lnTo>
                      <a:pt x="1362792" y="479478"/>
                    </a:lnTo>
                    <a:lnTo>
                      <a:pt x="1353258" y="523591"/>
                    </a:lnTo>
                    <a:lnTo>
                      <a:pt x="1340992" y="526211"/>
                    </a:lnTo>
                    <a:lnTo>
                      <a:pt x="1352232" y="536731"/>
                    </a:lnTo>
                    <a:lnTo>
                      <a:pt x="1344266" y="554422"/>
                    </a:lnTo>
                    <a:lnTo>
                      <a:pt x="1274855" y="608298"/>
                    </a:lnTo>
                    <a:lnTo>
                      <a:pt x="1306019" y="653012"/>
                    </a:lnTo>
                    <a:lnTo>
                      <a:pt x="1288696" y="654830"/>
                    </a:lnTo>
                    <a:lnTo>
                      <a:pt x="1273974" y="686941"/>
                    </a:lnTo>
                    <a:lnTo>
                      <a:pt x="1276279" y="783437"/>
                    </a:lnTo>
                    <a:lnTo>
                      <a:pt x="1308994" y="774075"/>
                    </a:lnTo>
                    <a:lnTo>
                      <a:pt x="1323589" y="814615"/>
                    </a:lnTo>
                    <a:lnTo>
                      <a:pt x="1326020" y="801012"/>
                    </a:lnTo>
                    <a:lnTo>
                      <a:pt x="1357466" y="798323"/>
                    </a:lnTo>
                    <a:lnTo>
                      <a:pt x="1382348" y="818549"/>
                    </a:lnTo>
                    <a:lnTo>
                      <a:pt x="1389891" y="850483"/>
                    </a:lnTo>
                    <a:lnTo>
                      <a:pt x="1406511" y="854284"/>
                    </a:lnTo>
                    <a:lnTo>
                      <a:pt x="1416345" y="878293"/>
                    </a:lnTo>
                    <a:lnTo>
                      <a:pt x="1405112" y="890364"/>
                    </a:lnTo>
                    <a:lnTo>
                      <a:pt x="1439312" y="920555"/>
                    </a:lnTo>
                    <a:lnTo>
                      <a:pt x="1441017" y="949782"/>
                    </a:lnTo>
                    <a:lnTo>
                      <a:pt x="1414311" y="966399"/>
                    </a:lnTo>
                    <a:lnTo>
                      <a:pt x="1424878" y="1006169"/>
                    </a:lnTo>
                    <a:lnTo>
                      <a:pt x="1358458" y="1056729"/>
                    </a:lnTo>
                    <a:lnTo>
                      <a:pt x="1253176" y="1007962"/>
                    </a:lnTo>
                    <a:lnTo>
                      <a:pt x="1217887" y="1035527"/>
                    </a:lnTo>
                    <a:lnTo>
                      <a:pt x="1179237" y="1030659"/>
                    </a:lnTo>
                    <a:lnTo>
                      <a:pt x="1173278" y="1014445"/>
                    </a:lnTo>
                    <a:lnTo>
                      <a:pt x="1122601" y="1046040"/>
                    </a:lnTo>
                    <a:lnTo>
                      <a:pt x="1069758" y="1046155"/>
                    </a:lnTo>
                    <a:lnTo>
                      <a:pt x="1032044" y="1007244"/>
                    </a:lnTo>
                    <a:lnTo>
                      <a:pt x="1028149" y="967565"/>
                    </a:lnTo>
                    <a:lnTo>
                      <a:pt x="996402" y="963830"/>
                    </a:lnTo>
                    <a:lnTo>
                      <a:pt x="969806" y="905653"/>
                    </a:lnTo>
                    <a:lnTo>
                      <a:pt x="917201" y="875238"/>
                    </a:lnTo>
                    <a:lnTo>
                      <a:pt x="906679" y="834629"/>
                    </a:lnTo>
                    <a:lnTo>
                      <a:pt x="898553" y="849250"/>
                    </a:lnTo>
                    <a:lnTo>
                      <a:pt x="882036" y="809574"/>
                    </a:lnTo>
                    <a:lnTo>
                      <a:pt x="823819" y="763105"/>
                    </a:lnTo>
                    <a:lnTo>
                      <a:pt x="821768" y="732677"/>
                    </a:lnTo>
                    <a:lnTo>
                      <a:pt x="794908" y="730602"/>
                    </a:lnTo>
                    <a:lnTo>
                      <a:pt x="801633" y="713622"/>
                    </a:lnTo>
                    <a:lnTo>
                      <a:pt x="741493" y="681838"/>
                    </a:lnTo>
                    <a:lnTo>
                      <a:pt x="746171" y="656028"/>
                    </a:lnTo>
                    <a:lnTo>
                      <a:pt x="731444" y="662206"/>
                    </a:lnTo>
                    <a:lnTo>
                      <a:pt x="714394" y="646723"/>
                    </a:lnTo>
                    <a:lnTo>
                      <a:pt x="701950" y="657228"/>
                    </a:lnTo>
                    <a:lnTo>
                      <a:pt x="685383" y="627378"/>
                    </a:lnTo>
                    <a:lnTo>
                      <a:pt x="638653" y="624145"/>
                    </a:lnTo>
                    <a:lnTo>
                      <a:pt x="618544" y="649071"/>
                    </a:lnTo>
                    <a:lnTo>
                      <a:pt x="485708" y="622623"/>
                    </a:lnTo>
                    <a:lnTo>
                      <a:pt x="358709" y="683686"/>
                    </a:lnTo>
                    <a:lnTo>
                      <a:pt x="326646" y="630402"/>
                    </a:lnTo>
                    <a:lnTo>
                      <a:pt x="286089" y="599883"/>
                    </a:lnTo>
                    <a:lnTo>
                      <a:pt x="295121" y="583629"/>
                    </a:lnTo>
                    <a:lnTo>
                      <a:pt x="276769" y="551766"/>
                    </a:lnTo>
                    <a:lnTo>
                      <a:pt x="313835" y="532706"/>
                    </a:lnTo>
                    <a:lnTo>
                      <a:pt x="289393" y="520576"/>
                    </a:lnTo>
                    <a:lnTo>
                      <a:pt x="276079" y="485544"/>
                    </a:lnTo>
                    <a:lnTo>
                      <a:pt x="255477" y="499693"/>
                    </a:lnTo>
                    <a:lnTo>
                      <a:pt x="271374" y="455978"/>
                    </a:lnTo>
                    <a:lnTo>
                      <a:pt x="249644" y="379997"/>
                    </a:lnTo>
                    <a:lnTo>
                      <a:pt x="224862" y="367456"/>
                    </a:lnTo>
                    <a:lnTo>
                      <a:pt x="194589" y="395175"/>
                    </a:lnTo>
                    <a:lnTo>
                      <a:pt x="158854" y="321585"/>
                    </a:lnTo>
                    <a:lnTo>
                      <a:pt x="76717" y="375111"/>
                    </a:lnTo>
                    <a:lnTo>
                      <a:pt x="56937" y="333794"/>
                    </a:lnTo>
                    <a:lnTo>
                      <a:pt x="92366" y="301843"/>
                    </a:lnTo>
                    <a:lnTo>
                      <a:pt x="60712" y="280449"/>
                    </a:lnTo>
                    <a:lnTo>
                      <a:pt x="34955" y="285542"/>
                    </a:lnTo>
                    <a:lnTo>
                      <a:pt x="20930" y="258409"/>
                    </a:lnTo>
                    <a:lnTo>
                      <a:pt x="-666" y="252994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1" name="Хабаровский край">
                <a:extLst>
                  <a:ext uri="{FF2B5EF4-FFF2-40B4-BE49-F238E27FC236}">
                    <a16:creationId xmlns:a16="http://schemas.microsoft.com/office/drawing/2014/main" id="{986594A2-76FD-4AEF-BD24-7BECE06F709B}"/>
                  </a:ext>
                </a:extLst>
              </p:cNvPr>
              <p:cNvSpPr/>
              <p:nvPr/>
            </p:nvSpPr>
            <p:spPr>
              <a:xfrm>
                <a:off x="9131117" y="3143564"/>
                <a:ext cx="1478032" cy="2589050"/>
              </a:xfrm>
              <a:custGeom>
                <a:avLst/>
                <a:gdLst>
                  <a:gd name="connsiteX0" fmla="*/ 199749 w 1478032"/>
                  <a:gd name="connsiteY0" fmla="*/ 1731461 h 2589050"/>
                  <a:gd name="connsiteX1" fmla="*/ 204103 w 1478032"/>
                  <a:gd name="connsiteY1" fmla="*/ 1665582 h 2589050"/>
                  <a:gd name="connsiteX2" fmla="*/ 233062 w 1478032"/>
                  <a:gd name="connsiteY2" fmla="*/ 1645884 h 2589050"/>
                  <a:gd name="connsiteX3" fmla="*/ 217105 w 1478032"/>
                  <a:gd name="connsiteY3" fmla="*/ 1601220 h 2589050"/>
                  <a:gd name="connsiteX4" fmla="*/ 261659 w 1478032"/>
                  <a:gd name="connsiteY4" fmla="*/ 1535425 h 2589050"/>
                  <a:gd name="connsiteX5" fmla="*/ 261778 w 1478032"/>
                  <a:gd name="connsiteY5" fmla="*/ 1505900 h 2589050"/>
                  <a:gd name="connsiteX6" fmla="*/ 287173 w 1478032"/>
                  <a:gd name="connsiteY6" fmla="*/ 1489180 h 2589050"/>
                  <a:gd name="connsiteX7" fmla="*/ 270863 w 1478032"/>
                  <a:gd name="connsiteY7" fmla="*/ 1469756 h 2589050"/>
                  <a:gd name="connsiteX8" fmla="*/ 291545 w 1478032"/>
                  <a:gd name="connsiteY8" fmla="*/ 1460637 h 2589050"/>
                  <a:gd name="connsiteX9" fmla="*/ 288236 w 1478032"/>
                  <a:gd name="connsiteY9" fmla="*/ 1441535 h 2589050"/>
                  <a:gd name="connsiteX10" fmla="*/ 308129 w 1478032"/>
                  <a:gd name="connsiteY10" fmla="*/ 1423327 h 2589050"/>
                  <a:gd name="connsiteX11" fmla="*/ 242595 w 1478032"/>
                  <a:gd name="connsiteY11" fmla="*/ 1396893 h 2589050"/>
                  <a:gd name="connsiteX12" fmla="*/ 139648 w 1478032"/>
                  <a:gd name="connsiteY12" fmla="*/ 1461960 h 2589050"/>
                  <a:gd name="connsiteX13" fmla="*/ 106841 w 1478032"/>
                  <a:gd name="connsiteY13" fmla="*/ 1432940 h 2589050"/>
                  <a:gd name="connsiteX14" fmla="*/ 94516 w 1478032"/>
                  <a:gd name="connsiteY14" fmla="*/ 1334591 h 2589050"/>
                  <a:gd name="connsiteX15" fmla="*/ 114624 w 1478032"/>
                  <a:gd name="connsiteY15" fmla="*/ 1336349 h 2589050"/>
                  <a:gd name="connsiteX16" fmla="*/ 112380 w 1478032"/>
                  <a:gd name="connsiteY16" fmla="*/ 1317915 h 2589050"/>
                  <a:gd name="connsiteX17" fmla="*/ 136807 w 1478032"/>
                  <a:gd name="connsiteY17" fmla="*/ 1322558 h 2589050"/>
                  <a:gd name="connsiteX18" fmla="*/ 118923 w 1478032"/>
                  <a:gd name="connsiteY18" fmla="*/ 1294552 h 2589050"/>
                  <a:gd name="connsiteX19" fmla="*/ 126203 w 1478032"/>
                  <a:gd name="connsiteY19" fmla="*/ 1279810 h 2589050"/>
                  <a:gd name="connsiteX20" fmla="*/ 76000 w 1478032"/>
                  <a:gd name="connsiteY20" fmla="*/ 1241414 h 2589050"/>
                  <a:gd name="connsiteX21" fmla="*/ 37510 w 1478032"/>
                  <a:gd name="connsiteY21" fmla="*/ 1234503 h 2589050"/>
                  <a:gd name="connsiteX22" fmla="*/ 70825 w 1478032"/>
                  <a:gd name="connsiteY22" fmla="*/ 1209292 h 2589050"/>
                  <a:gd name="connsiteX23" fmla="*/ 61199 w 1478032"/>
                  <a:gd name="connsiteY23" fmla="*/ 1167408 h 2589050"/>
                  <a:gd name="connsiteX24" fmla="*/ 79826 w 1478032"/>
                  <a:gd name="connsiteY24" fmla="*/ 1140296 h 2589050"/>
                  <a:gd name="connsiteX25" fmla="*/ -666 w 1478032"/>
                  <a:gd name="connsiteY25" fmla="*/ 1092711 h 2589050"/>
                  <a:gd name="connsiteX26" fmla="*/ 57441 w 1478032"/>
                  <a:gd name="connsiteY26" fmla="*/ 1082079 h 2589050"/>
                  <a:gd name="connsiteX27" fmla="*/ 40896 w 1478032"/>
                  <a:gd name="connsiteY27" fmla="*/ 1076625 h 2589050"/>
                  <a:gd name="connsiteX28" fmla="*/ 49886 w 1478032"/>
                  <a:gd name="connsiteY28" fmla="*/ 1055491 h 2589050"/>
                  <a:gd name="connsiteX29" fmla="*/ 27630 w 1478032"/>
                  <a:gd name="connsiteY29" fmla="*/ 1021248 h 2589050"/>
                  <a:gd name="connsiteX30" fmla="*/ 49081 w 1478032"/>
                  <a:gd name="connsiteY30" fmla="*/ 1011291 h 2589050"/>
                  <a:gd name="connsiteX31" fmla="*/ 35116 w 1478032"/>
                  <a:gd name="connsiteY31" fmla="*/ 912510 h 2589050"/>
                  <a:gd name="connsiteX32" fmla="*/ 70304 w 1478032"/>
                  <a:gd name="connsiteY32" fmla="*/ 860334 h 2589050"/>
                  <a:gd name="connsiteX33" fmla="*/ 84414 w 1478032"/>
                  <a:gd name="connsiteY33" fmla="*/ 867543 h 2589050"/>
                  <a:gd name="connsiteX34" fmla="*/ 110325 w 1478032"/>
                  <a:gd name="connsiteY34" fmla="*/ 848339 h 2589050"/>
                  <a:gd name="connsiteX35" fmla="*/ 151353 w 1478032"/>
                  <a:gd name="connsiteY35" fmla="*/ 848034 h 2589050"/>
                  <a:gd name="connsiteX36" fmla="*/ 161785 w 1478032"/>
                  <a:gd name="connsiteY36" fmla="*/ 828384 h 2589050"/>
                  <a:gd name="connsiteX37" fmla="*/ 201694 w 1478032"/>
                  <a:gd name="connsiteY37" fmla="*/ 825710 h 2589050"/>
                  <a:gd name="connsiteX38" fmla="*/ 207101 w 1478032"/>
                  <a:gd name="connsiteY38" fmla="*/ 751880 h 2589050"/>
                  <a:gd name="connsiteX39" fmla="*/ 294694 w 1478032"/>
                  <a:gd name="connsiteY39" fmla="*/ 732669 h 2589050"/>
                  <a:gd name="connsiteX40" fmla="*/ 327493 w 1478032"/>
                  <a:gd name="connsiteY40" fmla="*/ 674200 h 2589050"/>
                  <a:gd name="connsiteX41" fmla="*/ 320551 w 1478032"/>
                  <a:gd name="connsiteY41" fmla="*/ 642860 h 2589050"/>
                  <a:gd name="connsiteX42" fmla="*/ 341776 w 1478032"/>
                  <a:gd name="connsiteY42" fmla="*/ 616670 h 2589050"/>
                  <a:gd name="connsiteX43" fmla="*/ 355356 w 1478032"/>
                  <a:gd name="connsiteY43" fmla="*/ 639115 h 2589050"/>
                  <a:gd name="connsiteX44" fmla="*/ 368202 w 1478032"/>
                  <a:gd name="connsiteY44" fmla="*/ 633786 h 2589050"/>
                  <a:gd name="connsiteX45" fmla="*/ 258172 w 1478032"/>
                  <a:gd name="connsiteY45" fmla="*/ 433416 h 2589050"/>
                  <a:gd name="connsiteX46" fmla="*/ 273613 w 1478032"/>
                  <a:gd name="connsiteY46" fmla="*/ 405877 h 2589050"/>
                  <a:gd name="connsiteX47" fmla="*/ 265014 w 1478032"/>
                  <a:gd name="connsiteY47" fmla="*/ 387410 h 2589050"/>
                  <a:gd name="connsiteX48" fmla="*/ 305644 w 1478032"/>
                  <a:gd name="connsiteY48" fmla="*/ 336863 h 2589050"/>
                  <a:gd name="connsiteX49" fmla="*/ 290635 w 1478032"/>
                  <a:gd name="connsiteY49" fmla="*/ 253743 h 2589050"/>
                  <a:gd name="connsiteX50" fmla="*/ 303073 w 1478032"/>
                  <a:gd name="connsiteY50" fmla="*/ 233790 h 2589050"/>
                  <a:gd name="connsiteX51" fmla="*/ 278710 w 1478032"/>
                  <a:gd name="connsiteY51" fmla="*/ 187452 h 2589050"/>
                  <a:gd name="connsiteX52" fmla="*/ 292788 w 1478032"/>
                  <a:gd name="connsiteY52" fmla="*/ 149843 h 2589050"/>
                  <a:gd name="connsiteX53" fmla="*/ 334253 w 1478032"/>
                  <a:gd name="connsiteY53" fmla="*/ 143091 h 2589050"/>
                  <a:gd name="connsiteX54" fmla="*/ 401387 w 1478032"/>
                  <a:gd name="connsiteY54" fmla="*/ 173749 h 2589050"/>
                  <a:gd name="connsiteX55" fmla="*/ 415812 w 1478032"/>
                  <a:gd name="connsiteY55" fmla="*/ 151985 h 2589050"/>
                  <a:gd name="connsiteX56" fmla="*/ 450528 w 1478032"/>
                  <a:gd name="connsiteY56" fmla="*/ 166398 h 2589050"/>
                  <a:gd name="connsiteX57" fmla="*/ 457317 w 1478032"/>
                  <a:gd name="connsiteY57" fmla="*/ 142503 h 2589050"/>
                  <a:gd name="connsiteX58" fmla="*/ 478721 w 1478032"/>
                  <a:gd name="connsiteY58" fmla="*/ 141918 h 2589050"/>
                  <a:gd name="connsiteX59" fmla="*/ 475584 w 1478032"/>
                  <a:gd name="connsiteY59" fmla="*/ 102220 h 2589050"/>
                  <a:gd name="connsiteX60" fmla="*/ 509172 w 1478032"/>
                  <a:gd name="connsiteY60" fmla="*/ 96935 h 2589050"/>
                  <a:gd name="connsiteX61" fmla="*/ 523775 w 1478032"/>
                  <a:gd name="connsiteY61" fmla="*/ 117437 h 2589050"/>
                  <a:gd name="connsiteX62" fmla="*/ 527868 w 1478032"/>
                  <a:gd name="connsiteY62" fmla="*/ 88135 h 2589050"/>
                  <a:gd name="connsiteX63" fmla="*/ 550851 w 1478032"/>
                  <a:gd name="connsiteY63" fmla="*/ 117147 h 2589050"/>
                  <a:gd name="connsiteX64" fmla="*/ 563267 w 1478032"/>
                  <a:gd name="connsiteY64" fmla="*/ 112586 h 2589050"/>
                  <a:gd name="connsiteX65" fmla="*/ 582294 w 1478032"/>
                  <a:gd name="connsiteY65" fmla="*/ 34028 h 2589050"/>
                  <a:gd name="connsiteX66" fmla="*/ 622662 w 1478032"/>
                  <a:gd name="connsiteY66" fmla="*/ 26411 h 2589050"/>
                  <a:gd name="connsiteX67" fmla="*/ 630718 w 1478032"/>
                  <a:gd name="connsiteY67" fmla="*/ 1979 h 2589050"/>
                  <a:gd name="connsiteX68" fmla="*/ 684996 w 1478032"/>
                  <a:gd name="connsiteY68" fmla="*/ -157 h 2589050"/>
                  <a:gd name="connsiteX69" fmla="*/ 743910 w 1478032"/>
                  <a:gd name="connsiteY69" fmla="*/ 28060 h 2589050"/>
                  <a:gd name="connsiteX70" fmla="*/ 789162 w 1478032"/>
                  <a:gd name="connsiteY70" fmla="*/ 83334 h 2589050"/>
                  <a:gd name="connsiteX71" fmla="*/ 780320 w 1478032"/>
                  <a:gd name="connsiteY71" fmla="*/ 103630 h 2589050"/>
                  <a:gd name="connsiteX72" fmla="*/ 802897 w 1478032"/>
                  <a:gd name="connsiteY72" fmla="*/ 139215 h 2589050"/>
                  <a:gd name="connsiteX73" fmla="*/ 775004 w 1478032"/>
                  <a:gd name="connsiteY73" fmla="*/ 147969 h 2589050"/>
                  <a:gd name="connsiteX74" fmla="*/ 771049 w 1478032"/>
                  <a:gd name="connsiteY74" fmla="*/ 212747 h 2589050"/>
                  <a:gd name="connsiteX75" fmla="*/ 814985 w 1478032"/>
                  <a:gd name="connsiteY75" fmla="*/ 228588 h 2589050"/>
                  <a:gd name="connsiteX76" fmla="*/ 839869 w 1478032"/>
                  <a:gd name="connsiteY76" fmla="*/ 193993 h 2589050"/>
                  <a:gd name="connsiteX77" fmla="*/ 897178 w 1478032"/>
                  <a:gd name="connsiteY77" fmla="*/ 215984 h 2589050"/>
                  <a:gd name="connsiteX78" fmla="*/ 919594 w 1478032"/>
                  <a:gd name="connsiteY78" fmla="*/ 202973 h 2589050"/>
                  <a:gd name="connsiteX79" fmla="*/ 940576 w 1478032"/>
                  <a:gd name="connsiteY79" fmla="*/ 216966 h 2589050"/>
                  <a:gd name="connsiteX80" fmla="*/ 978574 w 1478032"/>
                  <a:gd name="connsiteY80" fmla="*/ 303354 h 2589050"/>
                  <a:gd name="connsiteX81" fmla="*/ 944130 w 1478032"/>
                  <a:gd name="connsiteY81" fmla="*/ 370845 h 2589050"/>
                  <a:gd name="connsiteX82" fmla="*/ 870784 w 1478032"/>
                  <a:gd name="connsiteY82" fmla="*/ 379100 h 2589050"/>
                  <a:gd name="connsiteX83" fmla="*/ 782559 w 1478032"/>
                  <a:gd name="connsiteY83" fmla="*/ 441002 h 2589050"/>
                  <a:gd name="connsiteX84" fmla="*/ 715841 w 1478032"/>
                  <a:gd name="connsiteY84" fmla="*/ 522656 h 2589050"/>
                  <a:gd name="connsiteX85" fmla="*/ 710998 w 1478032"/>
                  <a:gd name="connsiteY85" fmla="*/ 630610 h 2589050"/>
                  <a:gd name="connsiteX86" fmla="*/ 685450 w 1478032"/>
                  <a:gd name="connsiteY86" fmla="*/ 705294 h 2589050"/>
                  <a:gd name="connsiteX87" fmla="*/ 704197 w 1478032"/>
                  <a:gd name="connsiteY87" fmla="*/ 777968 h 2589050"/>
                  <a:gd name="connsiteX88" fmla="*/ 648225 w 1478032"/>
                  <a:gd name="connsiteY88" fmla="*/ 1023327 h 2589050"/>
                  <a:gd name="connsiteX89" fmla="*/ 660918 w 1478032"/>
                  <a:gd name="connsiteY89" fmla="*/ 1066248 h 2589050"/>
                  <a:gd name="connsiteX90" fmla="*/ 577697 w 1478032"/>
                  <a:gd name="connsiteY90" fmla="*/ 1348926 h 2589050"/>
                  <a:gd name="connsiteX91" fmla="*/ 619907 w 1478032"/>
                  <a:gd name="connsiteY91" fmla="*/ 1315869 h 2589050"/>
                  <a:gd name="connsiteX92" fmla="*/ 664757 w 1478032"/>
                  <a:gd name="connsiteY92" fmla="*/ 1228159 h 2589050"/>
                  <a:gd name="connsiteX93" fmla="*/ 751454 w 1478032"/>
                  <a:gd name="connsiteY93" fmla="*/ 1199443 h 2589050"/>
                  <a:gd name="connsiteX94" fmla="*/ 780765 w 1478032"/>
                  <a:gd name="connsiteY94" fmla="*/ 1215536 h 2589050"/>
                  <a:gd name="connsiteX95" fmla="*/ 798030 w 1478032"/>
                  <a:gd name="connsiteY95" fmla="*/ 1275601 h 2589050"/>
                  <a:gd name="connsiteX96" fmla="*/ 828550 w 1478032"/>
                  <a:gd name="connsiteY96" fmla="*/ 1291437 h 2589050"/>
                  <a:gd name="connsiteX97" fmla="*/ 873853 w 1478032"/>
                  <a:gd name="connsiteY97" fmla="*/ 1285170 h 2589050"/>
                  <a:gd name="connsiteX98" fmla="*/ 892745 w 1478032"/>
                  <a:gd name="connsiteY98" fmla="*/ 1242593 h 2589050"/>
                  <a:gd name="connsiteX99" fmla="*/ 919634 w 1478032"/>
                  <a:gd name="connsiteY99" fmla="*/ 1230828 h 2589050"/>
                  <a:gd name="connsiteX100" fmla="*/ 1055919 w 1478032"/>
                  <a:gd name="connsiteY100" fmla="*/ 1287835 h 2589050"/>
                  <a:gd name="connsiteX101" fmla="*/ 1110997 w 1478032"/>
                  <a:gd name="connsiteY101" fmla="*/ 1278155 h 2589050"/>
                  <a:gd name="connsiteX102" fmla="*/ 1160232 w 1478032"/>
                  <a:gd name="connsiteY102" fmla="*/ 1311373 h 2589050"/>
                  <a:gd name="connsiteX103" fmla="*/ 1283240 w 1478032"/>
                  <a:gd name="connsiteY103" fmla="*/ 1543561 h 2589050"/>
                  <a:gd name="connsiteX104" fmla="*/ 1283723 w 1478032"/>
                  <a:gd name="connsiteY104" fmla="*/ 1617707 h 2589050"/>
                  <a:gd name="connsiteX105" fmla="*/ 1304403 w 1478032"/>
                  <a:gd name="connsiteY105" fmla="*/ 1682802 h 2589050"/>
                  <a:gd name="connsiteX106" fmla="*/ 1376821 w 1478032"/>
                  <a:gd name="connsiteY106" fmla="*/ 1757644 h 2589050"/>
                  <a:gd name="connsiteX107" fmla="*/ 1450163 w 1478032"/>
                  <a:gd name="connsiteY107" fmla="*/ 1927013 h 2589050"/>
                  <a:gd name="connsiteX108" fmla="*/ 1477366 w 1478032"/>
                  <a:gd name="connsiteY108" fmla="*/ 2014555 h 2589050"/>
                  <a:gd name="connsiteX109" fmla="*/ 1452988 w 1478032"/>
                  <a:gd name="connsiteY109" fmla="*/ 2147585 h 2589050"/>
                  <a:gd name="connsiteX110" fmla="*/ 1465170 w 1478032"/>
                  <a:gd name="connsiteY110" fmla="*/ 2215329 h 2589050"/>
                  <a:gd name="connsiteX111" fmla="*/ 1382424 w 1478032"/>
                  <a:gd name="connsiteY111" fmla="*/ 2236376 h 2589050"/>
                  <a:gd name="connsiteX112" fmla="*/ 1380222 w 1478032"/>
                  <a:gd name="connsiteY112" fmla="*/ 2214615 h 2589050"/>
                  <a:gd name="connsiteX113" fmla="*/ 1362942 w 1478032"/>
                  <a:gd name="connsiteY113" fmla="*/ 2211617 h 2589050"/>
                  <a:gd name="connsiteX114" fmla="*/ 1376549 w 1478032"/>
                  <a:gd name="connsiteY114" fmla="*/ 2168446 h 2589050"/>
                  <a:gd name="connsiteX115" fmla="*/ 1340616 w 1478032"/>
                  <a:gd name="connsiteY115" fmla="*/ 2160917 h 2589050"/>
                  <a:gd name="connsiteX116" fmla="*/ 1336993 w 1478032"/>
                  <a:gd name="connsiteY116" fmla="*/ 2130042 h 2589050"/>
                  <a:gd name="connsiteX117" fmla="*/ 1320605 w 1478032"/>
                  <a:gd name="connsiteY117" fmla="*/ 2139418 h 2589050"/>
                  <a:gd name="connsiteX118" fmla="*/ 1300155 w 1478032"/>
                  <a:gd name="connsiteY118" fmla="*/ 2115515 h 2589050"/>
                  <a:gd name="connsiteX119" fmla="*/ 1281239 w 1478032"/>
                  <a:gd name="connsiteY119" fmla="*/ 2117698 h 2589050"/>
                  <a:gd name="connsiteX120" fmla="*/ 1263909 w 1478032"/>
                  <a:gd name="connsiteY120" fmla="*/ 2174393 h 2589050"/>
                  <a:gd name="connsiteX121" fmla="*/ 1235156 w 1478032"/>
                  <a:gd name="connsiteY121" fmla="*/ 2185326 h 2589050"/>
                  <a:gd name="connsiteX122" fmla="*/ 1220877 w 1478032"/>
                  <a:gd name="connsiteY122" fmla="*/ 2219121 h 2589050"/>
                  <a:gd name="connsiteX123" fmla="*/ 1261959 w 1478032"/>
                  <a:gd name="connsiteY123" fmla="*/ 2227644 h 2589050"/>
                  <a:gd name="connsiteX124" fmla="*/ 1254059 w 1478032"/>
                  <a:gd name="connsiteY124" fmla="*/ 2253759 h 2589050"/>
                  <a:gd name="connsiteX125" fmla="*/ 1320667 w 1478032"/>
                  <a:gd name="connsiteY125" fmla="*/ 2233762 h 2589050"/>
                  <a:gd name="connsiteX126" fmla="*/ 1337658 w 1478032"/>
                  <a:gd name="connsiteY126" fmla="*/ 2257125 h 2589050"/>
                  <a:gd name="connsiteX127" fmla="*/ 1306118 w 1478032"/>
                  <a:gd name="connsiteY127" fmla="*/ 2330955 h 2589050"/>
                  <a:gd name="connsiteX128" fmla="*/ 1261502 w 1478032"/>
                  <a:gd name="connsiteY128" fmla="*/ 2342792 h 2589050"/>
                  <a:gd name="connsiteX129" fmla="*/ 1275935 w 1478032"/>
                  <a:gd name="connsiteY129" fmla="*/ 2382062 h 2589050"/>
                  <a:gd name="connsiteX130" fmla="*/ 1260541 w 1478032"/>
                  <a:gd name="connsiteY130" fmla="*/ 2432440 h 2589050"/>
                  <a:gd name="connsiteX131" fmla="*/ 1226107 w 1478032"/>
                  <a:gd name="connsiteY131" fmla="*/ 2455578 h 2589050"/>
                  <a:gd name="connsiteX132" fmla="*/ 1202936 w 1478032"/>
                  <a:gd name="connsiteY132" fmla="*/ 2451818 h 2589050"/>
                  <a:gd name="connsiteX133" fmla="*/ 1198052 w 1478032"/>
                  <a:gd name="connsiteY133" fmla="*/ 2467628 h 2589050"/>
                  <a:gd name="connsiteX134" fmla="*/ 1165110 w 1478032"/>
                  <a:gd name="connsiteY134" fmla="*/ 2455683 h 2589050"/>
                  <a:gd name="connsiteX135" fmla="*/ 1133651 w 1478032"/>
                  <a:gd name="connsiteY135" fmla="*/ 2481537 h 2589050"/>
                  <a:gd name="connsiteX136" fmla="*/ 1130323 w 1478032"/>
                  <a:gd name="connsiteY136" fmla="*/ 2460296 h 2589050"/>
                  <a:gd name="connsiteX137" fmla="*/ 1086095 w 1478032"/>
                  <a:gd name="connsiteY137" fmla="*/ 2455478 h 2589050"/>
                  <a:gd name="connsiteX138" fmla="*/ 1043149 w 1478032"/>
                  <a:gd name="connsiteY138" fmla="*/ 2521894 h 2589050"/>
                  <a:gd name="connsiteX139" fmla="*/ 1062751 w 1478032"/>
                  <a:gd name="connsiteY139" fmla="*/ 2559719 h 2589050"/>
                  <a:gd name="connsiteX140" fmla="*/ 1027520 w 1478032"/>
                  <a:gd name="connsiteY140" fmla="*/ 2588894 h 2589050"/>
                  <a:gd name="connsiteX141" fmla="*/ 1006741 w 1478032"/>
                  <a:gd name="connsiteY141" fmla="*/ 2540517 h 2589050"/>
                  <a:gd name="connsiteX142" fmla="*/ 1012013 w 1478032"/>
                  <a:gd name="connsiteY142" fmla="*/ 2512508 h 2589050"/>
                  <a:gd name="connsiteX143" fmla="*/ 992392 w 1478032"/>
                  <a:gd name="connsiteY143" fmla="*/ 2487564 h 2589050"/>
                  <a:gd name="connsiteX144" fmla="*/ 1017444 w 1478032"/>
                  <a:gd name="connsiteY144" fmla="*/ 2445894 h 2589050"/>
                  <a:gd name="connsiteX145" fmla="*/ 1019167 w 1478032"/>
                  <a:gd name="connsiteY145" fmla="*/ 2403041 h 2589050"/>
                  <a:gd name="connsiteX146" fmla="*/ 974839 w 1478032"/>
                  <a:gd name="connsiteY146" fmla="*/ 2370769 h 2589050"/>
                  <a:gd name="connsiteX147" fmla="*/ 972027 w 1478032"/>
                  <a:gd name="connsiteY147" fmla="*/ 2271226 h 2589050"/>
                  <a:gd name="connsiteX148" fmla="*/ 934355 w 1478032"/>
                  <a:gd name="connsiteY148" fmla="*/ 2292370 h 2589050"/>
                  <a:gd name="connsiteX149" fmla="*/ 909449 w 1478032"/>
                  <a:gd name="connsiteY149" fmla="*/ 2279386 h 2589050"/>
                  <a:gd name="connsiteX150" fmla="*/ 890445 w 1478032"/>
                  <a:gd name="connsiteY150" fmla="*/ 2309756 h 2589050"/>
                  <a:gd name="connsiteX151" fmla="*/ 836396 w 1478032"/>
                  <a:gd name="connsiteY151" fmla="*/ 2321080 h 2589050"/>
                  <a:gd name="connsiteX152" fmla="*/ 799739 w 1478032"/>
                  <a:gd name="connsiteY152" fmla="*/ 2319168 h 2589050"/>
                  <a:gd name="connsiteX153" fmla="*/ 786519 w 1478032"/>
                  <a:gd name="connsiteY153" fmla="*/ 2294088 h 2589050"/>
                  <a:gd name="connsiteX154" fmla="*/ 752810 w 1478032"/>
                  <a:gd name="connsiteY154" fmla="*/ 2278995 h 2589050"/>
                  <a:gd name="connsiteX155" fmla="*/ 729261 w 1478032"/>
                  <a:gd name="connsiteY155" fmla="*/ 2287118 h 2589050"/>
                  <a:gd name="connsiteX156" fmla="*/ 718939 w 1478032"/>
                  <a:gd name="connsiteY156" fmla="*/ 2275279 h 2589050"/>
                  <a:gd name="connsiteX157" fmla="*/ 686536 w 1478032"/>
                  <a:gd name="connsiteY157" fmla="*/ 2297989 h 2589050"/>
                  <a:gd name="connsiteX158" fmla="*/ 659873 w 1478032"/>
                  <a:gd name="connsiteY158" fmla="*/ 2277989 h 2589050"/>
                  <a:gd name="connsiteX159" fmla="*/ 646698 w 1478032"/>
                  <a:gd name="connsiteY159" fmla="*/ 2285378 h 2589050"/>
                  <a:gd name="connsiteX160" fmla="*/ 653271 w 1478032"/>
                  <a:gd name="connsiteY160" fmla="*/ 2321574 h 2589050"/>
                  <a:gd name="connsiteX161" fmla="*/ 630234 w 1478032"/>
                  <a:gd name="connsiteY161" fmla="*/ 2318728 h 2589050"/>
                  <a:gd name="connsiteX162" fmla="*/ 608832 w 1478032"/>
                  <a:gd name="connsiteY162" fmla="*/ 2351012 h 2589050"/>
                  <a:gd name="connsiteX163" fmla="*/ 533689 w 1478032"/>
                  <a:gd name="connsiteY163" fmla="*/ 2206614 h 2589050"/>
                  <a:gd name="connsiteX164" fmla="*/ 494921 w 1478032"/>
                  <a:gd name="connsiteY164" fmla="*/ 2194291 h 2589050"/>
                  <a:gd name="connsiteX165" fmla="*/ 483334 w 1478032"/>
                  <a:gd name="connsiteY165" fmla="*/ 2212250 h 2589050"/>
                  <a:gd name="connsiteX166" fmla="*/ 466617 w 1478032"/>
                  <a:gd name="connsiteY166" fmla="*/ 2170953 h 2589050"/>
                  <a:gd name="connsiteX167" fmla="*/ 436802 w 1478032"/>
                  <a:gd name="connsiteY167" fmla="*/ 2182524 h 2589050"/>
                  <a:gd name="connsiteX168" fmla="*/ 433772 w 1478032"/>
                  <a:gd name="connsiteY168" fmla="*/ 2084512 h 2589050"/>
                  <a:gd name="connsiteX169" fmla="*/ 448493 w 1478032"/>
                  <a:gd name="connsiteY169" fmla="*/ 2052400 h 2589050"/>
                  <a:gd name="connsiteX170" fmla="*/ 465774 w 1478032"/>
                  <a:gd name="connsiteY170" fmla="*/ 2050834 h 2589050"/>
                  <a:gd name="connsiteX171" fmla="*/ 434652 w 1478032"/>
                  <a:gd name="connsiteY171" fmla="*/ 2005870 h 2589050"/>
                  <a:gd name="connsiteX172" fmla="*/ 503558 w 1478032"/>
                  <a:gd name="connsiteY172" fmla="*/ 1952652 h 2589050"/>
                  <a:gd name="connsiteX173" fmla="*/ 522589 w 1478032"/>
                  <a:gd name="connsiteY173" fmla="*/ 1877049 h 2589050"/>
                  <a:gd name="connsiteX174" fmla="*/ 570096 w 1478032"/>
                  <a:gd name="connsiteY174" fmla="*/ 1843756 h 2589050"/>
                  <a:gd name="connsiteX175" fmla="*/ 539085 w 1478032"/>
                  <a:gd name="connsiteY175" fmla="*/ 1822442 h 2589050"/>
                  <a:gd name="connsiteX176" fmla="*/ 524643 w 1478032"/>
                  <a:gd name="connsiteY176" fmla="*/ 1788921 h 2589050"/>
                  <a:gd name="connsiteX177" fmla="*/ 656227 w 1478032"/>
                  <a:gd name="connsiteY177" fmla="*/ 1762290 h 2589050"/>
                  <a:gd name="connsiteX178" fmla="*/ 649081 w 1478032"/>
                  <a:gd name="connsiteY178" fmla="*/ 1723504 h 2589050"/>
                  <a:gd name="connsiteX179" fmla="*/ 619820 w 1478032"/>
                  <a:gd name="connsiteY179" fmla="*/ 1700420 h 2589050"/>
                  <a:gd name="connsiteX180" fmla="*/ 627213 w 1478032"/>
                  <a:gd name="connsiteY180" fmla="*/ 1661869 h 2589050"/>
                  <a:gd name="connsiteX181" fmla="*/ 599626 w 1478032"/>
                  <a:gd name="connsiteY181" fmla="*/ 1626449 h 2589050"/>
                  <a:gd name="connsiteX182" fmla="*/ 608440 w 1478032"/>
                  <a:gd name="connsiteY182" fmla="*/ 1616631 h 2589050"/>
                  <a:gd name="connsiteX183" fmla="*/ 563175 w 1478032"/>
                  <a:gd name="connsiteY183" fmla="*/ 1603084 h 2589050"/>
                  <a:gd name="connsiteX184" fmla="*/ 527130 w 1478032"/>
                  <a:gd name="connsiteY184" fmla="*/ 1654375 h 2589050"/>
                  <a:gd name="connsiteX185" fmla="*/ 488987 w 1478032"/>
                  <a:gd name="connsiteY185" fmla="*/ 1654557 h 2589050"/>
                  <a:gd name="connsiteX186" fmla="*/ 466060 w 1478032"/>
                  <a:gd name="connsiteY186" fmla="*/ 1687462 h 2589050"/>
                  <a:gd name="connsiteX187" fmla="*/ 469877 w 1478032"/>
                  <a:gd name="connsiteY187" fmla="*/ 1708066 h 2589050"/>
                  <a:gd name="connsiteX188" fmla="*/ 388919 w 1478032"/>
                  <a:gd name="connsiteY188" fmla="*/ 1759665 h 2589050"/>
                  <a:gd name="connsiteX189" fmla="*/ 378676 w 1478032"/>
                  <a:gd name="connsiteY189" fmla="*/ 1782890 h 2589050"/>
                  <a:gd name="connsiteX190" fmla="*/ 362787 w 1478032"/>
                  <a:gd name="connsiteY190" fmla="*/ 1769541 h 2589050"/>
                  <a:gd name="connsiteX191" fmla="*/ 334726 w 1478032"/>
                  <a:gd name="connsiteY191" fmla="*/ 1789423 h 2589050"/>
                  <a:gd name="connsiteX192" fmla="*/ 297155 w 1478032"/>
                  <a:gd name="connsiteY192" fmla="*/ 1715538 h 2589050"/>
                  <a:gd name="connsiteX193" fmla="*/ 251950 w 1478032"/>
                  <a:gd name="connsiteY193" fmla="*/ 1733070 h 2589050"/>
                  <a:gd name="connsiteX194" fmla="*/ 199740 w 1478032"/>
                  <a:gd name="connsiteY194" fmla="*/ 1731462 h 258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</a:cxnLst>
                <a:rect l="l" t="t" r="r" b="b"/>
                <a:pathLst>
                  <a:path w="1478032" h="2589050">
                    <a:moveTo>
                      <a:pt x="199749" y="1731461"/>
                    </a:moveTo>
                    <a:lnTo>
                      <a:pt x="204103" y="1665582"/>
                    </a:lnTo>
                    <a:lnTo>
                      <a:pt x="233062" y="1645884"/>
                    </a:lnTo>
                    <a:lnTo>
                      <a:pt x="217105" y="1601220"/>
                    </a:lnTo>
                    <a:lnTo>
                      <a:pt x="261659" y="1535425"/>
                    </a:lnTo>
                    <a:lnTo>
                      <a:pt x="261778" y="1505900"/>
                    </a:lnTo>
                    <a:lnTo>
                      <a:pt x="287173" y="1489180"/>
                    </a:lnTo>
                    <a:lnTo>
                      <a:pt x="270863" y="1469756"/>
                    </a:lnTo>
                    <a:lnTo>
                      <a:pt x="291545" y="1460637"/>
                    </a:lnTo>
                    <a:lnTo>
                      <a:pt x="288236" y="1441535"/>
                    </a:lnTo>
                    <a:lnTo>
                      <a:pt x="308129" y="1423327"/>
                    </a:lnTo>
                    <a:lnTo>
                      <a:pt x="242595" y="1396893"/>
                    </a:lnTo>
                    <a:lnTo>
                      <a:pt x="139648" y="1461960"/>
                    </a:lnTo>
                    <a:lnTo>
                      <a:pt x="106841" y="1432940"/>
                    </a:lnTo>
                    <a:lnTo>
                      <a:pt x="94516" y="1334591"/>
                    </a:lnTo>
                    <a:lnTo>
                      <a:pt x="114624" y="1336349"/>
                    </a:lnTo>
                    <a:lnTo>
                      <a:pt x="112380" y="1317915"/>
                    </a:lnTo>
                    <a:lnTo>
                      <a:pt x="136807" y="1322558"/>
                    </a:lnTo>
                    <a:lnTo>
                      <a:pt x="118923" y="1294552"/>
                    </a:lnTo>
                    <a:lnTo>
                      <a:pt x="126203" y="1279810"/>
                    </a:lnTo>
                    <a:lnTo>
                      <a:pt x="76000" y="1241414"/>
                    </a:lnTo>
                    <a:lnTo>
                      <a:pt x="37510" y="1234503"/>
                    </a:lnTo>
                    <a:lnTo>
                      <a:pt x="70825" y="1209292"/>
                    </a:lnTo>
                    <a:lnTo>
                      <a:pt x="61199" y="1167408"/>
                    </a:lnTo>
                    <a:lnTo>
                      <a:pt x="79826" y="1140296"/>
                    </a:lnTo>
                    <a:lnTo>
                      <a:pt x="-666" y="1092711"/>
                    </a:lnTo>
                    <a:lnTo>
                      <a:pt x="57441" y="1082079"/>
                    </a:lnTo>
                    <a:lnTo>
                      <a:pt x="40896" y="1076625"/>
                    </a:lnTo>
                    <a:lnTo>
                      <a:pt x="49886" y="1055491"/>
                    </a:lnTo>
                    <a:lnTo>
                      <a:pt x="27630" y="1021248"/>
                    </a:lnTo>
                    <a:lnTo>
                      <a:pt x="49081" y="1011291"/>
                    </a:lnTo>
                    <a:lnTo>
                      <a:pt x="35116" y="912510"/>
                    </a:lnTo>
                    <a:lnTo>
                      <a:pt x="70304" y="860334"/>
                    </a:lnTo>
                    <a:lnTo>
                      <a:pt x="84414" y="867543"/>
                    </a:lnTo>
                    <a:lnTo>
                      <a:pt x="110325" y="848339"/>
                    </a:lnTo>
                    <a:lnTo>
                      <a:pt x="151353" y="848034"/>
                    </a:lnTo>
                    <a:lnTo>
                      <a:pt x="161785" y="828384"/>
                    </a:lnTo>
                    <a:lnTo>
                      <a:pt x="201694" y="825710"/>
                    </a:lnTo>
                    <a:lnTo>
                      <a:pt x="207101" y="751880"/>
                    </a:lnTo>
                    <a:lnTo>
                      <a:pt x="294694" y="732669"/>
                    </a:lnTo>
                    <a:lnTo>
                      <a:pt x="327493" y="674200"/>
                    </a:lnTo>
                    <a:lnTo>
                      <a:pt x="320551" y="642860"/>
                    </a:lnTo>
                    <a:lnTo>
                      <a:pt x="341776" y="616670"/>
                    </a:lnTo>
                    <a:lnTo>
                      <a:pt x="355356" y="639115"/>
                    </a:lnTo>
                    <a:lnTo>
                      <a:pt x="368202" y="633786"/>
                    </a:lnTo>
                    <a:lnTo>
                      <a:pt x="258172" y="433416"/>
                    </a:lnTo>
                    <a:lnTo>
                      <a:pt x="273613" y="405877"/>
                    </a:lnTo>
                    <a:lnTo>
                      <a:pt x="265014" y="387410"/>
                    </a:lnTo>
                    <a:lnTo>
                      <a:pt x="305644" y="336863"/>
                    </a:lnTo>
                    <a:lnTo>
                      <a:pt x="290635" y="253743"/>
                    </a:lnTo>
                    <a:lnTo>
                      <a:pt x="303073" y="233790"/>
                    </a:lnTo>
                    <a:lnTo>
                      <a:pt x="278710" y="187452"/>
                    </a:lnTo>
                    <a:lnTo>
                      <a:pt x="292788" y="149843"/>
                    </a:lnTo>
                    <a:lnTo>
                      <a:pt x="334253" y="143091"/>
                    </a:lnTo>
                    <a:lnTo>
                      <a:pt x="401387" y="173749"/>
                    </a:lnTo>
                    <a:lnTo>
                      <a:pt x="415812" y="151985"/>
                    </a:lnTo>
                    <a:lnTo>
                      <a:pt x="450528" y="166398"/>
                    </a:lnTo>
                    <a:lnTo>
                      <a:pt x="457317" y="142503"/>
                    </a:lnTo>
                    <a:lnTo>
                      <a:pt x="478721" y="141918"/>
                    </a:lnTo>
                    <a:lnTo>
                      <a:pt x="475584" y="102220"/>
                    </a:lnTo>
                    <a:lnTo>
                      <a:pt x="509172" y="96935"/>
                    </a:lnTo>
                    <a:lnTo>
                      <a:pt x="523775" y="117437"/>
                    </a:lnTo>
                    <a:lnTo>
                      <a:pt x="527868" y="88135"/>
                    </a:lnTo>
                    <a:lnTo>
                      <a:pt x="550851" y="117147"/>
                    </a:lnTo>
                    <a:lnTo>
                      <a:pt x="563267" y="112586"/>
                    </a:lnTo>
                    <a:lnTo>
                      <a:pt x="582294" y="34028"/>
                    </a:lnTo>
                    <a:lnTo>
                      <a:pt x="622662" y="26411"/>
                    </a:lnTo>
                    <a:lnTo>
                      <a:pt x="630718" y="1979"/>
                    </a:lnTo>
                    <a:lnTo>
                      <a:pt x="684996" y="-157"/>
                    </a:lnTo>
                    <a:lnTo>
                      <a:pt x="743910" y="28060"/>
                    </a:lnTo>
                    <a:lnTo>
                      <a:pt x="789162" y="83334"/>
                    </a:lnTo>
                    <a:lnTo>
                      <a:pt x="780320" y="103630"/>
                    </a:lnTo>
                    <a:lnTo>
                      <a:pt x="802897" y="139215"/>
                    </a:lnTo>
                    <a:lnTo>
                      <a:pt x="775004" y="147969"/>
                    </a:lnTo>
                    <a:lnTo>
                      <a:pt x="771049" y="212747"/>
                    </a:lnTo>
                    <a:lnTo>
                      <a:pt x="814985" y="228588"/>
                    </a:lnTo>
                    <a:lnTo>
                      <a:pt x="839869" y="193993"/>
                    </a:lnTo>
                    <a:lnTo>
                      <a:pt x="897178" y="215984"/>
                    </a:lnTo>
                    <a:lnTo>
                      <a:pt x="919594" y="202973"/>
                    </a:lnTo>
                    <a:lnTo>
                      <a:pt x="940576" y="216966"/>
                    </a:lnTo>
                    <a:lnTo>
                      <a:pt x="978574" y="303354"/>
                    </a:lnTo>
                    <a:lnTo>
                      <a:pt x="944130" y="370845"/>
                    </a:lnTo>
                    <a:lnTo>
                      <a:pt x="870784" y="379100"/>
                    </a:lnTo>
                    <a:lnTo>
                      <a:pt x="782559" y="441002"/>
                    </a:lnTo>
                    <a:lnTo>
                      <a:pt x="715841" y="522656"/>
                    </a:lnTo>
                    <a:lnTo>
                      <a:pt x="710998" y="630610"/>
                    </a:lnTo>
                    <a:lnTo>
                      <a:pt x="685450" y="705294"/>
                    </a:lnTo>
                    <a:lnTo>
                      <a:pt x="704197" y="777968"/>
                    </a:lnTo>
                    <a:lnTo>
                      <a:pt x="648225" y="1023327"/>
                    </a:lnTo>
                    <a:lnTo>
                      <a:pt x="660918" y="1066248"/>
                    </a:lnTo>
                    <a:lnTo>
                      <a:pt x="577697" y="1348926"/>
                    </a:lnTo>
                    <a:lnTo>
                      <a:pt x="619907" y="1315869"/>
                    </a:lnTo>
                    <a:lnTo>
                      <a:pt x="664757" y="1228159"/>
                    </a:lnTo>
                    <a:lnTo>
                      <a:pt x="751454" y="1199443"/>
                    </a:lnTo>
                    <a:lnTo>
                      <a:pt x="780765" y="1215536"/>
                    </a:lnTo>
                    <a:lnTo>
                      <a:pt x="798030" y="1275601"/>
                    </a:lnTo>
                    <a:lnTo>
                      <a:pt x="828550" y="1291437"/>
                    </a:lnTo>
                    <a:lnTo>
                      <a:pt x="873853" y="1285170"/>
                    </a:lnTo>
                    <a:lnTo>
                      <a:pt x="892745" y="1242593"/>
                    </a:lnTo>
                    <a:lnTo>
                      <a:pt x="919634" y="1230828"/>
                    </a:lnTo>
                    <a:lnTo>
                      <a:pt x="1055919" y="1287835"/>
                    </a:lnTo>
                    <a:lnTo>
                      <a:pt x="1110997" y="1278155"/>
                    </a:lnTo>
                    <a:lnTo>
                      <a:pt x="1160232" y="1311373"/>
                    </a:lnTo>
                    <a:lnTo>
                      <a:pt x="1283240" y="1543561"/>
                    </a:lnTo>
                    <a:lnTo>
                      <a:pt x="1283723" y="1617707"/>
                    </a:lnTo>
                    <a:lnTo>
                      <a:pt x="1304403" y="1682802"/>
                    </a:lnTo>
                    <a:lnTo>
                      <a:pt x="1376821" y="1757644"/>
                    </a:lnTo>
                    <a:lnTo>
                      <a:pt x="1450163" y="1927013"/>
                    </a:lnTo>
                    <a:lnTo>
                      <a:pt x="1477366" y="2014555"/>
                    </a:lnTo>
                    <a:lnTo>
                      <a:pt x="1452988" y="2147585"/>
                    </a:lnTo>
                    <a:lnTo>
                      <a:pt x="1465170" y="2215329"/>
                    </a:lnTo>
                    <a:lnTo>
                      <a:pt x="1382424" y="2236376"/>
                    </a:lnTo>
                    <a:lnTo>
                      <a:pt x="1380222" y="2214615"/>
                    </a:lnTo>
                    <a:lnTo>
                      <a:pt x="1362942" y="2211617"/>
                    </a:lnTo>
                    <a:lnTo>
                      <a:pt x="1376549" y="2168446"/>
                    </a:lnTo>
                    <a:lnTo>
                      <a:pt x="1340616" y="2160917"/>
                    </a:lnTo>
                    <a:lnTo>
                      <a:pt x="1336993" y="2130042"/>
                    </a:lnTo>
                    <a:lnTo>
                      <a:pt x="1320605" y="2139418"/>
                    </a:lnTo>
                    <a:lnTo>
                      <a:pt x="1300155" y="2115515"/>
                    </a:lnTo>
                    <a:lnTo>
                      <a:pt x="1281239" y="2117698"/>
                    </a:lnTo>
                    <a:lnTo>
                      <a:pt x="1263909" y="2174393"/>
                    </a:lnTo>
                    <a:lnTo>
                      <a:pt x="1235156" y="2185326"/>
                    </a:lnTo>
                    <a:lnTo>
                      <a:pt x="1220877" y="2219121"/>
                    </a:lnTo>
                    <a:lnTo>
                      <a:pt x="1261959" y="2227644"/>
                    </a:lnTo>
                    <a:lnTo>
                      <a:pt x="1254059" y="2253759"/>
                    </a:lnTo>
                    <a:lnTo>
                      <a:pt x="1320667" y="2233762"/>
                    </a:lnTo>
                    <a:lnTo>
                      <a:pt x="1337658" y="2257125"/>
                    </a:lnTo>
                    <a:lnTo>
                      <a:pt x="1306118" y="2330955"/>
                    </a:lnTo>
                    <a:lnTo>
                      <a:pt x="1261502" y="2342792"/>
                    </a:lnTo>
                    <a:lnTo>
                      <a:pt x="1275935" y="2382062"/>
                    </a:lnTo>
                    <a:lnTo>
                      <a:pt x="1260541" y="2432440"/>
                    </a:lnTo>
                    <a:lnTo>
                      <a:pt x="1226107" y="2455578"/>
                    </a:lnTo>
                    <a:lnTo>
                      <a:pt x="1202936" y="2451818"/>
                    </a:lnTo>
                    <a:lnTo>
                      <a:pt x="1198052" y="2467628"/>
                    </a:lnTo>
                    <a:lnTo>
                      <a:pt x="1165110" y="2455683"/>
                    </a:lnTo>
                    <a:lnTo>
                      <a:pt x="1133651" y="2481537"/>
                    </a:lnTo>
                    <a:lnTo>
                      <a:pt x="1130323" y="2460296"/>
                    </a:lnTo>
                    <a:lnTo>
                      <a:pt x="1086095" y="2455478"/>
                    </a:lnTo>
                    <a:lnTo>
                      <a:pt x="1043149" y="2521894"/>
                    </a:lnTo>
                    <a:lnTo>
                      <a:pt x="1062751" y="2559719"/>
                    </a:lnTo>
                    <a:lnTo>
                      <a:pt x="1027520" y="2588894"/>
                    </a:lnTo>
                    <a:lnTo>
                      <a:pt x="1006741" y="2540517"/>
                    </a:lnTo>
                    <a:lnTo>
                      <a:pt x="1012013" y="2512508"/>
                    </a:lnTo>
                    <a:lnTo>
                      <a:pt x="992392" y="2487564"/>
                    </a:lnTo>
                    <a:lnTo>
                      <a:pt x="1017444" y="2445894"/>
                    </a:lnTo>
                    <a:lnTo>
                      <a:pt x="1019167" y="2403041"/>
                    </a:lnTo>
                    <a:lnTo>
                      <a:pt x="974839" y="2370769"/>
                    </a:lnTo>
                    <a:lnTo>
                      <a:pt x="972027" y="2271226"/>
                    </a:lnTo>
                    <a:lnTo>
                      <a:pt x="934355" y="2292370"/>
                    </a:lnTo>
                    <a:lnTo>
                      <a:pt x="909449" y="2279386"/>
                    </a:lnTo>
                    <a:lnTo>
                      <a:pt x="890445" y="2309756"/>
                    </a:lnTo>
                    <a:lnTo>
                      <a:pt x="836396" y="2321080"/>
                    </a:lnTo>
                    <a:lnTo>
                      <a:pt x="799739" y="2319168"/>
                    </a:lnTo>
                    <a:lnTo>
                      <a:pt x="786519" y="2294088"/>
                    </a:lnTo>
                    <a:lnTo>
                      <a:pt x="752810" y="2278995"/>
                    </a:lnTo>
                    <a:lnTo>
                      <a:pt x="729261" y="2287118"/>
                    </a:lnTo>
                    <a:lnTo>
                      <a:pt x="718939" y="2275279"/>
                    </a:lnTo>
                    <a:lnTo>
                      <a:pt x="686536" y="2297989"/>
                    </a:lnTo>
                    <a:lnTo>
                      <a:pt x="659873" y="2277989"/>
                    </a:lnTo>
                    <a:lnTo>
                      <a:pt x="646698" y="2285378"/>
                    </a:lnTo>
                    <a:lnTo>
                      <a:pt x="653271" y="2321574"/>
                    </a:lnTo>
                    <a:lnTo>
                      <a:pt x="630234" y="2318728"/>
                    </a:lnTo>
                    <a:lnTo>
                      <a:pt x="608832" y="2351012"/>
                    </a:lnTo>
                    <a:lnTo>
                      <a:pt x="533689" y="2206614"/>
                    </a:lnTo>
                    <a:lnTo>
                      <a:pt x="494921" y="2194291"/>
                    </a:lnTo>
                    <a:lnTo>
                      <a:pt x="483334" y="2212250"/>
                    </a:lnTo>
                    <a:lnTo>
                      <a:pt x="466617" y="2170953"/>
                    </a:lnTo>
                    <a:lnTo>
                      <a:pt x="436802" y="2182524"/>
                    </a:lnTo>
                    <a:lnTo>
                      <a:pt x="433772" y="2084512"/>
                    </a:lnTo>
                    <a:lnTo>
                      <a:pt x="448493" y="2052400"/>
                    </a:lnTo>
                    <a:lnTo>
                      <a:pt x="465774" y="2050834"/>
                    </a:lnTo>
                    <a:lnTo>
                      <a:pt x="434652" y="2005870"/>
                    </a:lnTo>
                    <a:lnTo>
                      <a:pt x="503558" y="1952652"/>
                    </a:lnTo>
                    <a:lnTo>
                      <a:pt x="522589" y="1877049"/>
                    </a:lnTo>
                    <a:lnTo>
                      <a:pt x="570096" y="1843756"/>
                    </a:lnTo>
                    <a:lnTo>
                      <a:pt x="539085" y="1822442"/>
                    </a:lnTo>
                    <a:lnTo>
                      <a:pt x="524643" y="1788921"/>
                    </a:lnTo>
                    <a:lnTo>
                      <a:pt x="656227" y="1762290"/>
                    </a:lnTo>
                    <a:lnTo>
                      <a:pt x="649081" y="1723504"/>
                    </a:lnTo>
                    <a:lnTo>
                      <a:pt x="619820" y="1700420"/>
                    </a:lnTo>
                    <a:lnTo>
                      <a:pt x="627213" y="1661869"/>
                    </a:lnTo>
                    <a:lnTo>
                      <a:pt x="599626" y="1626449"/>
                    </a:lnTo>
                    <a:lnTo>
                      <a:pt x="608440" y="1616631"/>
                    </a:lnTo>
                    <a:lnTo>
                      <a:pt x="563175" y="1603084"/>
                    </a:lnTo>
                    <a:lnTo>
                      <a:pt x="527130" y="1654375"/>
                    </a:lnTo>
                    <a:lnTo>
                      <a:pt x="488987" y="1654557"/>
                    </a:lnTo>
                    <a:lnTo>
                      <a:pt x="466060" y="1687462"/>
                    </a:lnTo>
                    <a:lnTo>
                      <a:pt x="469877" y="1708066"/>
                    </a:lnTo>
                    <a:lnTo>
                      <a:pt x="388919" y="1759665"/>
                    </a:lnTo>
                    <a:lnTo>
                      <a:pt x="378676" y="1782890"/>
                    </a:lnTo>
                    <a:lnTo>
                      <a:pt x="362787" y="1769541"/>
                    </a:lnTo>
                    <a:lnTo>
                      <a:pt x="334726" y="1789423"/>
                    </a:lnTo>
                    <a:lnTo>
                      <a:pt x="297155" y="1715538"/>
                    </a:lnTo>
                    <a:lnTo>
                      <a:pt x="251950" y="1733070"/>
                    </a:lnTo>
                    <a:lnTo>
                      <a:pt x="199740" y="1731462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2" name="Приморский край">
                <a:extLst>
                  <a:ext uri="{FF2B5EF4-FFF2-40B4-BE49-F238E27FC236}">
                    <a16:creationId xmlns:a16="http://schemas.microsoft.com/office/drawing/2014/main" id="{A9633503-5D9F-46C9-954E-6D818C2DEF32}"/>
                  </a:ext>
                </a:extLst>
              </p:cNvPr>
              <p:cNvSpPr/>
              <p:nvPr/>
            </p:nvSpPr>
            <p:spPr>
              <a:xfrm>
                <a:off x="9984390" y="5259235"/>
                <a:ext cx="619073" cy="1251779"/>
              </a:xfrm>
              <a:custGeom>
                <a:avLst/>
                <a:gdLst>
                  <a:gd name="connsiteX0" fmla="*/ 81347 w 619073"/>
                  <a:gd name="connsiteY0" fmla="*/ 1199659 h 1251779"/>
                  <a:gd name="connsiteX1" fmla="*/ 143914 w 619073"/>
                  <a:gd name="connsiteY1" fmla="*/ 1137921 h 1251779"/>
                  <a:gd name="connsiteX2" fmla="*/ 132567 w 619073"/>
                  <a:gd name="connsiteY2" fmla="*/ 1059820 h 1251779"/>
                  <a:gd name="connsiteX3" fmla="*/ 108938 w 619073"/>
                  <a:gd name="connsiteY3" fmla="*/ 1043332 h 1251779"/>
                  <a:gd name="connsiteX4" fmla="*/ 88132 w 619073"/>
                  <a:gd name="connsiteY4" fmla="*/ 969196 h 1251779"/>
                  <a:gd name="connsiteX5" fmla="*/ -666 w 619073"/>
                  <a:gd name="connsiteY5" fmla="*/ 871611 h 1251779"/>
                  <a:gd name="connsiteX6" fmla="*/ 44466 w 619073"/>
                  <a:gd name="connsiteY6" fmla="*/ 830515 h 1251779"/>
                  <a:gd name="connsiteX7" fmla="*/ 57775 w 619073"/>
                  <a:gd name="connsiteY7" fmla="*/ 759170 h 1251779"/>
                  <a:gd name="connsiteX8" fmla="*/ 188872 w 619073"/>
                  <a:gd name="connsiteY8" fmla="*/ 749634 h 1251779"/>
                  <a:gd name="connsiteX9" fmla="*/ 197360 w 619073"/>
                  <a:gd name="connsiteY9" fmla="*/ 727030 h 1251779"/>
                  <a:gd name="connsiteX10" fmla="*/ 175711 w 619073"/>
                  <a:gd name="connsiteY10" fmla="*/ 670039 h 1251779"/>
                  <a:gd name="connsiteX11" fmla="*/ 195103 w 619073"/>
                  <a:gd name="connsiteY11" fmla="*/ 641527 h 1251779"/>
                  <a:gd name="connsiteX12" fmla="*/ 178855 w 619073"/>
                  <a:gd name="connsiteY12" fmla="*/ 611985 h 1251779"/>
                  <a:gd name="connsiteX13" fmla="*/ 191390 w 619073"/>
                  <a:gd name="connsiteY13" fmla="*/ 530235 h 1251779"/>
                  <a:gd name="connsiteX14" fmla="*/ 167479 w 619073"/>
                  <a:gd name="connsiteY14" fmla="*/ 484222 h 1251779"/>
                  <a:gd name="connsiteX15" fmla="*/ 209487 w 619073"/>
                  <a:gd name="connsiteY15" fmla="*/ 444048 h 1251779"/>
                  <a:gd name="connsiteX16" fmla="*/ 189618 w 619073"/>
                  <a:gd name="connsiteY16" fmla="*/ 407091 h 1251779"/>
                  <a:gd name="connsiteX17" fmla="*/ 199616 w 619073"/>
                  <a:gd name="connsiteY17" fmla="*/ 373829 h 1251779"/>
                  <a:gd name="connsiteX18" fmla="*/ 232830 w 619073"/>
                  <a:gd name="connsiteY18" fmla="*/ 339806 h 1251779"/>
                  <a:gd name="connsiteX19" fmla="*/ 277059 w 619073"/>
                  <a:gd name="connsiteY19" fmla="*/ 344624 h 1251779"/>
                  <a:gd name="connsiteX20" fmla="*/ 280386 w 619073"/>
                  <a:gd name="connsiteY20" fmla="*/ 365866 h 1251779"/>
                  <a:gd name="connsiteX21" fmla="*/ 311928 w 619073"/>
                  <a:gd name="connsiteY21" fmla="*/ 340012 h 1251779"/>
                  <a:gd name="connsiteX22" fmla="*/ 344788 w 619073"/>
                  <a:gd name="connsiteY22" fmla="*/ 351957 h 1251779"/>
                  <a:gd name="connsiteX23" fmla="*/ 349825 w 619073"/>
                  <a:gd name="connsiteY23" fmla="*/ 336060 h 1251779"/>
                  <a:gd name="connsiteX24" fmla="*/ 373056 w 619073"/>
                  <a:gd name="connsiteY24" fmla="*/ 339849 h 1251779"/>
                  <a:gd name="connsiteX25" fmla="*/ 407378 w 619073"/>
                  <a:gd name="connsiteY25" fmla="*/ 316684 h 1251779"/>
                  <a:gd name="connsiteX26" fmla="*/ 422670 w 619073"/>
                  <a:gd name="connsiteY26" fmla="*/ 266391 h 1251779"/>
                  <a:gd name="connsiteX27" fmla="*/ 408237 w 619073"/>
                  <a:gd name="connsiteY27" fmla="*/ 227121 h 1251779"/>
                  <a:gd name="connsiteX28" fmla="*/ 452854 w 619073"/>
                  <a:gd name="connsiteY28" fmla="*/ 215284 h 1251779"/>
                  <a:gd name="connsiteX29" fmla="*/ 484394 w 619073"/>
                  <a:gd name="connsiteY29" fmla="*/ 141453 h 1251779"/>
                  <a:gd name="connsiteX30" fmla="*/ 467403 w 619073"/>
                  <a:gd name="connsiteY30" fmla="*/ 118090 h 1251779"/>
                  <a:gd name="connsiteX31" fmla="*/ 400795 w 619073"/>
                  <a:gd name="connsiteY31" fmla="*/ 138088 h 1251779"/>
                  <a:gd name="connsiteX32" fmla="*/ 408855 w 619073"/>
                  <a:gd name="connsiteY32" fmla="*/ 112137 h 1251779"/>
                  <a:gd name="connsiteX33" fmla="*/ 367637 w 619073"/>
                  <a:gd name="connsiteY33" fmla="*/ 103265 h 1251779"/>
                  <a:gd name="connsiteX34" fmla="*/ 381891 w 619073"/>
                  <a:gd name="connsiteY34" fmla="*/ 69655 h 1251779"/>
                  <a:gd name="connsiteX35" fmla="*/ 410644 w 619073"/>
                  <a:gd name="connsiteY35" fmla="*/ 58722 h 1251779"/>
                  <a:gd name="connsiteX36" fmla="*/ 427393 w 619073"/>
                  <a:gd name="connsiteY36" fmla="*/ 2708 h 1251779"/>
                  <a:gd name="connsiteX37" fmla="*/ 446889 w 619073"/>
                  <a:gd name="connsiteY37" fmla="*/ -157 h 1251779"/>
                  <a:gd name="connsiteX38" fmla="*/ 467341 w 619073"/>
                  <a:gd name="connsiteY38" fmla="*/ 23747 h 1251779"/>
                  <a:gd name="connsiteX39" fmla="*/ 486258 w 619073"/>
                  <a:gd name="connsiteY39" fmla="*/ 15831 h 1251779"/>
                  <a:gd name="connsiteX40" fmla="*/ 487050 w 619073"/>
                  <a:gd name="connsiteY40" fmla="*/ 44969 h 1251779"/>
                  <a:gd name="connsiteX41" fmla="*/ 523282 w 619073"/>
                  <a:gd name="connsiteY41" fmla="*/ 52775 h 1251779"/>
                  <a:gd name="connsiteX42" fmla="*/ 509676 w 619073"/>
                  <a:gd name="connsiteY42" fmla="*/ 95945 h 1251779"/>
                  <a:gd name="connsiteX43" fmla="*/ 526991 w 619073"/>
                  <a:gd name="connsiteY43" fmla="*/ 99043 h 1251779"/>
                  <a:gd name="connsiteX44" fmla="*/ 528281 w 619073"/>
                  <a:gd name="connsiteY44" fmla="*/ 120200 h 1251779"/>
                  <a:gd name="connsiteX45" fmla="*/ 558444 w 619073"/>
                  <a:gd name="connsiteY45" fmla="*/ 103773 h 1251779"/>
                  <a:gd name="connsiteX46" fmla="*/ 611904 w 619073"/>
                  <a:gd name="connsiteY46" fmla="*/ 99657 h 1251779"/>
                  <a:gd name="connsiteX47" fmla="*/ 613649 w 619073"/>
                  <a:gd name="connsiteY47" fmla="*/ 112671 h 1251779"/>
                  <a:gd name="connsiteX48" fmla="*/ 598482 w 619073"/>
                  <a:gd name="connsiteY48" fmla="*/ 176050 h 1251779"/>
                  <a:gd name="connsiteX49" fmla="*/ 618408 w 619073"/>
                  <a:gd name="connsiteY49" fmla="*/ 254783 h 1251779"/>
                  <a:gd name="connsiteX50" fmla="*/ 615957 w 619073"/>
                  <a:gd name="connsiteY50" fmla="*/ 394273 h 1251779"/>
                  <a:gd name="connsiteX51" fmla="*/ 554314 w 619073"/>
                  <a:gd name="connsiteY51" fmla="*/ 696988 h 1251779"/>
                  <a:gd name="connsiteX52" fmla="*/ 545824 w 619073"/>
                  <a:gd name="connsiteY52" fmla="*/ 853253 h 1251779"/>
                  <a:gd name="connsiteX53" fmla="*/ 445846 w 619073"/>
                  <a:gd name="connsiteY53" fmla="*/ 1038344 h 1251779"/>
                  <a:gd name="connsiteX54" fmla="*/ 374489 w 619073"/>
                  <a:gd name="connsiteY54" fmla="*/ 1100789 h 1251779"/>
                  <a:gd name="connsiteX55" fmla="*/ 236845 w 619073"/>
                  <a:gd name="connsiteY55" fmla="*/ 1136074 h 1251779"/>
                  <a:gd name="connsiteX56" fmla="*/ 174129 w 619073"/>
                  <a:gd name="connsiteY56" fmla="*/ 1251623 h 1251779"/>
                  <a:gd name="connsiteX57" fmla="*/ 134400 w 619073"/>
                  <a:gd name="connsiteY57" fmla="*/ 1242826 h 1251779"/>
                  <a:gd name="connsiteX58" fmla="*/ 105027 w 619073"/>
                  <a:gd name="connsiteY58" fmla="*/ 1198111 h 1251779"/>
                  <a:gd name="connsiteX59" fmla="*/ 81346 w 619073"/>
                  <a:gd name="connsiteY59" fmla="*/ 1199659 h 1251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619073" h="1251779">
                    <a:moveTo>
                      <a:pt x="81347" y="1199659"/>
                    </a:moveTo>
                    <a:lnTo>
                      <a:pt x="143914" y="1137921"/>
                    </a:lnTo>
                    <a:lnTo>
                      <a:pt x="132567" y="1059820"/>
                    </a:lnTo>
                    <a:lnTo>
                      <a:pt x="108938" y="1043332"/>
                    </a:lnTo>
                    <a:lnTo>
                      <a:pt x="88132" y="969196"/>
                    </a:lnTo>
                    <a:lnTo>
                      <a:pt x="-666" y="871611"/>
                    </a:lnTo>
                    <a:lnTo>
                      <a:pt x="44466" y="830515"/>
                    </a:lnTo>
                    <a:lnTo>
                      <a:pt x="57775" y="759170"/>
                    </a:lnTo>
                    <a:lnTo>
                      <a:pt x="188872" y="749634"/>
                    </a:lnTo>
                    <a:lnTo>
                      <a:pt x="197360" y="727030"/>
                    </a:lnTo>
                    <a:lnTo>
                      <a:pt x="175711" y="670039"/>
                    </a:lnTo>
                    <a:lnTo>
                      <a:pt x="195103" y="641527"/>
                    </a:lnTo>
                    <a:lnTo>
                      <a:pt x="178855" y="611985"/>
                    </a:lnTo>
                    <a:lnTo>
                      <a:pt x="191390" y="530235"/>
                    </a:lnTo>
                    <a:lnTo>
                      <a:pt x="167479" y="484222"/>
                    </a:lnTo>
                    <a:lnTo>
                      <a:pt x="209487" y="444048"/>
                    </a:lnTo>
                    <a:lnTo>
                      <a:pt x="189618" y="407091"/>
                    </a:lnTo>
                    <a:lnTo>
                      <a:pt x="199616" y="373829"/>
                    </a:lnTo>
                    <a:lnTo>
                      <a:pt x="232830" y="339806"/>
                    </a:lnTo>
                    <a:lnTo>
                      <a:pt x="277059" y="344624"/>
                    </a:lnTo>
                    <a:lnTo>
                      <a:pt x="280386" y="365866"/>
                    </a:lnTo>
                    <a:lnTo>
                      <a:pt x="311928" y="340012"/>
                    </a:lnTo>
                    <a:lnTo>
                      <a:pt x="344788" y="351957"/>
                    </a:lnTo>
                    <a:lnTo>
                      <a:pt x="349825" y="336060"/>
                    </a:lnTo>
                    <a:lnTo>
                      <a:pt x="373056" y="339849"/>
                    </a:lnTo>
                    <a:lnTo>
                      <a:pt x="407378" y="316684"/>
                    </a:lnTo>
                    <a:lnTo>
                      <a:pt x="422670" y="266391"/>
                    </a:lnTo>
                    <a:lnTo>
                      <a:pt x="408237" y="227121"/>
                    </a:lnTo>
                    <a:lnTo>
                      <a:pt x="452854" y="215284"/>
                    </a:lnTo>
                    <a:lnTo>
                      <a:pt x="484394" y="141453"/>
                    </a:lnTo>
                    <a:lnTo>
                      <a:pt x="467403" y="118090"/>
                    </a:lnTo>
                    <a:lnTo>
                      <a:pt x="400795" y="138088"/>
                    </a:lnTo>
                    <a:lnTo>
                      <a:pt x="408855" y="112137"/>
                    </a:lnTo>
                    <a:lnTo>
                      <a:pt x="367637" y="103265"/>
                    </a:lnTo>
                    <a:lnTo>
                      <a:pt x="381891" y="69655"/>
                    </a:lnTo>
                    <a:lnTo>
                      <a:pt x="410644" y="58722"/>
                    </a:lnTo>
                    <a:lnTo>
                      <a:pt x="427393" y="2708"/>
                    </a:lnTo>
                    <a:lnTo>
                      <a:pt x="446889" y="-157"/>
                    </a:lnTo>
                    <a:lnTo>
                      <a:pt x="467341" y="23747"/>
                    </a:lnTo>
                    <a:lnTo>
                      <a:pt x="486258" y="15831"/>
                    </a:lnTo>
                    <a:lnTo>
                      <a:pt x="487050" y="44969"/>
                    </a:lnTo>
                    <a:lnTo>
                      <a:pt x="523282" y="52775"/>
                    </a:lnTo>
                    <a:lnTo>
                      <a:pt x="509676" y="95945"/>
                    </a:lnTo>
                    <a:lnTo>
                      <a:pt x="526991" y="99043"/>
                    </a:lnTo>
                    <a:lnTo>
                      <a:pt x="528281" y="120200"/>
                    </a:lnTo>
                    <a:lnTo>
                      <a:pt x="558444" y="103773"/>
                    </a:lnTo>
                    <a:lnTo>
                      <a:pt x="611904" y="99657"/>
                    </a:lnTo>
                    <a:lnTo>
                      <a:pt x="613649" y="112671"/>
                    </a:lnTo>
                    <a:lnTo>
                      <a:pt x="598482" y="176050"/>
                    </a:lnTo>
                    <a:lnTo>
                      <a:pt x="618408" y="254783"/>
                    </a:lnTo>
                    <a:lnTo>
                      <a:pt x="615957" y="394273"/>
                    </a:lnTo>
                    <a:lnTo>
                      <a:pt x="554314" y="696988"/>
                    </a:lnTo>
                    <a:lnTo>
                      <a:pt x="545824" y="853253"/>
                    </a:lnTo>
                    <a:lnTo>
                      <a:pt x="445846" y="1038344"/>
                    </a:lnTo>
                    <a:lnTo>
                      <a:pt x="374489" y="1100789"/>
                    </a:lnTo>
                    <a:lnTo>
                      <a:pt x="236845" y="1136074"/>
                    </a:lnTo>
                    <a:lnTo>
                      <a:pt x="174129" y="1251623"/>
                    </a:lnTo>
                    <a:lnTo>
                      <a:pt x="134400" y="1242826"/>
                    </a:lnTo>
                    <a:lnTo>
                      <a:pt x="105027" y="1198111"/>
                    </a:lnTo>
                    <a:lnTo>
                      <a:pt x="81346" y="1199659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3" name="Еврейская автономная область">
                <a:extLst>
                  <a:ext uri="{FF2B5EF4-FFF2-40B4-BE49-F238E27FC236}">
                    <a16:creationId xmlns:a16="http://schemas.microsoft.com/office/drawing/2014/main" id="{D64C4027-6755-44A2-819E-1BE7B6652F6E}"/>
                  </a:ext>
                </a:extLst>
              </p:cNvPr>
              <p:cNvSpPr/>
              <p:nvPr/>
            </p:nvSpPr>
            <p:spPr>
              <a:xfrm>
                <a:off x="9685496" y="5412974"/>
                <a:ext cx="425250" cy="314550"/>
              </a:xfrm>
              <a:custGeom>
                <a:avLst/>
                <a:gdLst>
                  <a:gd name="connsiteX0" fmla="*/ 3515 w 425250"/>
                  <a:gd name="connsiteY0" fmla="*/ 178126 h 314550"/>
                  <a:gd name="connsiteX1" fmla="*/ -666 w 425250"/>
                  <a:gd name="connsiteY1" fmla="*/ 157973 h 314550"/>
                  <a:gd name="connsiteX2" fmla="*/ 30972 w 425250"/>
                  <a:gd name="connsiteY2" fmla="*/ 133296 h 314550"/>
                  <a:gd name="connsiteX3" fmla="*/ 19736 w 425250"/>
                  <a:gd name="connsiteY3" fmla="*/ 94560 h 314550"/>
                  <a:gd name="connsiteX4" fmla="*/ 55943 w 425250"/>
                  <a:gd name="connsiteY4" fmla="*/ 81167 h 314550"/>
                  <a:gd name="connsiteX5" fmla="*/ 76288 w 425250"/>
                  <a:gd name="connsiteY5" fmla="*/ 49216 h 314550"/>
                  <a:gd name="connsiteX6" fmla="*/ 98699 w 425250"/>
                  <a:gd name="connsiteY6" fmla="*/ 52443 h 314550"/>
                  <a:gd name="connsiteX7" fmla="*/ 91506 w 425250"/>
                  <a:gd name="connsiteY7" fmla="*/ 19883 h 314550"/>
                  <a:gd name="connsiteX8" fmla="*/ 105589 w 425250"/>
                  <a:gd name="connsiteY8" fmla="*/ 8492 h 314550"/>
                  <a:gd name="connsiteX9" fmla="*/ 132043 w 425250"/>
                  <a:gd name="connsiteY9" fmla="*/ 28848 h 314550"/>
                  <a:gd name="connsiteX10" fmla="*/ 164758 w 425250"/>
                  <a:gd name="connsiteY10" fmla="*/ 5826 h 314550"/>
                  <a:gd name="connsiteX11" fmla="*/ 174681 w 425250"/>
                  <a:gd name="connsiteY11" fmla="*/ 17535 h 314550"/>
                  <a:gd name="connsiteX12" fmla="*/ 198741 w 425250"/>
                  <a:gd name="connsiteY12" fmla="*/ 9523 h 314550"/>
                  <a:gd name="connsiteX13" fmla="*/ 231278 w 425250"/>
                  <a:gd name="connsiteY13" fmla="*/ 23996 h 314550"/>
                  <a:gd name="connsiteX14" fmla="*/ 245368 w 425250"/>
                  <a:gd name="connsiteY14" fmla="*/ 49758 h 314550"/>
                  <a:gd name="connsiteX15" fmla="*/ 282024 w 425250"/>
                  <a:gd name="connsiteY15" fmla="*/ 51670 h 314550"/>
                  <a:gd name="connsiteX16" fmla="*/ 336999 w 425250"/>
                  <a:gd name="connsiteY16" fmla="*/ 39880 h 314550"/>
                  <a:gd name="connsiteX17" fmla="*/ 355078 w 425250"/>
                  <a:gd name="connsiteY17" fmla="*/ 9977 h 314550"/>
                  <a:gd name="connsiteX18" fmla="*/ 379426 w 425250"/>
                  <a:gd name="connsiteY18" fmla="*/ 22915 h 314550"/>
                  <a:gd name="connsiteX19" fmla="*/ 413479 w 425250"/>
                  <a:gd name="connsiteY19" fmla="*/ -157 h 314550"/>
                  <a:gd name="connsiteX20" fmla="*/ 424584 w 425250"/>
                  <a:gd name="connsiteY20" fmla="*/ 10453 h 314550"/>
                  <a:gd name="connsiteX21" fmla="*/ 418150 w 425250"/>
                  <a:gd name="connsiteY21" fmla="*/ 41541 h 314550"/>
                  <a:gd name="connsiteX22" fmla="*/ 361924 w 425250"/>
                  <a:gd name="connsiteY22" fmla="*/ 70560 h 314550"/>
                  <a:gd name="connsiteX23" fmla="*/ 321123 w 425250"/>
                  <a:gd name="connsiteY23" fmla="*/ 137254 h 314550"/>
                  <a:gd name="connsiteX24" fmla="*/ 276849 w 425250"/>
                  <a:gd name="connsiteY24" fmla="*/ 163852 h 314550"/>
                  <a:gd name="connsiteX25" fmla="*/ 267057 w 425250"/>
                  <a:gd name="connsiteY25" fmla="*/ 198529 h 314550"/>
                  <a:gd name="connsiteX26" fmla="*/ 251603 w 425250"/>
                  <a:gd name="connsiteY26" fmla="*/ 202686 h 314550"/>
                  <a:gd name="connsiteX27" fmla="*/ 257482 w 425250"/>
                  <a:gd name="connsiteY27" fmla="*/ 241867 h 314550"/>
                  <a:gd name="connsiteX28" fmla="*/ 171301 w 425250"/>
                  <a:gd name="connsiteY28" fmla="*/ 294388 h 314550"/>
                  <a:gd name="connsiteX29" fmla="*/ 158943 w 425250"/>
                  <a:gd name="connsiteY29" fmla="*/ 286516 h 314550"/>
                  <a:gd name="connsiteX30" fmla="*/ 106497 w 425250"/>
                  <a:gd name="connsiteY30" fmla="*/ 314394 h 314550"/>
                  <a:gd name="connsiteX31" fmla="*/ 52816 w 425250"/>
                  <a:gd name="connsiteY31" fmla="*/ 274949 h 314550"/>
                  <a:gd name="connsiteX32" fmla="*/ 56281 w 425250"/>
                  <a:gd name="connsiteY32" fmla="*/ 237901 h 314550"/>
                  <a:gd name="connsiteX33" fmla="*/ 35362 w 425250"/>
                  <a:gd name="connsiteY33" fmla="*/ 213096 h 314550"/>
                  <a:gd name="connsiteX34" fmla="*/ 5924 w 425250"/>
                  <a:gd name="connsiteY34" fmla="*/ 207248 h 314550"/>
                  <a:gd name="connsiteX35" fmla="*/ 3515 w 425250"/>
                  <a:gd name="connsiteY35" fmla="*/ 178126 h 314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25250" h="314550">
                    <a:moveTo>
                      <a:pt x="3515" y="178126"/>
                    </a:moveTo>
                    <a:lnTo>
                      <a:pt x="-666" y="157973"/>
                    </a:lnTo>
                    <a:lnTo>
                      <a:pt x="30972" y="133296"/>
                    </a:lnTo>
                    <a:lnTo>
                      <a:pt x="19736" y="94560"/>
                    </a:lnTo>
                    <a:lnTo>
                      <a:pt x="55943" y="81167"/>
                    </a:lnTo>
                    <a:lnTo>
                      <a:pt x="76288" y="49216"/>
                    </a:lnTo>
                    <a:lnTo>
                      <a:pt x="98699" y="52443"/>
                    </a:lnTo>
                    <a:lnTo>
                      <a:pt x="91506" y="19883"/>
                    </a:lnTo>
                    <a:lnTo>
                      <a:pt x="105589" y="8492"/>
                    </a:lnTo>
                    <a:lnTo>
                      <a:pt x="132043" y="28848"/>
                    </a:lnTo>
                    <a:lnTo>
                      <a:pt x="164758" y="5826"/>
                    </a:lnTo>
                    <a:lnTo>
                      <a:pt x="174681" y="17535"/>
                    </a:lnTo>
                    <a:lnTo>
                      <a:pt x="198741" y="9523"/>
                    </a:lnTo>
                    <a:lnTo>
                      <a:pt x="231278" y="23996"/>
                    </a:lnTo>
                    <a:lnTo>
                      <a:pt x="245368" y="49758"/>
                    </a:lnTo>
                    <a:lnTo>
                      <a:pt x="282024" y="51670"/>
                    </a:lnTo>
                    <a:lnTo>
                      <a:pt x="336999" y="39880"/>
                    </a:lnTo>
                    <a:lnTo>
                      <a:pt x="355078" y="9977"/>
                    </a:lnTo>
                    <a:lnTo>
                      <a:pt x="379426" y="22915"/>
                    </a:lnTo>
                    <a:lnTo>
                      <a:pt x="413479" y="-157"/>
                    </a:lnTo>
                    <a:lnTo>
                      <a:pt x="424584" y="10453"/>
                    </a:lnTo>
                    <a:lnTo>
                      <a:pt x="418150" y="41541"/>
                    </a:lnTo>
                    <a:lnTo>
                      <a:pt x="361924" y="70560"/>
                    </a:lnTo>
                    <a:lnTo>
                      <a:pt x="321123" y="137254"/>
                    </a:lnTo>
                    <a:lnTo>
                      <a:pt x="276849" y="163852"/>
                    </a:lnTo>
                    <a:lnTo>
                      <a:pt x="267057" y="198529"/>
                    </a:lnTo>
                    <a:lnTo>
                      <a:pt x="251603" y="202686"/>
                    </a:lnTo>
                    <a:lnTo>
                      <a:pt x="257482" y="241867"/>
                    </a:lnTo>
                    <a:lnTo>
                      <a:pt x="171301" y="294388"/>
                    </a:lnTo>
                    <a:lnTo>
                      <a:pt x="158943" y="286516"/>
                    </a:lnTo>
                    <a:lnTo>
                      <a:pt x="106497" y="314394"/>
                    </a:lnTo>
                    <a:lnTo>
                      <a:pt x="52816" y="274949"/>
                    </a:lnTo>
                    <a:lnTo>
                      <a:pt x="56281" y="237901"/>
                    </a:lnTo>
                    <a:lnTo>
                      <a:pt x="35362" y="213096"/>
                    </a:lnTo>
                    <a:lnTo>
                      <a:pt x="5924" y="207248"/>
                    </a:lnTo>
                    <a:lnTo>
                      <a:pt x="3515" y="178126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4" name="Сахалинская область">
                <a:extLst>
                  <a:ext uri="{FF2B5EF4-FFF2-40B4-BE49-F238E27FC236}">
                    <a16:creationId xmlns:a16="http://schemas.microsoft.com/office/drawing/2014/main" id="{2E2C356B-F64A-4570-9FE2-D8C37D8FF057}"/>
                  </a:ext>
                </a:extLst>
              </p:cNvPr>
              <p:cNvSpPr/>
              <p:nvPr/>
            </p:nvSpPr>
            <p:spPr>
              <a:xfrm>
                <a:off x="10208647" y="3816534"/>
                <a:ext cx="1532413" cy="1642291"/>
              </a:xfrm>
              <a:custGeom>
                <a:avLst/>
                <a:gdLst>
                  <a:gd name="connsiteX0" fmla="*/ 1460650 w 1532413"/>
                  <a:gd name="connsiteY0" fmla="*/ 822649 h 1642291"/>
                  <a:gd name="connsiteX1" fmla="*/ 1453322 w 1532413"/>
                  <a:gd name="connsiteY1" fmla="*/ 688003 h 1642291"/>
                  <a:gd name="connsiteX2" fmla="*/ 1464790 w 1532413"/>
                  <a:gd name="connsiteY2" fmla="*/ 635526 h 1642291"/>
                  <a:gd name="connsiteX3" fmla="*/ 1416939 w 1532413"/>
                  <a:gd name="connsiteY3" fmla="*/ 532573 h 1642291"/>
                  <a:gd name="connsiteX4" fmla="*/ 1428324 w 1532413"/>
                  <a:gd name="connsiteY4" fmla="*/ 499337 h 1642291"/>
                  <a:gd name="connsiteX5" fmla="*/ 1359368 w 1532413"/>
                  <a:gd name="connsiteY5" fmla="*/ 432723 h 1642291"/>
                  <a:gd name="connsiteX6" fmla="*/ 1405210 w 1532413"/>
                  <a:gd name="connsiteY6" fmla="*/ 376229 h 1642291"/>
                  <a:gd name="connsiteX7" fmla="*/ 1412092 w 1532413"/>
                  <a:gd name="connsiteY7" fmla="*/ 343097 h 1642291"/>
                  <a:gd name="connsiteX8" fmla="*/ 1405658 w 1532413"/>
                  <a:gd name="connsiteY8" fmla="*/ 322273 h 1642291"/>
                  <a:gd name="connsiteX9" fmla="*/ 1358850 w 1532413"/>
                  <a:gd name="connsiteY9" fmla="*/ 307192 h 1642291"/>
                  <a:gd name="connsiteX10" fmla="*/ 1339732 w 1532413"/>
                  <a:gd name="connsiteY10" fmla="*/ 282231 h 1642291"/>
                  <a:gd name="connsiteX11" fmla="*/ 1353199 w 1532413"/>
                  <a:gd name="connsiteY11" fmla="*/ 243586 h 1642291"/>
                  <a:gd name="connsiteX12" fmla="*/ 1334418 w 1532413"/>
                  <a:gd name="connsiteY12" fmla="*/ 186098 h 1642291"/>
                  <a:gd name="connsiteX13" fmla="*/ 1356900 w 1532413"/>
                  <a:gd name="connsiteY13" fmla="*/ 120628 h 1642291"/>
                  <a:gd name="connsiteX14" fmla="*/ 1308127 w 1532413"/>
                  <a:gd name="connsiteY14" fmla="*/ 106123 h 1642291"/>
                  <a:gd name="connsiteX15" fmla="*/ 1292058 w 1532413"/>
                  <a:gd name="connsiteY15" fmla="*/ 78395 h 1642291"/>
                  <a:gd name="connsiteX16" fmla="*/ 1309464 w 1532413"/>
                  <a:gd name="connsiteY16" fmla="*/ 43911 h 1642291"/>
                  <a:gd name="connsiteX17" fmla="*/ 1360357 w 1532413"/>
                  <a:gd name="connsiteY17" fmla="*/ 24939 h 1642291"/>
                  <a:gd name="connsiteX18" fmla="*/ 1362488 w 1532413"/>
                  <a:gd name="connsiteY18" fmla="*/ -157 h 1642291"/>
                  <a:gd name="connsiteX19" fmla="*/ 1441319 w 1532413"/>
                  <a:gd name="connsiteY19" fmla="*/ 4218 h 1642291"/>
                  <a:gd name="connsiteX20" fmla="*/ 1457000 w 1532413"/>
                  <a:gd name="connsiteY20" fmla="*/ 119959 h 1642291"/>
                  <a:gd name="connsiteX21" fmla="*/ 1444149 w 1532413"/>
                  <a:gd name="connsiteY21" fmla="*/ 231037 h 1642291"/>
                  <a:gd name="connsiteX22" fmla="*/ 1482572 w 1532413"/>
                  <a:gd name="connsiteY22" fmla="*/ 282620 h 1642291"/>
                  <a:gd name="connsiteX23" fmla="*/ 1492377 w 1532413"/>
                  <a:gd name="connsiteY23" fmla="*/ 337064 h 1642291"/>
                  <a:gd name="connsiteX24" fmla="*/ 1498745 w 1532413"/>
                  <a:gd name="connsiteY24" fmla="*/ 459622 h 1642291"/>
                  <a:gd name="connsiteX25" fmla="*/ 1473629 w 1532413"/>
                  <a:gd name="connsiteY25" fmla="*/ 502552 h 1642291"/>
                  <a:gd name="connsiteX26" fmla="*/ 1507263 w 1532413"/>
                  <a:gd name="connsiteY26" fmla="*/ 538598 h 1642291"/>
                  <a:gd name="connsiteX27" fmla="*/ 1531748 w 1532413"/>
                  <a:gd name="connsiteY27" fmla="*/ 640339 h 1642291"/>
                  <a:gd name="connsiteX28" fmla="*/ 1528101 w 1532413"/>
                  <a:gd name="connsiteY28" fmla="*/ 812855 h 1642291"/>
                  <a:gd name="connsiteX29" fmla="*/ 1499332 w 1532413"/>
                  <a:gd name="connsiteY29" fmla="*/ 835720 h 1642291"/>
                  <a:gd name="connsiteX30" fmla="*/ 1460650 w 1532413"/>
                  <a:gd name="connsiteY30" fmla="*/ 822649 h 1642291"/>
                  <a:gd name="connsiteX31" fmla="*/ 1234857 w 1532413"/>
                  <a:gd name="connsiteY31" fmla="*/ 1614569 h 1642291"/>
                  <a:gd name="connsiteX32" fmla="*/ 1217751 w 1532413"/>
                  <a:gd name="connsiteY32" fmla="*/ 1466346 h 1642291"/>
                  <a:gd name="connsiteX33" fmla="*/ 1277556 w 1532413"/>
                  <a:gd name="connsiteY33" fmla="*/ 1402180 h 1642291"/>
                  <a:gd name="connsiteX34" fmla="*/ 1286119 w 1532413"/>
                  <a:gd name="connsiteY34" fmla="*/ 1222420 h 1642291"/>
                  <a:gd name="connsiteX35" fmla="*/ 1333599 w 1532413"/>
                  <a:gd name="connsiteY35" fmla="*/ 1184935 h 1642291"/>
                  <a:gd name="connsiteX36" fmla="*/ 1347725 w 1532413"/>
                  <a:gd name="connsiteY36" fmla="*/ 1145062 h 1642291"/>
                  <a:gd name="connsiteX37" fmla="*/ 1390758 w 1532413"/>
                  <a:gd name="connsiteY37" fmla="*/ 1107314 h 1642291"/>
                  <a:gd name="connsiteX38" fmla="*/ 1393812 w 1532413"/>
                  <a:gd name="connsiteY38" fmla="*/ 1010606 h 1642291"/>
                  <a:gd name="connsiteX39" fmla="*/ 1418689 w 1532413"/>
                  <a:gd name="connsiteY39" fmla="*/ 945507 h 1642291"/>
                  <a:gd name="connsiteX40" fmla="*/ 1384413 w 1532413"/>
                  <a:gd name="connsiteY40" fmla="*/ 879938 h 1642291"/>
                  <a:gd name="connsiteX41" fmla="*/ 1399199 w 1532413"/>
                  <a:gd name="connsiteY41" fmla="*/ 857076 h 1642291"/>
                  <a:gd name="connsiteX42" fmla="*/ 1426575 w 1532413"/>
                  <a:gd name="connsiteY42" fmla="*/ 852745 h 1642291"/>
                  <a:gd name="connsiteX43" fmla="*/ 1478825 w 1532413"/>
                  <a:gd name="connsiteY43" fmla="*/ 876549 h 1642291"/>
                  <a:gd name="connsiteX44" fmla="*/ 1489437 w 1532413"/>
                  <a:gd name="connsiteY44" fmla="*/ 950728 h 1642291"/>
                  <a:gd name="connsiteX45" fmla="*/ 1472852 w 1532413"/>
                  <a:gd name="connsiteY45" fmla="*/ 1099975 h 1642291"/>
                  <a:gd name="connsiteX46" fmla="*/ 1429558 w 1532413"/>
                  <a:gd name="connsiteY46" fmla="*/ 1162558 h 1642291"/>
                  <a:gd name="connsiteX47" fmla="*/ 1432702 w 1532413"/>
                  <a:gd name="connsiteY47" fmla="*/ 1192251 h 1642291"/>
                  <a:gd name="connsiteX48" fmla="*/ 1398330 w 1532413"/>
                  <a:gd name="connsiteY48" fmla="*/ 1252676 h 1642291"/>
                  <a:gd name="connsiteX49" fmla="*/ 1368000 w 1532413"/>
                  <a:gd name="connsiteY49" fmla="*/ 1365513 h 1642291"/>
                  <a:gd name="connsiteX50" fmla="*/ 1360915 w 1532413"/>
                  <a:gd name="connsiteY50" fmla="*/ 1425330 h 1642291"/>
                  <a:gd name="connsiteX51" fmla="*/ 1412203 w 1532413"/>
                  <a:gd name="connsiteY51" fmla="*/ 1487929 h 1642291"/>
                  <a:gd name="connsiteX52" fmla="*/ 1411807 w 1532413"/>
                  <a:gd name="connsiteY52" fmla="*/ 1526400 h 1642291"/>
                  <a:gd name="connsiteX53" fmla="*/ 1368821 w 1532413"/>
                  <a:gd name="connsiteY53" fmla="*/ 1642135 h 1642291"/>
                  <a:gd name="connsiteX54" fmla="*/ 1310652 w 1532413"/>
                  <a:gd name="connsiteY54" fmla="*/ 1623067 h 1642291"/>
                  <a:gd name="connsiteX55" fmla="*/ 1244856 w 1532413"/>
                  <a:gd name="connsiteY55" fmla="*/ 1627365 h 1642291"/>
                  <a:gd name="connsiteX56" fmla="*/ 1234859 w 1532413"/>
                  <a:gd name="connsiteY56" fmla="*/ 1614569 h 1642291"/>
                  <a:gd name="connsiteX57" fmla="*/ 205713 w 1532413"/>
                  <a:gd name="connsiteY57" fmla="*/ 870592 h 1642291"/>
                  <a:gd name="connsiteX58" fmla="*/ 82705 w 1532413"/>
                  <a:gd name="connsiteY58" fmla="*/ 638404 h 1642291"/>
                  <a:gd name="connsiteX59" fmla="*/ 33471 w 1532413"/>
                  <a:gd name="connsiteY59" fmla="*/ 605186 h 1642291"/>
                  <a:gd name="connsiteX60" fmla="*/ 75042 w 1532413"/>
                  <a:gd name="connsiteY60" fmla="*/ 529260 h 1642291"/>
                  <a:gd name="connsiteX61" fmla="*/ 11994 w 1532413"/>
                  <a:gd name="connsiteY61" fmla="*/ 497551 h 1642291"/>
                  <a:gd name="connsiteX62" fmla="*/ -666 w 1532413"/>
                  <a:gd name="connsiteY62" fmla="*/ 469199 h 1642291"/>
                  <a:gd name="connsiteX63" fmla="*/ 42473 w 1532413"/>
                  <a:gd name="connsiteY63" fmla="*/ 404694 h 1642291"/>
                  <a:gd name="connsiteX64" fmla="*/ 123877 w 1532413"/>
                  <a:gd name="connsiteY64" fmla="*/ 437333 h 1642291"/>
                  <a:gd name="connsiteX65" fmla="*/ 143885 w 1532413"/>
                  <a:gd name="connsiteY65" fmla="*/ 478544 h 1642291"/>
                  <a:gd name="connsiteX66" fmla="*/ 268011 w 1532413"/>
                  <a:gd name="connsiteY66" fmla="*/ 584308 h 1642291"/>
                  <a:gd name="connsiteX67" fmla="*/ 322395 w 1532413"/>
                  <a:gd name="connsiteY67" fmla="*/ 691108 h 1642291"/>
                  <a:gd name="connsiteX68" fmla="*/ 518378 w 1532413"/>
                  <a:gd name="connsiteY68" fmla="*/ 864860 h 1642291"/>
                  <a:gd name="connsiteX69" fmla="*/ 666781 w 1532413"/>
                  <a:gd name="connsiteY69" fmla="*/ 978286 h 1642291"/>
                  <a:gd name="connsiteX70" fmla="*/ 731242 w 1532413"/>
                  <a:gd name="connsiteY70" fmla="*/ 999182 h 1642291"/>
                  <a:gd name="connsiteX71" fmla="*/ 766184 w 1532413"/>
                  <a:gd name="connsiteY71" fmla="*/ 1032378 h 1642291"/>
                  <a:gd name="connsiteX72" fmla="*/ 768666 w 1532413"/>
                  <a:gd name="connsiteY72" fmla="*/ 1062418 h 1642291"/>
                  <a:gd name="connsiteX73" fmla="*/ 743438 w 1532413"/>
                  <a:gd name="connsiteY73" fmla="*/ 1084649 h 1642291"/>
                  <a:gd name="connsiteX74" fmla="*/ 629573 w 1532413"/>
                  <a:gd name="connsiteY74" fmla="*/ 1047011 h 1642291"/>
                  <a:gd name="connsiteX75" fmla="*/ 581960 w 1532413"/>
                  <a:gd name="connsiteY75" fmla="*/ 1083111 h 1642291"/>
                  <a:gd name="connsiteX76" fmla="*/ 654967 w 1532413"/>
                  <a:gd name="connsiteY76" fmla="*/ 1274019 h 1642291"/>
                  <a:gd name="connsiteX77" fmla="*/ 735997 w 1532413"/>
                  <a:gd name="connsiteY77" fmla="*/ 1304412 h 1642291"/>
                  <a:gd name="connsiteX78" fmla="*/ 761058 w 1532413"/>
                  <a:gd name="connsiteY78" fmla="*/ 1330308 h 1642291"/>
                  <a:gd name="connsiteX79" fmla="*/ 813705 w 1532413"/>
                  <a:gd name="connsiteY79" fmla="*/ 1329853 h 1642291"/>
                  <a:gd name="connsiteX80" fmla="*/ 881057 w 1532413"/>
                  <a:gd name="connsiteY80" fmla="*/ 1393552 h 1642291"/>
                  <a:gd name="connsiteX81" fmla="*/ 897785 w 1532413"/>
                  <a:gd name="connsiteY81" fmla="*/ 1462719 h 1642291"/>
                  <a:gd name="connsiteX82" fmla="*/ 884843 w 1532413"/>
                  <a:gd name="connsiteY82" fmla="*/ 1488547 h 1642291"/>
                  <a:gd name="connsiteX83" fmla="*/ 853298 w 1532413"/>
                  <a:gd name="connsiteY83" fmla="*/ 1491810 h 1642291"/>
                  <a:gd name="connsiteX84" fmla="*/ 821729 w 1532413"/>
                  <a:gd name="connsiteY84" fmla="*/ 1456193 h 1642291"/>
                  <a:gd name="connsiteX85" fmla="*/ 788990 w 1532413"/>
                  <a:gd name="connsiteY85" fmla="*/ 1444378 h 1642291"/>
                  <a:gd name="connsiteX86" fmla="*/ 764707 w 1532413"/>
                  <a:gd name="connsiteY86" fmla="*/ 1474971 h 1642291"/>
                  <a:gd name="connsiteX87" fmla="*/ 798490 w 1532413"/>
                  <a:gd name="connsiteY87" fmla="*/ 1580467 h 1642291"/>
                  <a:gd name="connsiteX88" fmla="*/ 738783 w 1532413"/>
                  <a:gd name="connsiteY88" fmla="*/ 1605023 h 1642291"/>
                  <a:gd name="connsiteX89" fmla="*/ 652603 w 1532413"/>
                  <a:gd name="connsiteY89" fmla="*/ 1515476 h 1642291"/>
                  <a:gd name="connsiteX90" fmla="*/ 621224 w 1532413"/>
                  <a:gd name="connsiteY90" fmla="*/ 1423648 h 1642291"/>
                  <a:gd name="connsiteX91" fmla="*/ 567741 w 1532413"/>
                  <a:gd name="connsiteY91" fmla="*/ 1361464 h 1642291"/>
                  <a:gd name="connsiteX92" fmla="*/ 550723 w 1532413"/>
                  <a:gd name="connsiteY92" fmla="*/ 1297470 h 1642291"/>
                  <a:gd name="connsiteX93" fmla="*/ 459724 w 1532413"/>
                  <a:gd name="connsiteY93" fmla="*/ 1224690 h 1642291"/>
                  <a:gd name="connsiteX94" fmla="*/ 416702 w 1532413"/>
                  <a:gd name="connsiteY94" fmla="*/ 1109033 h 1642291"/>
                  <a:gd name="connsiteX95" fmla="*/ 295453 w 1532413"/>
                  <a:gd name="connsiteY95" fmla="*/ 950427 h 1642291"/>
                  <a:gd name="connsiteX96" fmla="*/ 289530 w 1532413"/>
                  <a:gd name="connsiteY96" fmla="*/ 904807 h 1642291"/>
                  <a:gd name="connsiteX97" fmla="*/ 243587 w 1532413"/>
                  <a:gd name="connsiteY97" fmla="*/ 873192 h 1642291"/>
                  <a:gd name="connsiteX98" fmla="*/ 205713 w 1532413"/>
                  <a:gd name="connsiteY98" fmla="*/ 870591 h 1642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1532413" h="1642291">
                    <a:moveTo>
                      <a:pt x="1460650" y="822649"/>
                    </a:moveTo>
                    <a:lnTo>
                      <a:pt x="1453322" y="688003"/>
                    </a:lnTo>
                    <a:lnTo>
                      <a:pt x="1464790" y="635526"/>
                    </a:lnTo>
                    <a:lnTo>
                      <a:pt x="1416939" y="532573"/>
                    </a:lnTo>
                    <a:lnTo>
                      <a:pt x="1428324" y="499337"/>
                    </a:lnTo>
                    <a:lnTo>
                      <a:pt x="1359368" y="432723"/>
                    </a:lnTo>
                    <a:lnTo>
                      <a:pt x="1405210" y="376229"/>
                    </a:lnTo>
                    <a:lnTo>
                      <a:pt x="1412092" y="343097"/>
                    </a:lnTo>
                    <a:lnTo>
                      <a:pt x="1405658" y="322273"/>
                    </a:lnTo>
                    <a:lnTo>
                      <a:pt x="1358850" y="307192"/>
                    </a:lnTo>
                    <a:lnTo>
                      <a:pt x="1339732" y="282231"/>
                    </a:lnTo>
                    <a:lnTo>
                      <a:pt x="1353199" y="243586"/>
                    </a:lnTo>
                    <a:lnTo>
                      <a:pt x="1334418" y="186098"/>
                    </a:lnTo>
                    <a:lnTo>
                      <a:pt x="1356900" y="120628"/>
                    </a:lnTo>
                    <a:lnTo>
                      <a:pt x="1308127" y="106123"/>
                    </a:lnTo>
                    <a:lnTo>
                      <a:pt x="1292058" y="78395"/>
                    </a:lnTo>
                    <a:lnTo>
                      <a:pt x="1309464" y="43911"/>
                    </a:lnTo>
                    <a:lnTo>
                      <a:pt x="1360357" y="24939"/>
                    </a:lnTo>
                    <a:lnTo>
                      <a:pt x="1362488" y="-157"/>
                    </a:lnTo>
                    <a:lnTo>
                      <a:pt x="1441319" y="4218"/>
                    </a:lnTo>
                    <a:lnTo>
                      <a:pt x="1457000" y="119959"/>
                    </a:lnTo>
                    <a:lnTo>
                      <a:pt x="1444149" y="231037"/>
                    </a:lnTo>
                    <a:lnTo>
                      <a:pt x="1482572" y="282620"/>
                    </a:lnTo>
                    <a:lnTo>
                      <a:pt x="1492377" y="337064"/>
                    </a:lnTo>
                    <a:lnTo>
                      <a:pt x="1498745" y="459622"/>
                    </a:lnTo>
                    <a:lnTo>
                      <a:pt x="1473629" y="502552"/>
                    </a:lnTo>
                    <a:lnTo>
                      <a:pt x="1507263" y="538598"/>
                    </a:lnTo>
                    <a:lnTo>
                      <a:pt x="1531748" y="640339"/>
                    </a:lnTo>
                    <a:lnTo>
                      <a:pt x="1528101" y="812855"/>
                    </a:lnTo>
                    <a:lnTo>
                      <a:pt x="1499332" y="835720"/>
                    </a:lnTo>
                    <a:lnTo>
                      <a:pt x="1460650" y="822649"/>
                    </a:lnTo>
                    <a:moveTo>
                      <a:pt x="1234857" y="1614569"/>
                    </a:moveTo>
                    <a:lnTo>
                      <a:pt x="1217751" y="1466346"/>
                    </a:lnTo>
                    <a:lnTo>
                      <a:pt x="1277556" y="1402180"/>
                    </a:lnTo>
                    <a:lnTo>
                      <a:pt x="1286119" y="1222420"/>
                    </a:lnTo>
                    <a:lnTo>
                      <a:pt x="1333599" y="1184935"/>
                    </a:lnTo>
                    <a:lnTo>
                      <a:pt x="1347725" y="1145062"/>
                    </a:lnTo>
                    <a:lnTo>
                      <a:pt x="1390758" y="1107314"/>
                    </a:lnTo>
                    <a:lnTo>
                      <a:pt x="1393812" y="1010606"/>
                    </a:lnTo>
                    <a:lnTo>
                      <a:pt x="1418689" y="945507"/>
                    </a:lnTo>
                    <a:lnTo>
                      <a:pt x="1384413" y="879938"/>
                    </a:lnTo>
                    <a:lnTo>
                      <a:pt x="1399199" y="857076"/>
                    </a:lnTo>
                    <a:lnTo>
                      <a:pt x="1426575" y="852745"/>
                    </a:lnTo>
                    <a:lnTo>
                      <a:pt x="1478825" y="876549"/>
                    </a:lnTo>
                    <a:lnTo>
                      <a:pt x="1489437" y="950728"/>
                    </a:lnTo>
                    <a:lnTo>
                      <a:pt x="1472852" y="1099975"/>
                    </a:lnTo>
                    <a:lnTo>
                      <a:pt x="1429558" y="1162558"/>
                    </a:lnTo>
                    <a:lnTo>
                      <a:pt x="1432702" y="1192251"/>
                    </a:lnTo>
                    <a:lnTo>
                      <a:pt x="1398330" y="1252676"/>
                    </a:lnTo>
                    <a:lnTo>
                      <a:pt x="1368000" y="1365513"/>
                    </a:lnTo>
                    <a:lnTo>
                      <a:pt x="1360915" y="1425330"/>
                    </a:lnTo>
                    <a:lnTo>
                      <a:pt x="1412203" y="1487929"/>
                    </a:lnTo>
                    <a:lnTo>
                      <a:pt x="1411807" y="1526400"/>
                    </a:lnTo>
                    <a:lnTo>
                      <a:pt x="1368821" y="1642135"/>
                    </a:lnTo>
                    <a:lnTo>
                      <a:pt x="1310652" y="1623067"/>
                    </a:lnTo>
                    <a:lnTo>
                      <a:pt x="1244856" y="1627365"/>
                    </a:lnTo>
                    <a:lnTo>
                      <a:pt x="1234859" y="1614569"/>
                    </a:lnTo>
                    <a:moveTo>
                      <a:pt x="205713" y="870592"/>
                    </a:moveTo>
                    <a:lnTo>
                      <a:pt x="82705" y="638404"/>
                    </a:lnTo>
                    <a:lnTo>
                      <a:pt x="33471" y="605186"/>
                    </a:lnTo>
                    <a:lnTo>
                      <a:pt x="75042" y="529260"/>
                    </a:lnTo>
                    <a:lnTo>
                      <a:pt x="11994" y="497551"/>
                    </a:lnTo>
                    <a:lnTo>
                      <a:pt x="-666" y="469199"/>
                    </a:lnTo>
                    <a:lnTo>
                      <a:pt x="42473" y="404694"/>
                    </a:lnTo>
                    <a:lnTo>
                      <a:pt x="123877" y="437333"/>
                    </a:lnTo>
                    <a:lnTo>
                      <a:pt x="143885" y="478544"/>
                    </a:lnTo>
                    <a:lnTo>
                      <a:pt x="268011" y="584308"/>
                    </a:lnTo>
                    <a:lnTo>
                      <a:pt x="322395" y="691108"/>
                    </a:lnTo>
                    <a:lnTo>
                      <a:pt x="518378" y="864860"/>
                    </a:lnTo>
                    <a:lnTo>
                      <a:pt x="666781" y="978286"/>
                    </a:lnTo>
                    <a:lnTo>
                      <a:pt x="731242" y="999182"/>
                    </a:lnTo>
                    <a:lnTo>
                      <a:pt x="766184" y="1032378"/>
                    </a:lnTo>
                    <a:lnTo>
                      <a:pt x="768666" y="1062418"/>
                    </a:lnTo>
                    <a:lnTo>
                      <a:pt x="743438" y="1084649"/>
                    </a:lnTo>
                    <a:lnTo>
                      <a:pt x="629573" y="1047011"/>
                    </a:lnTo>
                    <a:lnTo>
                      <a:pt x="581960" y="1083111"/>
                    </a:lnTo>
                    <a:lnTo>
                      <a:pt x="654967" y="1274019"/>
                    </a:lnTo>
                    <a:lnTo>
                      <a:pt x="735997" y="1304412"/>
                    </a:lnTo>
                    <a:lnTo>
                      <a:pt x="761058" y="1330308"/>
                    </a:lnTo>
                    <a:lnTo>
                      <a:pt x="813705" y="1329853"/>
                    </a:lnTo>
                    <a:lnTo>
                      <a:pt x="881057" y="1393552"/>
                    </a:lnTo>
                    <a:lnTo>
                      <a:pt x="897785" y="1462719"/>
                    </a:lnTo>
                    <a:lnTo>
                      <a:pt x="884843" y="1488547"/>
                    </a:lnTo>
                    <a:lnTo>
                      <a:pt x="853298" y="1491810"/>
                    </a:lnTo>
                    <a:lnTo>
                      <a:pt x="821729" y="1456193"/>
                    </a:lnTo>
                    <a:lnTo>
                      <a:pt x="788990" y="1444378"/>
                    </a:lnTo>
                    <a:lnTo>
                      <a:pt x="764707" y="1474971"/>
                    </a:lnTo>
                    <a:lnTo>
                      <a:pt x="798490" y="1580467"/>
                    </a:lnTo>
                    <a:lnTo>
                      <a:pt x="738783" y="1605023"/>
                    </a:lnTo>
                    <a:lnTo>
                      <a:pt x="652603" y="1515476"/>
                    </a:lnTo>
                    <a:lnTo>
                      <a:pt x="621224" y="1423648"/>
                    </a:lnTo>
                    <a:lnTo>
                      <a:pt x="567741" y="1361464"/>
                    </a:lnTo>
                    <a:lnTo>
                      <a:pt x="550723" y="1297470"/>
                    </a:lnTo>
                    <a:lnTo>
                      <a:pt x="459724" y="1224690"/>
                    </a:lnTo>
                    <a:lnTo>
                      <a:pt x="416702" y="1109033"/>
                    </a:lnTo>
                    <a:lnTo>
                      <a:pt x="295453" y="950427"/>
                    </a:lnTo>
                    <a:lnTo>
                      <a:pt x="289530" y="904807"/>
                    </a:lnTo>
                    <a:lnTo>
                      <a:pt x="243587" y="873192"/>
                    </a:lnTo>
                    <a:lnTo>
                      <a:pt x="205713" y="87059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5" name="Магаданская область">
                <a:extLst>
                  <a:ext uri="{FF2B5EF4-FFF2-40B4-BE49-F238E27FC236}">
                    <a16:creationId xmlns:a16="http://schemas.microsoft.com/office/drawing/2014/main" id="{D1511659-6319-4DEE-B469-8A8770287FBD}"/>
                  </a:ext>
                </a:extLst>
              </p:cNvPr>
              <p:cNvSpPr/>
              <p:nvPr/>
            </p:nvSpPr>
            <p:spPr>
              <a:xfrm>
                <a:off x="9584620" y="1989860"/>
                <a:ext cx="1188131" cy="1457214"/>
              </a:xfrm>
              <a:custGeom>
                <a:avLst/>
                <a:gdLst>
                  <a:gd name="connsiteX0" fmla="*/ 113647 w 1188131"/>
                  <a:gd name="connsiteY0" fmla="*/ 1195332 h 1457214"/>
                  <a:gd name="connsiteX1" fmla="*/ 123190 w 1188131"/>
                  <a:gd name="connsiteY1" fmla="*/ 1150624 h 1457214"/>
                  <a:gd name="connsiteX2" fmla="*/ 100886 w 1188131"/>
                  <a:gd name="connsiteY2" fmla="*/ 1128460 h 1457214"/>
                  <a:gd name="connsiteX3" fmla="*/ 115114 w 1188131"/>
                  <a:gd name="connsiteY3" fmla="*/ 1105679 h 1457214"/>
                  <a:gd name="connsiteX4" fmla="*/ 43314 w 1188131"/>
                  <a:gd name="connsiteY4" fmla="*/ 1038659 h 1457214"/>
                  <a:gd name="connsiteX5" fmla="*/ 19044 w 1188131"/>
                  <a:gd name="connsiteY5" fmla="*/ 957154 h 1457214"/>
                  <a:gd name="connsiteX6" fmla="*/ -666 w 1188131"/>
                  <a:gd name="connsiteY6" fmla="*/ 941544 h 1457214"/>
                  <a:gd name="connsiteX7" fmla="*/ 21922 w 1188131"/>
                  <a:gd name="connsiteY7" fmla="*/ 904065 h 1457214"/>
                  <a:gd name="connsiteX8" fmla="*/ 10315 w 1188131"/>
                  <a:gd name="connsiteY8" fmla="*/ 860000 h 1457214"/>
                  <a:gd name="connsiteX9" fmla="*/ 74059 w 1188131"/>
                  <a:gd name="connsiteY9" fmla="*/ 845444 h 1457214"/>
                  <a:gd name="connsiteX10" fmla="*/ 77209 w 1188131"/>
                  <a:gd name="connsiteY10" fmla="*/ 810995 h 1457214"/>
                  <a:gd name="connsiteX11" fmla="*/ 95153 w 1188131"/>
                  <a:gd name="connsiteY11" fmla="*/ 829958 h 1457214"/>
                  <a:gd name="connsiteX12" fmla="*/ 121174 w 1188131"/>
                  <a:gd name="connsiteY12" fmla="*/ 823894 h 1457214"/>
                  <a:gd name="connsiteX13" fmla="*/ 108774 w 1188131"/>
                  <a:gd name="connsiteY13" fmla="*/ 776680 h 1457214"/>
                  <a:gd name="connsiteX14" fmla="*/ 75699 w 1188131"/>
                  <a:gd name="connsiteY14" fmla="*/ 764840 h 1457214"/>
                  <a:gd name="connsiteX15" fmla="*/ 78970 w 1188131"/>
                  <a:gd name="connsiteY15" fmla="*/ 739160 h 1457214"/>
                  <a:gd name="connsiteX16" fmla="*/ 111439 w 1188131"/>
                  <a:gd name="connsiteY16" fmla="*/ 737707 h 1457214"/>
                  <a:gd name="connsiteX17" fmla="*/ 146878 w 1188131"/>
                  <a:gd name="connsiteY17" fmla="*/ 713043 h 1457214"/>
                  <a:gd name="connsiteX18" fmla="*/ 155513 w 1188131"/>
                  <a:gd name="connsiteY18" fmla="*/ 667553 h 1457214"/>
                  <a:gd name="connsiteX19" fmla="*/ 178973 w 1188131"/>
                  <a:gd name="connsiteY19" fmla="*/ 666383 h 1457214"/>
                  <a:gd name="connsiteX20" fmla="*/ 195541 w 1188131"/>
                  <a:gd name="connsiteY20" fmla="*/ 690736 h 1457214"/>
                  <a:gd name="connsiteX21" fmla="*/ 230915 w 1188131"/>
                  <a:gd name="connsiteY21" fmla="*/ 683713 h 1457214"/>
                  <a:gd name="connsiteX22" fmla="*/ 218561 w 1188131"/>
                  <a:gd name="connsiteY22" fmla="*/ 658535 h 1457214"/>
                  <a:gd name="connsiteX23" fmla="*/ 257913 w 1188131"/>
                  <a:gd name="connsiteY23" fmla="*/ 625353 h 1457214"/>
                  <a:gd name="connsiteX24" fmla="*/ 269730 w 1188131"/>
                  <a:gd name="connsiteY24" fmla="*/ 581213 h 1457214"/>
                  <a:gd name="connsiteX25" fmla="*/ 292502 w 1188131"/>
                  <a:gd name="connsiteY25" fmla="*/ 589249 h 1457214"/>
                  <a:gd name="connsiteX26" fmla="*/ 303737 w 1188131"/>
                  <a:gd name="connsiteY26" fmla="*/ 571285 h 1457214"/>
                  <a:gd name="connsiteX27" fmla="*/ 285177 w 1188131"/>
                  <a:gd name="connsiteY27" fmla="*/ 557681 h 1457214"/>
                  <a:gd name="connsiteX28" fmla="*/ 290516 w 1188131"/>
                  <a:gd name="connsiteY28" fmla="*/ 516763 h 1457214"/>
                  <a:gd name="connsiteX29" fmla="*/ 251490 w 1188131"/>
                  <a:gd name="connsiteY29" fmla="*/ 507390 h 1457214"/>
                  <a:gd name="connsiteX30" fmla="*/ 228739 w 1188131"/>
                  <a:gd name="connsiteY30" fmla="*/ 463635 h 1457214"/>
                  <a:gd name="connsiteX31" fmla="*/ 253011 w 1188131"/>
                  <a:gd name="connsiteY31" fmla="*/ 413903 h 1457214"/>
                  <a:gd name="connsiteX32" fmla="*/ 204408 w 1188131"/>
                  <a:gd name="connsiteY32" fmla="*/ 360192 h 1457214"/>
                  <a:gd name="connsiteX33" fmla="*/ 217455 w 1188131"/>
                  <a:gd name="connsiteY33" fmla="*/ 334018 h 1457214"/>
                  <a:gd name="connsiteX34" fmla="*/ 239175 w 1188131"/>
                  <a:gd name="connsiteY34" fmla="*/ 327584 h 1457214"/>
                  <a:gd name="connsiteX35" fmla="*/ 226156 w 1188131"/>
                  <a:gd name="connsiteY35" fmla="*/ 299081 h 1457214"/>
                  <a:gd name="connsiteX36" fmla="*/ 211350 w 1188131"/>
                  <a:gd name="connsiteY36" fmla="*/ 302533 h 1457214"/>
                  <a:gd name="connsiteX37" fmla="*/ 205795 w 1188131"/>
                  <a:gd name="connsiteY37" fmla="*/ 270058 h 1457214"/>
                  <a:gd name="connsiteX38" fmla="*/ 235138 w 1188131"/>
                  <a:gd name="connsiteY38" fmla="*/ 264984 h 1457214"/>
                  <a:gd name="connsiteX39" fmla="*/ 268167 w 1188131"/>
                  <a:gd name="connsiteY39" fmla="*/ 220361 h 1457214"/>
                  <a:gd name="connsiteX40" fmla="*/ 312631 w 1188131"/>
                  <a:gd name="connsiteY40" fmla="*/ 202773 h 1457214"/>
                  <a:gd name="connsiteX41" fmla="*/ 305871 w 1188131"/>
                  <a:gd name="connsiteY41" fmla="*/ 174863 h 1457214"/>
                  <a:gd name="connsiteX42" fmla="*/ 344736 w 1188131"/>
                  <a:gd name="connsiteY42" fmla="*/ 186358 h 1457214"/>
                  <a:gd name="connsiteX43" fmla="*/ 368824 w 1188131"/>
                  <a:gd name="connsiteY43" fmla="*/ 175674 h 1457214"/>
                  <a:gd name="connsiteX44" fmla="*/ 362971 w 1188131"/>
                  <a:gd name="connsiteY44" fmla="*/ 134639 h 1457214"/>
                  <a:gd name="connsiteX45" fmla="*/ 396668 w 1188131"/>
                  <a:gd name="connsiteY45" fmla="*/ 98989 h 1457214"/>
                  <a:gd name="connsiteX46" fmla="*/ 370475 w 1188131"/>
                  <a:gd name="connsiteY46" fmla="*/ 71922 h 1457214"/>
                  <a:gd name="connsiteX47" fmla="*/ 410921 w 1188131"/>
                  <a:gd name="connsiteY47" fmla="*/ 49363 h 1457214"/>
                  <a:gd name="connsiteX48" fmla="*/ 456674 w 1188131"/>
                  <a:gd name="connsiteY48" fmla="*/ 116021 h 1457214"/>
                  <a:gd name="connsiteX49" fmla="*/ 534275 w 1188131"/>
                  <a:gd name="connsiteY49" fmla="*/ 82490 h 1457214"/>
                  <a:gd name="connsiteX50" fmla="*/ 590217 w 1188131"/>
                  <a:gd name="connsiteY50" fmla="*/ 94916 h 1457214"/>
                  <a:gd name="connsiteX51" fmla="*/ 632154 w 1188131"/>
                  <a:gd name="connsiteY51" fmla="*/ 55582 h 1457214"/>
                  <a:gd name="connsiteX52" fmla="*/ 689331 w 1188131"/>
                  <a:gd name="connsiteY52" fmla="*/ 61731 h 1457214"/>
                  <a:gd name="connsiteX53" fmla="*/ 748220 w 1188131"/>
                  <a:gd name="connsiteY53" fmla="*/ 29967 h 1457214"/>
                  <a:gd name="connsiteX54" fmla="*/ 765693 w 1188131"/>
                  <a:gd name="connsiteY54" fmla="*/ -157 h 1457214"/>
                  <a:gd name="connsiteX55" fmla="*/ 782048 w 1188131"/>
                  <a:gd name="connsiteY55" fmla="*/ 18802 h 1457214"/>
                  <a:gd name="connsiteX56" fmla="*/ 816694 w 1188131"/>
                  <a:gd name="connsiteY56" fmla="*/ 19808 h 1457214"/>
                  <a:gd name="connsiteX57" fmla="*/ 827927 w 1188131"/>
                  <a:gd name="connsiteY57" fmla="*/ 56157 h 1457214"/>
                  <a:gd name="connsiteX58" fmla="*/ 815451 w 1188131"/>
                  <a:gd name="connsiteY58" fmla="*/ 78819 h 1457214"/>
                  <a:gd name="connsiteX59" fmla="*/ 852743 w 1188131"/>
                  <a:gd name="connsiteY59" fmla="*/ 96406 h 1457214"/>
                  <a:gd name="connsiteX60" fmla="*/ 851942 w 1188131"/>
                  <a:gd name="connsiteY60" fmla="*/ 117216 h 1457214"/>
                  <a:gd name="connsiteX61" fmla="*/ 901612 w 1188131"/>
                  <a:gd name="connsiteY61" fmla="*/ 133047 h 1457214"/>
                  <a:gd name="connsiteX62" fmla="*/ 899556 w 1188131"/>
                  <a:gd name="connsiteY62" fmla="*/ 159545 h 1457214"/>
                  <a:gd name="connsiteX63" fmla="*/ 930460 w 1188131"/>
                  <a:gd name="connsiteY63" fmla="*/ 175457 h 1457214"/>
                  <a:gd name="connsiteX64" fmla="*/ 924668 w 1188131"/>
                  <a:gd name="connsiteY64" fmla="*/ 213112 h 1457214"/>
                  <a:gd name="connsiteX65" fmla="*/ 941072 w 1188131"/>
                  <a:gd name="connsiteY65" fmla="*/ 227546 h 1457214"/>
                  <a:gd name="connsiteX66" fmla="*/ 991197 w 1188131"/>
                  <a:gd name="connsiteY66" fmla="*/ 218125 h 1457214"/>
                  <a:gd name="connsiteX67" fmla="*/ 1035804 w 1188131"/>
                  <a:gd name="connsiteY67" fmla="*/ 256904 h 1457214"/>
                  <a:gd name="connsiteX68" fmla="*/ 1024908 w 1188131"/>
                  <a:gd name="connsiteY68" fmla="*/ 306536 h 1457214"/>
                  <a:gd name="connsiteX69" fmla="*/ 1062115 w 1188131"/>
                  <a:gd name="connsiteY69" fmla="*/ 300873 h 1457214"/>
                  <a:gd name="connsiteX70" fmla="*/ 1058150 w 1188131"/>
                  <a:gd name="connsiteY70" fmla="*/ 321175 h 1457214"/>
                  <a:gd name="connsiteX71" fmla="*/ 1099684 w 1188131"/>
                  <a:gd name="connsiteY71" fmla="*/ 338395 h 1457214"/>
                  <a:gd name="connsiteX72" fmla="*/ 1174261 w 1188131"/>
                  <a:gd name="connsiteY72" fmla="*/ 443856 h 1457214"/>
                  <a:gd name="connsiteX73" fmla="*/ 1187465 w 1188131"/>
                  <a:gd name="connsiteY73" fmla="*/ 570157 h 1457214"/>
                  <a:gd name="connsiteX74" fmla="*/ 1151675 w 1188131"/>
                  <a:gd name="connsiteY74" fmla="*/ 575019 h 1457214"/>
                  <a:gd name="connsiteX75" fmla="*/ 1136199 w 1188131"/>
                  <a:gd name="connsiteY75" fmla="*/ 606748 h 1457214"/>
                  <a:gd name="connsiteX76" fmla="*/ 1047865 w 1188131"/>
                  <a:gd name="connsiteY76" fmla="*/ 595158 h 1457214"/>
                  <a:gd name="connsiteX77" fmla="*/ 986122 w 1188131"/>
                  <a:gd name="connsiteY77" fmla="*/ 539143 h 1457214"/>
                  <a:gd name="connsiteX78" fmla="*/ 951410 w 1188131"/>
                  <a:gd name="connsiteY78" fmla="*/ 535752 h 1457214"/>
                  <a:gd name="connsiteX79" fmla="*/ 927453 w 1188131"/>
                  <a:gd name="connsiteY79" fmla="*/ 552620 h 1457214"/>
                  <a:gd name="connsiteX80" fmla="*/ 873000 w 1188131"/>
                  <a:gd name="connsiteY80" fmla="*/ 657502 h 1457214"/>
                  <a:gd name="connsiteX81" fmla="*/ 898208 w 1188131"/>
                  <a:gd name="connsiteY81" fmla="*/ 706742 h 1457214"/>
                  <a:gd name="connsiteX82" fmla="*/ 891091 w 1188131"/>
                  <a:gd name="connsiteY82" fmla="*/ 759331 h 1457214"/>
                  <a:gd name="connsiteX83" fmla="*/ 914861 w 1188131"/>
                  <a:gd name="connsiteY83" fmla="*/ 802766 h 1457214"/>
                  <a:gd name="connsiteX84" fmla="*/ 910414 w 1188131"/>
                  <a:gd name="connsiteY84" fmla="*/ 942098 h 1457214"/>
                  <a:gd name="connsiteX85" fmla="*/ 944818 w 1188131"/>
                  <a:gd name="connsiteY85" fmla="*/ 968327 h 1457214"/>
                  <a:gd name="connsiteX86" fmla="*/ 1032276 w 1188131"/>
                  <a:gd name="connsiteY86" fmla="*/ 945787 h 1457214"/>
                  <a:gd name="connsiteX87" fmla="*/ 1060504 w 1188131"/>
                  <a:gd name="connsiteY87" fmla="*/ 981458 h 1457214"/>
                  <a:gd name="connsiteX88" fmla="*/ 1057935 w 1188131"/>
                  <a:gd name="connsiteY88" fmla="*/ 1008523 h 1457214"/>
                  <a:gd name="connsiteX89" fmla="*/ 986539 w 1188131"/>
                  <a:gd name="connsiteY89" fmla="*/ 1113410 h 1457214"/>
                  <a:gd name="connsiteX90" fmla="*/ 945047 w 1188131"/>
                  <a:gd name="connsiteY90" fmla="*/ 1145147 h 1457214"/>
                  <a:gd name="connsiteX91" fmla="*/ 937595 w 1188131"/>
                  <a:gd name="connsiteY91" fmla="*/ 1190334 h 1457214"/>
                  <a:gd name="connsiteX92" fmla="*/ 848169 w 1188131"/>
                  <a:gd name="connsiteY92" fmla="*/ 1287904 h 1457214"/>
                  <a:gd name="connsiteX93" fmla="*/ 790365 w 1188131"/>
                  <a:gd name="connsiteY93" fmla="*/ 1304238 h 1457214"/>
                  <a:gd name="connsiteX94" fmla="*/ 525068 w 1188131"/>
                  <a:gd name="connsiteY94" fmla="*/ 1457058 h 1457214"/>
                  <a:gd name="connsiteX95" fmla="*/ 487070 w 1188131"/>
                  <a:gd name="connsiteY95" fmla="*/ 1370670 h 1457214"/>
                  <a:gd name="connsiteX96" fmla="*/ 466088 w 1188131"/>
                  <a:gd name="connsiteY96" fmla="*/ 1356677 h 1457214"/>
                  <a:gd name="connsiteX97" fmla="*/ 443672 w 1188131"/>
                  <a:gd name="connsiteY97" fmla="*/ 1369688 h 1457214"/>
                  <a:gd name="connsiteX98" fmla="*/ 385372 w 1188131"/>
                  <a:gd name="connsiteY98" fmla="*/ 1347981 h 1457214"/>
                  <a:gd name="connsiteX99" fmla="*/ 361480 w 1188131"/>
                  <a:gd name="connsiteY99" fmla="*/ 1382292 h 1457214"/>
                  <a:gd name="connsiteX100" fmla="*/ 314087 w 1188131"/>
                  <a:gd name="connsiteY100" fmla="*/ 1362547 h 1457214"/>
                  <a:gd name="connsiteX101" fmla="*/ 321335 w 1188131"/>
                  <a:gd name="connsiteY101" fmla="*/ 1301905 h 1457214"/>
                  <a:gd name="connsiteX102" fmla="*/ 349390 w 1188131"/>
                  <a:gd name="connsiteY102" fmla="*/ 1292919 h 1457214"/>
                  <a:gd name="connsiteX103" fmla="*/ 326814 w 1188131"/>
                  <a:gd name="connsiteY103" fmla="*/ 1257334 h 1457214"/>
                  <a:gd name="connsiteX104" fmla="*/ 335982 w 1188131"/>
                  <a:gd name="connsiteY104" fmla="*/ 1237405 h 1457214"/>
                  <a:gd name="connsiteX105" fmla="*/ 290244 w 1188131"/>
                  <a:gd name="connsiteY105" fmla="*/ 1181338 h 1457214"/>
                  <a:gd name="connsiteX106" fmla="*/ 193552 w 1188131"/>
                  <a:gd name="connsiteY106" fmla="*/ 1150722 h 1457214"/>
                  <a:gd name="connsiteX107" fmla="*/ 170142 w 1188131"/>
                  <a:gd name="connsiteY107" fmla="*/ 1158193 h 1457214"/>
                  <a:gd name="connsiteX108" fmla="*/ 173924 w 1188131"/>
                  <a:gd name="connsiteY108" fmla="*/ 1176536 h 1457214"/>
                  <a:gd name="connsiteX109" fmla="*/ 153349 w 1188131"/>
                  <a:gd name="connsiteY109" fmla="*/ 1189315 h 1457214"/>
                  <a:gd name="connsiteX110" fmla="*/ 113642 w 1188131"/>
                  <a:gd name="connsiteY110" fmla="*/ 1195332 h 1457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1188131" h="1457214">
                    <a:moveTo>
                      <a:pt x="113647" y="1195332"/>
                    </a:moveTo>
                    <a:lnTo>
                      <a:pt x="123190" y="1150624"/>
                    </a:lnTo>
                    <a:lnTo>
                      <a:pt x="100886" y="1128460"/>
                    </a:lnTo>
                    <a:lnTo>
                      <a:pt x="115114" y="1105679"/>
                    </a:lnTo>
                    <a:lnTo>
                      <a:pt x="43314" y="1038659"/>
                    </a:lnTo>
                    <a:lnTo>
                      <a:pt x="19044" y="957154"/>
                    </a:lnTo>
                    <a:lnTo>
                      <a:pt x="-666" y="941544"/>
                    </a:lnTo>
                    <a:lnTo>
                      <a:pt x="21922" y="904065"/>
                    </a:lnTo>
                    <a:lnTo>
                      <a:pt x="10315" y="860000"/>
                    </a:lnTo>
                    <a:lnTo>
                      <a:pt x="74059" y="845444"/>
                    </a:lnTo>
                    <a:lnTo>
                      <a:pt x="77209" y="810995"/>
                    </a:lnTo>
                    <a:lnTo>
                      <a:pt x="95153" y="829958"/>
                    </a:lnTo>
                    <a:lnTo>
                      <a:pt x="121174" y="823894"/>
                    </a:lnTo>
                    <a:lnTo>
                      <a:pt x="108774" y="776680"/>
                    </a:lnTo>
                    <a:lnTo>
                      <a:pt x="75699" y="764840"/>
                    </a:lnTo>
                    <a:lnTo>
                      <a:pt x="78970" y="739160"/>
                    </a:lnTo>
                    <a:lnTo>
                      <a:pt x="111439" y="737707"/>
                    </a:lnTo>
                    <a:lnTo>
                      <a:pt x="146878" y="713043"/>
                    </a:lnTo>
                    <a:lnTo>
                      <a:pt x="155513" y="667553"/>
                    </a:lnTo>
                    <a:lnTo>
                      <a:pt x="178973" y="666383"/>
                    </a:lnTo>
                    <a:lnTo>
                      <a:pt x="195541" y="690736"/>
                    </a:lnTo>
                    <a:lnTo>
                      <a:pt x="230915" y="683713"/>
                    </a:lnTo>
                    <a:lnTo>
                      <a:pt x="218561" y="658535"/>
                    </a:lnTo>
                    <a:lnTo>
                      <a:pt x="257913" y="625353"/>
                    </a:lnTo>
                    <a:lnTo>
                      <a:pt x="269730" y="581213"/>
                    </a:lnTo>
                    <a:lnTo>
                      <a:pt x="292502" y="589249"/>
                    </a:lnTo>
                    <a:lnTo>
                      <a:pt x="303737" y="571285"/>
                    </a:lnTo>
                    <a:lnTo>
                      <a:pt x="285177" y="557681"/>
                    </a:lnTo>
                    <a:lnTo>
                      <a:pt x="290516" y="516763"/>
                    </a:lnTo>
                    <a:lnTo>
                      <a:pt x="251490" y="507390"/>
                    </a:lnTo>
                    <a:lnTo>
                      <a:pt x="228739" y="463635"/>
                    </a:lnTo>
                    <a:lnTo>
                      <a:pt x="253011" y="413903"/>
                    </a:lnTo>
                    <a:lnTo>
                      <a:pt x="204408" y="360192"/>
                    </a:lnTo>
                    <a:lnTo>
                      <a:pt x="217455" y="334018"/>
                    </a:lnTo>
                    <a:lnTo>
                      <a:pt x="239175" y="327584"/>
                    </a:lnTo>
                    <a:lnTo>
                      <a:pt x="226156" y="299081"/>
                    </a:lnTo>
                    <a:lnTo>
                      <a:pt x="211350" y="302533"/>
                    </a:lnTo>
                    <a:lnTo>
                      <a:pt x="205795" y="270058"/>
                    </a:lnTo>
                    <a:lnTo>
                      <a:pt x="235138" y="264984"/>
                    </a:lnTo>
                    <a:lnTo>
                      <a:pt x="268167" y="220361"/>
                    </a:lnTo>
                    <a:lnTo>
                      <a:pt x="312631" y="202773"/>
                    </a:lnTo>
                    <a:lnTo>
                      <a:pt x="305871" y="174863"/>
                    </a:lnTo>
                    <a:lnTo>
                      <a:pt x="344736" y="186358"/>
                    </a:lnTo>
                    <a:lnTo>
                      <a:pt x="368824" y="175674"/>
                    </a:lnTo>
                    <a:lnTo>
                      <a:pt x="362971" y="134639"/>
                    </a:lnTo>
                    <a:lnTo>
                      <a:pt x="396668" y="98989"/>
                    </a:lnTo>
                    <a:lnTo>
                      <a:pt x="370475" y="71922"/>
                    </a:lnTo>
                    <a:lnTo>
                      <a:pt x="410921" y="49363"/>
                    </a:lnTo>
                    <a:lnTo>
                      <a:pt x="456674" y="116021"/>
                    </a:lnTo>
                    <a:lnTo>
                      <a:pt x="534275" y="82490"/>
                    </a:lnTo>
                    <a:lnTo>
                      <a:pt x="590217" y="94916"/>
                    </a:lnTo>
                    <a:lnTo>
                      <a:pt x="632154" y="55582"/>
                    </a:lnTo>
                    <a:lnTo>
                      <a:pt x="689331" y="61731"/>
                    </a:lnTo>
                    <a:lnTo>
                      <a:pt x="748220" y="29967"/>
                    </a:lnTo>
                    <a:lnTo>
                      <a:pt x="765693" y="-157"/>
                    </a:lnTo>
                    <a:lnTo>
                      <a:pt x="782048" y="18802"/>
                    </a:lnTo>
                    <a:lnTo>
                      <a:pt x="816694" y="19808"/>
                    </a:lnTo>
                    <a:lnTo>
                      <a:pt x="827927" y="56157"/>
                    </a:lnTo>
                    <a:lnTo>
                      <a:pt x="815451" y="78819"/>
                    </a:lnTo>
                    <a:lnTo>
                      <a:pt x="852743" y="96406"/>
                    </a:lnTo>
                    <a:lnTo>
                      <a:pt x="851942" y="117216"/>
                    </a:lnTo>
                    <a:lnTo>
                      <a:pt x="901612" y="133047"/>
                    </a:lnTo>
                    <a:lnTo>
                      <a:pt x="899556" y="159545"/>
                    </a:lnTo>
                    <a:lnTo>
                      <a:pt x="930460" y="175457"/>
                    </a:lnTo>
                    <a:lnTo>
                      <a:pt x="924668" y="213112"/>
                    </a:lnTo>
                    <a:lnTo>
                      <a:pt x="941072" y="227546"/>
                    </a:lnTo>
                    <a:lnTo>
                      <a:pt x="991197" y="218125"/>
                    </a:lnTo>
                    <a:lnTo>
                      <a:pt x="1035804" y="256904"/>
                    </a:lnTo>
                    <a:lnTo>
                      <a:pt x="1024908" y="306536"/>
                    </a:lnTo>
                    <a:lnTo>
                      <a:pt x="1062115" y="300873"/>
                    </a:lnTo>
                    <a:lnTo>
                      <a:pt x="1058150" y="321175"/>
                    </a:lnTo>
                    <a:lnTo>
                      <a:pt x="1099684" y="338395"/>
                    </a:lnTo>
                    <a:lnTo>
                      <a:pt x="1174261" y="443856"/>
                    </a:lnTo>
                    <a:lnTo>
                      <a:pt x="1187465" y="570157"/>
                    </a:lnTo>
                    <a:lnTo>
                      <a:pt x="1151675" y="575019"/>
                    </a:lnTo>
                    <a:lnTo>
                      <a:pt x="1136199" y="606748"/>
                    </a:lnTo>
                    <a:lnTo>
                      <a:pt x="1047865" y="595158"/>
                    </a:lnTo>
                    <a:lnTo>
                      <a:pt x="986122" y="539143"/>
                    </a:lnTo>
                    <a:lnTo>
                      <a:pt x="951410" y="535752"/>
                    </a:lnTo>
                    <a:lnTo>
                      <a:pt x="927453" y="552620"/>
                    </a:lnTo>
                    <a:lnTo>
                      <a:pt x="873000" y="657502"/>
                    </a:lnTo>
                    <a:lnTo>
                      <a:pt x="898208" y="706742"/>
                    </a:lnTo>
                    <a:lnTo>
                      <a:pt x="891091" y="759331"/>
                    </a:lnTo>
                    <a:lnTo>
                      <a:pt x="914861" y="802766"/>
                    </a:lnTo>
                    <a:lnTo>
                      <a:pt x="910414" y="942098"/>
                    </a:lnTo>
                    <a:lnTo>
                      <a:pt x="944818" y="968327"/>
                    </a:lnTo>
                    <a:lnTo>
                      <a:pt x="1032276" y="945787"/>
                    </a:lnTo>
                    <a:lnTo>
                      <a:pt x="1060504" y="981458"/>
                    </a:lnTo>
                    <a:lnTo>
                      <a:pt x="1057935" y="1008523"/>
                    </a:lnTo>
                    <a:lnTo>
                      <a:pt x="986539" y="1113410"/>
                    </a:lnTo>
                    <a:lnTo>
                      <a:pt x="945047" y="1145147"/>
                    </a:lnTo>
                    <a:lnTo>
                      <a:pt x="937595" y="1190334"/>
                    </a:lnTo>
                    <a:lnTo>
                      <a:pt x="848169" y="1287904"/>
                    </a:lnTo>
                    <a:lnTo>
                      <a:pt x="790365" y="1304238"/>
                    </a:lnTo>
                    <a:lnTo>
                      <a:pt x="525068" y="1457058"/>
                    </a:lnTo>
                    <a:lnTo>
                      <a:pt x="487070" y="1370670"/>
                    </a:lnTo>
                    <a:lnTo>
                      <a:pt x="466088" y="1356677"/>
                    </a:lnTo>
                    <a:lnTo>
                      <a:pt x="443672" y="1369688"/>
                    </a:lnTo>
                    <a:lnTo>
                      <a:pt x="385372" y="1347981"/>
                    </a:lnTo>
                    <a:lnTo>
                      <a:pt x="361480" y="1382292"/>
                    </a:lnTo>
                    <a:lnTo>
                      <a:pt x="314087" y="1362547"/>
                    </a:lnTo>
                    <a:lnTo>
                      <a:pt x="321335" y="1301905"/>
                    </a:lnTo>
                    <a:lnTo>
                      <a:pt x="349390" y="1292919"/>
                    </a:lnTo>
                    <a:lnTo>
                      <a:pt x="326814" y="1257334"/>
                    </a:lnTo>
                    <a:lnTo>
                      <a:pt x="335982" y="1237405"/>
                    </a:lnTo>
                    <a:lnTo>
                      <a:pt x="290244" y="1181338"/>
                    </a:lnTo>
                    <a:lnTo>
                      <a:pt x="193552" y="1150722"/>
                    </a:lnTo>
                    <a:lnTo>
                      <a:pt x="170142" y="1158193"/>
                    </a:lnTo>
                    <a:lnTo>
                      <a:pt x="173924" y="1176536"/>
                    </a:lnTo>
                    <a:lnTo>
                      <a:pt x="153349" y="1189315"/>
                    </a:lnTo>
                    <a:lnTo>
                      <a:pt x="113642" y="1195332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6" name="Камчатский край">
                <a:extLst>
                  <a:ext uri="{FF2B5EF4-FFF2-40B4-BE49-F238E27FC236}">
                    <a16:creationId xmlns:a16="http://schemas.microsoft.com/office/drawing/2014/main" id="{A686E6E4-D733-467B-965E-184C85EEDC70}"/>
                  </a:ext>
                </a:extLst>
              </p:cNvPr>
              <p:cNvSpPr/>
              <p:nvPr/>
            </p:nvSpPr>
            <p:spPr>
              <a:xfrm>
                <a:off x="10333423" y="1552575"/>
                <a:ext cx="1553066" cy="2268333"/>
              </a:xfrm>
              <a:custGeom>
                <a:avLst/>
                <a:gdLst>
                  <a:gd name="connsiteX0" fmla="*/ 1420190 w 1553066"/>
                  <a:gd name="connsiteY0" fmla="*/ 1110105 h 2268333"/>
                  <a:gd name="connsiteX1" fmla="*/ 1408623 w 1553066"/>
                  <a:gd name="connsiteY1" fmla="*/ 1077595 h 2268333"/>
                  <a:gd name="connsiteX2" fmla="*/ 1434702 w 1553066"/>
                  <a:gd name="connsiteY2" fmla="*/ 1052579 h 2268333"/>
                  <a:gd name="connsiteX3" fmla="*/ 1521511 w 1553066"/>
                  <a:gd name="connsiteY3" fmla="*/ 1037321 h 2268333"/>
                  <a:gd name="connsiteX4" fmla="*/ 1552400 w 1553066"/>
                  <a:gd name="connsiteY4" fmla="*/ 1058986 h 2268333"/>
                  <a:gd name="connsiteX5" fmla="*/ 1532805 w 1553066"/>
                  <a:gd name="connsiteY5" fmla="*/ 1099584 h 2268333"/>
                  <a:gd name="connsiteX6" fmla="*/ 1452310 w 1553066"/>
                  <a:gd name="connsiteY6" fmla="*/ 1119646 h 2268333"/>
                  <a:gd name="connsiteX7" fmla="*/ 1420190 w 1553066"/>
                  <a:gd name="connsiteY7" fmla="*/ 1110105 h 2268333"/>
                  <a:gd name="connsiteX8" fmla="*/ 1282872 w 1553066"/>
                  <a:gd name="connsiteY8" fmla="*/ 1193945 h 2268333"/>
                  <a:gd name="connsiteX9" fmla="*/ 1273417 w 1553066"/>
                  <a:gd name="connsiteY9" fmla="*/ 1137044 h 2268333"/>
                  <a:gd name="connsiteX10" fmla="*/ 1315152 w 1553066"/>
                  <a:gd name="connsiteY10" fmla="*/ 1099433 h 2268333"/>
                  <a:gd name="connsiteX11" fmla="*/ 1414972 w 1553066"/>
                  <a:gd name="connsiteY11" fmla="*/ 1115727 h 2268333"/>
                  <a:gd name="connsiteX12" fmla="*/ 1456430 w 1553066"/>
                  <a:gd name="connsiteY12" fmla="*/ 1150879 h 2268333"/>
                  <a:gd name="connsiteX13" fmla="*/ 1451207 w 1553066"/>
                  <a:gd name="connsiteY13" fmla="*/ 1177381 h 2268333"/>
                  <a:gd name="connsiteX14" fmla="*/ 1424283 w 1553066"/>
                  <a:gd name="connsiteY14" fmla="*/ 1191672 h 2268333"/>
                  <a:gd name="connsiteX15" fmla="*/ 1313553 w 1553066"/>
                  <a:gd name="connsiteY15" fmla="*/ 1204767 h 2268333"/>
                  <a:gd name="connsiteX16" fmla="*/ 1282872 w 1553066"/>
                  <a:gd name="connsiteY16" fmla="*/ 1193945 h 2268333"/>
                  <a:gd name="connsiteX17" fmla="*/ 702962 w 1553066"/>
                  <a:gd name="connsiteY17" fmla="*/ 1883119 h 2268333"/>
                  <a:gd name="connsiteX18" fmla="*/ 623836 w 1553066"/>
                  <a:gd name="connsiteY18" fmla="*/ 1794162 h 2268333"/>
                  <a:gd name="connsiteX19" fmla="*/ 561262 w 1553066"/>
                  <a:gd name="connsiteY19" fmla="*/ 1690368 h 2268333"/>
                  <a:gd name="connsiteX20" fmla="*/ 555186 w 1553066"/>
                  <a:gd name="connsiteY20" fmla="*/ 1629398 h 2268333"/>
                  <a:gd name="connsiteX21" fmla="*/ 525821 w 1553066"/>
                  <a:gd name="connsiteY21" fmla="*/ 1589450 h 2268333"/>
                  <a:gd name="connsiteX22" fmla="*/ 535454 w 1553066"/>
                  <a:gd name="connsiteY22" fmla="*/ 1550411 h 2268333"/>
                  <a:gd name="connsiteX23" fmla="*/ 499465 w 1553066"/>
                  <a:gd name="connsiteY23" fmla="*/ 1541552 h 2268333"/>
                  <a:gd name="connsiteX24" fmla="*/ 483665 w 1553066"/>
                  <a:gd name="connsiteY24" fmla="*/ 1511666 h 2268333"/>
                  <a:gd name="connsiteX25" fmla="*/ 506368 w 1553066"/>
                  <a:gd name="connsiteY25" fmla="*/ 1420263 h 2268333"/>
                  <a:gd name="connsiteX26" fmla="*/ 533943 w 1553066"/>
                  <a:gd name="connsiteY26" fmla="*/ 1385922 h 2268333"/>
                  <a:gd name="connsiteX27" fmla="*/ 533943 w 1553066"/>
                  <a:gd name="connsiteY27" fmla="*/ 1308481 h 2268333"/>
                  <a:gd name="connsiteX28" fmla="*/ 476906 w 1553066"/>
                  <a:gd name="connsiteY28" fmla="*/ 1107314 h 2268333"/>
                  <a:gd name="connsiteX29" fmla="*/ 474419 w 1553066"/>
                  <a:gd name="connsiteY29" fmla="*/ 1016136 h 2268333"/>
                  <a:gd name="connsiteX30" fmla="*/ 470047 w 1553066"/>
                  <a:gd name="connsiteY30" fmla="*/ 1002710 h 2268333"/>
                  <a:gd name="connsiteX31" fmla="*/ 438642 w 1553066"/>
                  <a:gd name="connsiteY31" fmla="*/ 1007442 h 2268333"/>
                  <a:gd name="connsiteX32" fmla="*/ 425438 w 1553066"/>
                  <a:gd name="connsiteY32" fmla="*/ 881140 h 2268333"/>
                  <a:gd name="connsiteX33" fmla="*/ 350776 w 1553066"/>
                  <a:gd name="connsiteY33" fmla="*/ 775564 h 2268333"/>
                  <a:gd name="connsiteX34" fmla="*/ 309326 w 1553066"/>
                  <a:gd name="connsiteY34" fmla="*/ 758460 h 2268333"/>
                  <a:gd name="connsiteX35" fmla="*/ 313292 w 1553066"/>
                  <a:gd name="connsiteY35" fmla="*/ 738158 h 2268333"/>
                  <a:gd name="connsiteX36" fmla="*/ 276084 w 1553066"/>
                  <a:gd name="connsiteY36" fmla="*/ 743821 h 2268333"/>
                  <a:gd name="connsiteX37" fmla="*/ 286981 w 1553066"/>
                  <a:gd name="connsiteY37" fmla="*/ 694189 h 2268333"/>
                  <a:gd name="connsiteX38" fmla="*/ 242373 w 1553066"/>
                  <a:gd name="connsiteY38" fmla="*/ 655410 h 2268333"/>
                  <a:gd name="connsiteX39" fmla="*/ 192248 w 1553066"/>
                  <a:gd name="connsiteY39" fmla="*/ 664830 h 2268333"/>
                  <a:gd name="connsiteX40" fmla="*/ 175845 w 1553066"/>
                  <a:gd name="connsiteY40" fmla="*/ 650397 h 2268333"/>
                  <a:gd name="connsiteX41" fmla="*/ 181636 w 1553066"/>
                  <a:gd name="connsiteY41" fmla="*/ 612742 h 2268333"/>
                  <a:gd name="connsiteX42" fmla="*/ 150733 w 1553066"/>
                  <a:gd name="connsiteY42" fmla="*/ 596830 h 2268333"/>
                  <a:gd name="connsiteX43" fmla="*/ 152788 w 1553066"/>
                  <a:gd name="connsiteY43" fmla="*/ 570331 h 2268333"/>
                  <a:gd name="connsiteX44" fmla="*/ 103119 w 1553066"/>
                  <a:gd name="connsiteY44" fmla="*/ 554501 h 2268333"/>
                  <a:gd name="connsiteX45" fmla="*/ 103919 w 1553066"/>
                  <a:gd name="connsiteY45" fmla="*/ 533691 h 2268333"/>
                  <a:gd name="connsiteX46" fmla="*/ 66627 w 1553066"/>
                  <a:gd name="connsiteY46" fmla="*/ 516104 h 2268333"/>
                  <a:gd name="connsiteX47" fmla="*/ 79103 w 1553066"/>
                  <a:gd name="connsiteY47" fmla="*/ 493442 h 2268333"/>
                  <a:gd name="connsiteX48" fmla="*/ 67870 w 1553066"/>
                  <a:gd name="connsiteY48" fmla="*/ 457093 h 2268333"/>
                  <a:gd name="connsiteX49" fmla="*/ -666 w 1553066"/>
                  <a:gd name="connsiteY49" fmla="*/ 435032 h 2268333"/>
                  <a:gd name="connsiteX50" fmla="*/ -350 w 1553066"/>
                  <a:gd name="connsiteY50" fmla="*/ 401946 h 2268333"/>
                  <a:gd name="connsiteX51" fmla="*/ 24730 w 1553066"/>
                  <a:gd name="connsiteY51" fmla="*/ 388193 h 2268333"/>
                  <a:gd name="connsiteX52" fmla="*/ 26811 w 1553066"/>
                  <a:gd name="connsiteY52" fmla="*/ 362827 h 2268333"/>
                  <a:gd name="connsiteX53" fmla="*/ 87518 w 1553066"/>
                  <a:gd name="connsiteY53" fmla="*/ 350831 h 2268333"/>
                  <a:gd name="connsiteX54" fmla="*/ 77214 w 1553066"/>
                  <a:gd name="connsiteY54" fmla="*/ 319551 h 2268333"/>
                  <a:gd name="connsiteX55" fmla="*/ 108504 w 1553066"/>
                  <a:gd name="connsiteY55" fmla="*/ 302001 h 2268333"/>
                  <a:gd name="connsiteX56" fmla="*/ 140936 w 1553066"/>
                  <a:gd name="connsiteY56" fmla="*/ 311516 h 2268333"/>
                  <a:gd name="connsiteX57" fmla="*/ 145116 w 1553066"/>
                  <a:gd name="connsiteY57" fmla="*/ 286518 h 2268333"/>
                  <a:gd name="connsiteX58" fmla="*/ 181686 w 1553066"/>
                  <a:gd name="connsiteY58" fmla="*/ 262529 h 2268333"/>
                  <a:gd name="connsiteX59" fmla="*/ 185720 w 1553066"/>
                  <a:gd name="connsiteY59" fmla="*/ 228585 h 2268333"/>
                  <a:gd name="connsiteX60" fmla="*/ 242358 w 1553066"/>
                  <a:gd name="connsiteY60" fmla="*/ 230203 h 2268333"/>
                  <a:gd name="connsiteX61" fmla="*/ 276551 w 1553066"/>
                  <a:gd name="connsiteY61" fmla="*/ 184057 h 2268333"/>
                  <a:gd name="connsiteX62" fmla="*/ 331307 w 1553066"/>
                  <a:gd name="connsiteY62" fmla="*/ 191820 h 2268333"/>
                  <a:gd name="connsiteX63" fmla="*/ 356562 w 1553066"/>
                  <a:gd name="connsiteY63" fmla="*/ 166205 h 2268333"/>
                  <a:gd name="connsiteX64" fmla="*/ 403499 w 1553066"/>
                  <a:gd name="connsiteY64" fmla="*/ 175749 h 2268333"/>
                  <a:gd name="connsiteX65" fmla="*/ 431999 w 1553066"/>
                  <a:gd name="connsiteY65" fmla="*/ 293893 h 2268333"/>
                  <a:gd name="connsiteX66" fmla="*/ 549227 w 1553066"/>
                  <a:gd name="connsiteY66" fmla="*/ 234163 h 2268333"/>
                  <a:gd name="connsiteX67" fmla="*/ 606300 w 1553066"/>
                  <a:gd name="connsiteY67" fmla="*/ 255534 h 2268333"/>
                  <a:gd name="connsiteX68" fmla="*/ 633844 w 1553066"/>
                  <a:gd name="connsiteY68" fmla="*/ 221502 h 2268333"/>
                  <a:gd name="connsiteX69" fmla="*/ 631242 w 1553066"/>
                  <a:gd name="connsiteY69" fmla="*/ 183700 h 2268333"/>
                  <a:gd name="connsiteX70" fmla="*/ 652826 w 1553066"/>
                  <a:gd name="connsiteY70" fmla="*/ 177949 h 2268333"/>
                  <a:gd name="connsiteX71" fmla="*/ 652619 w 1553066"/>
                  <a:gd name="connsiteY71" fmla="*/ 126993 h 2268333"/>
                  <a:gd name="connsiteX72" fmla="*/ 697039 w 1553066"/>
                  <a:gd name="connsiteY72" fmla="*/ 88051 h 2268333"/>
                  <a:gd name="connsiteX73" fmla="*/ 699861 w 1553066"/>
                  <a:gd name="connsiteY73" fmla="*/ 21205 h 2268333"/>
                  <a:gd name="connsiteX74" fmla="*/ 729726 w 1553066"/>
                  <a:gd name="connsiteY74" fmla="*/ -157 h 2268333"/>
                  <a:gd name="connsiteX75" fmla="*/ 747600 w 1553066"/>
                  <a:gd name="connsiteY75" fmla="*/ 20938 h 2268333"/>
                  <a:gd name="connsiteX76" fmla="*/ 806761 w 1553066"/>
                  <a:gd name="connsiteY76" fmla="*/ 12955 h 2268333"/>
                  <a:gd name="connsiteX77" fmla="*/ 857247 w 1553066"/>
                  <a:gd name="connsiteY77" fmla="*/ 39997 h 2268333"/>
                  <a:gd name="connsiteX78" fmla="*/ 860105 w 1553066"/>
                  <a:gd name="connsiteY78" fmla="*/ 106290 h 2268333"/>
                  <a:gd name="connsiteX79" fmla="*/ 900618 w 1553066"/>
                  <a:gd name="connsiteY79" fmla="*/ 252331 h 2268333"/>
                  <a:gd name="connsiteX80" fmla="*/ 903004 w 1553066"/>
                  <a:gd name="connsiteY80" fmla="*/ 363996 h 2268333"/>
                  <a:gd name="connsiteX81" fmla="*/ 950828 w 1553066"/>
                  <a:gd name="connsiteY81" fmla="*/ 439796 h 2268333"/>
                  <a:gd name="connsiteX82" fmla="*/ 932837 w 1553066"/>
                  <a:gd name="connsiteY82" fmla="*/ 477957 h 2268333"/>
                  <a:gd name="connsiteX83" fmla="*/ 820152 w 1553066"/>
                  <a:gd name="connsiteY83" fmla="*/ 486502 h 2268333"/>
                  <a:gd name="connsiteX84" fmla="*/ 774673 w 1553066"/>
                  <a:gd name="connsiteY84" fmla="*/ 537901 h 2268333"/>
                  <a:gd name="connsiteX85" fmla="*/ 761307 w 1553066"/>
                  <a:gd name="connsiteY85" fmla="*/ 626760 h 2268333"/>
                  <a:gd name="connsiteX86" fmla="*/ 788571 w 1553066"/>
                  <a:gd name="connsiteY86" fmla="*/ 719464 h 2268333"/>
                  <a:gd name="connsiteX87" fmla="*/ 761680 w 1553066"/>
                  <a:gd name="connsiteY87" fmla="*/ 760379 h 2268333"/>
                  <a:gd name="connsiteX88" fmla="*/ 766503 w 1553066"/>
                  <a:gd name="connsiteY88" fmla="*/ 852214 h 2268333"/>
                  <a:gd name="connsiteX89" fmla="*/ 823320 w 1553066"/>
                  <a:gd name="connsiteY89" fmla="*/ 890782 h 2268333"/>
                  <a:gd name="connsiteX90" fmla="*/ 815138 w 1553066"/>
                  <a:gd name="connsiteY90" fmla="*/ 992564 h 2268333"/>
                  <a:gd name="connsiteX91" fmla="*/ 899923 w 1553066"/>
                  <a:gd name="connsiteY91" fmla="*/ 1090049 h 2268333"/>
                  <a:gd name="connsiteX92" fmla="*/ 926422 w 1553066"/>
                  <a:gd name="connsiteY92" fmla="*/ 1166841 h 2268333"/>
                  <a:gd name="connsiteX93" fmla="*/ 1009215 w 1553066"/>
                  <a:gd name="connsiteY93" fmla="*/ 1179007 h 2268333"/>
                  <a:gd name="connsiteX94" fmla="*/ 1090597 w 1553066"/>
                  <a:gd name="connsiteY94" fmla="*/ 1235718 h 2268333"/>
                  <a:gd name="connsiteX95" fmla="*/ 1097452 w 1553066"/>
                  <a:gd name="connsiteY95" fmla="*/ 1302478 h 2268333"/>
                  <a:gd name="connsiteX96" fmla="*/ 1041523 w 1553066"/>
                  <a:gd name="connsiteY96" fmla="*/ 1335912 h 2268333"/>
                  <a:gd name="connsiteX97" fmla="*/ 1070767 w 1553066"/>
                  <a:gd name="connsiteY97" fmla="*/ 1395178 h 2268333"/>
                  <a:gd name="connsiteX98" fmla="*/ 1111921 w 1553066"/>
                  <a:gd name="connsiteY98" fmla="*/ 1427126 h 2268333"/>
                  <a:gd name="connsiteX99" fmla="*/ 1174215 w 1553066"/>
                  <a:gd name="connsiteY99" fmla="*/ 1436689 h 2268333"/>
                  <a:gd name="connsiteX100" fmla="*/ 1199229 w 1553066"/>
                  <a:gd name="connsiteY100" fmla="*/ 1462470 h 2268333"/>
                  <a:gd name="connsiteX101" fmla="*/ 1207316 w 1553066"/>
                  <a:gd name="connsiteY101" fmla="*/ 1538105 h 2268333"/>
                  <a:gd name="connsiteX102" fmla="*/ 1148042 w 1553066"/>
                  <a:gd name="connsiteY102" fmla="*/ 1601041 h 2268333"/>
                  <a:gd name="connsiteX103" fmla="*/ 1150346 w 1553066"/>
                  <a:gd name="connsiteY103" fmla="*/ 1661239 h 2268333"/>
                  <a:gd name="connsiteX104" fmla="*/ 1168063 w 1553066"/>
                  <a:gd name="connsiteY104" fmla="*/ 1702469 h 2268333"/>
                  <a:gd name="connsiteX105" fmla="*/ 1274419 w 1553066"/>
                  <a:gd name="connsiteY105" fmla="*/ 1779103 h 2268333"/>
                  <a:gd name="connsiteX106" fmla="*/ 1271398 w 1553066"/>
                  <a:gd name="connsiteY106" fmla="*/ 1804213 h 2268333"/>
                  <a:gd name="connsiteX107" fmla="*/ 1240601 w 1553066"/>
                  <a:gd name="connsiteY107" fmla="*/ 1823259 h 2268333"/>
                  <a:gd name="connsiteX108" fmla="*/ 1214822 w 1553066"/>
                  <a:gd name="connsiteY108" fmla="*/ 1877023 h 2268333"/>
                  <a:gd name="connsiteX109" fmla="*/ 1296609 w 1553066"/>
                  <a:gd name="connsiteY109" fmla="*/ 2022709 h 2268333"/>
                  <a:gd name="connsiteX110" fmla="*/ 1312037 w 1553066"/>
                  <a:gd name="connsiteY110" fmla="*/ 2087761 h 2268333"/>
                  <a:gd name="connsiteX111" fmla="*/ 1316516 w 1553066"/>
                  <a:gd name="connsiteY111" fmla="*/ 2268177 h 2268333"/>
                  <a:gd name="connsiteX112" fmla="*/ 1212363 w 1553066"/>
                  <a:gd name="connsiteY112" fmla="*/ 2249871 h 2268333"/>
                  <a:gd name="connsiteX113" fmla="*/ 1111396 w 1553066"/>
                  <a:gd name="connsiteY113" fmla="*/ 2163799 h 2268333"/>
                  <a:gd name="connsiteX114" fmla="*/ 1007243 w 1553066"/>
                  <a:gd name="connsiteY114" fmla="*/ 2106276 h 2268333"/>
                  <a:gd name="connsiteX115" fmla="*/ 702935 w 1553066"/>
                  <a:gd name="connsiteY115" fmla="*/ 1883119 h 2268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1553066" h="2268333">
                    <a:moveTo>
                      <a:pt x="1420190" y="1110105"/>
                    </a:moveTo>
                    <a:lnTo>
                      <a:pt x="1408623" y="1077595"/>
                    </a:lnTo>
                    <a:lnTo>
                      <a:pt x="1434702" y="1052579"/>
                    </a:lnTo>
                    <a:lnTo>
                      <a:pt x="1521511" y="1037321"/>
                    </a:lnTo>
                    <a:lnTo>
                      <a:pt x="1552400" y="1058986"/>
                    </a:lnTo>
                    <a:lnTo>
                      <a:pt x="1532805" y="1099584"/>
                    </a:lnTo>
                    <a:lnTo>
                      <a:pt x="1452310" y="1119646"/>
                    </a:lnTo>
                    <a:lnTo>
                      <a:pt x="1420190" y="1110105"/>
                    </a:lnTo>
                    <a:moveTo>
                      <a:pt x="1282872" y="1193945"/>
                    </a:moveTo>
                    <a:lnTo>
                      <a:pt x="1273417" y="1137044"/>
                    </a:lnTo>
                    <a:lnTo>
                      <a:pt x="1315152" y="1099433"/>
                    </a:lnTo>
                    <a:lnTo>
                      <a:pt x="1414972" y="1115727"/>
                    </a:lnTo>
                    <a:lnTo>
                      <a:pt x="1456430" y="1150879"/>
                    </a:lnTo>
                    <a:lnTo>
                      <a:pt x="1451207" y="1177381"/>
                    </a:lnTo>
                    <a:lnTo>
                      <a:pt x="1424283" y="1191672"/>
                    </a:lnTo>
                    <a:lnTo>
                      <a:pt x="1313553" y="1204767"/>
                    </a:lnTo>
                    <a:lnTo>
                      <a:pt x="1282872" y="1193945"/>
                    </a:lnTo>
                    <a:moveTo>
                      <a:pt x="702962" y="1883119"/>
                    </a:moveTo>
                    <a:lnTo>
                      <a:pt x="623836" y="1794162"/>
                    </a:lnTo>
                    <a:lnTo>
                      <a:pt x="561262" y="1690368"/>
                    </a:lnTo>
                    <a:lnTo>
                      <a:pt x="555186" y="1629398"/>
                    </a:lnTo>
                    <a:lnTo>
                      <a:pt x="525821" y="1589450"/>
                    </a:lnTo>
                    <a:lnTo>
                      <a:pt x="535454" y="1550411"/>
                    </a:lnTo>
                    <a:lnTo>
                      <a:pt x="499465" y="1541552"/>
                    </a:lnTo>
                    <a:lnTo>
                      <a:pt x="483665" y="1511666"/>
                    </a:lnTo>
                    <a:lnTo>
                      <a:pt x="506368" y="1420263"/>
                    </a:lnTo>
                    <a:lnTo>
                      <a:pt x="533943" y="1385922"/>
                    </a:lnTo>
                    <a:lnTo>
                      <a:pt x="533943" y="1308481"/>
                    </a:lnTo>
                    <a:lnTo>
                      <a:pt x="476906" y="1107314"/>
                    </a:lnTo>
                    <a:lnTo>
                      <a:pt x="474419" y="1016136"/>
                    </a:lnTo>
                    <a:lnTo>
                      <a:pt x="470047" y="1002710"/>
                    </a:lnTo>
                    <a:lnTo>
                      <a:pt x="438642" y="1007442"/>
                    </a:lnTo>
                    <a:lnTo>
                      <a:pt x="425438" y="881140"/>
                    </a:lnTo>
                    <a:lnTo>
                      <a:pt x="350776" y="775564"/>
                    </a:lnTo>
                    <a:lnTo>
                      <a:pt x="309326" y="758460"/>
                    </a:lnTo>
                    <a:lnTo>
                      <a:pt x="313292" y="738158"/>
                    </a:lnTo>
                    <a:lnTo>
                      <a:pt x="276084" y="743821"/>
                    </a:lnTo>
                    <a:lnTo>
                      <a:pt x="286981" y="694189"/>
                    </a:lnTo>
                    <a:lnTo>
                      <a:pt x="242373" y="655410"/>
                    </a:lnTo>
                    <a:lnTo>
                      <a:pt x="192248" y="664830"/>
                    </a:lnTo>
                    <a:lnTo>
                      <a:pt x="175845" y="650397"/>
                    </a:lnTo>
                    <a:lnTo>
                      <a:pt x="181636" y="612742"/>
                    </a:lnTo>
                    <a:lnTo>
                      <a:pt x="150733" y="596830"/>
                    </a:lnTo>
                    <a:lnTo>
                      <a:pt x="152788" y="570331"/>
                    </a:lnTo>
                    <a:lnTo>
                      <a:pt x="103119" y="554501"/>
                    </a:lnTo>
                    <a:lnTo>
                      <a:pt x="103919" y="533691"/>
                    </a:lnTo>
                    <a:lnTo>
                      <a:pt x="66627" y="516104"/>
                    </a:lnTo>
                    <a:lnTo>
                      <a:pt x="79103" y="493442"/>
                    </a:lnTo>
                    <a:lnTo>
                      <a:pt x="67870" y="457093"/>
                    </a:lnTo>
                    <a:lnTo>
                      <a:pt x="-666" y="435032"/>
                    </a:lnTo>
                    <a:lnTo>
                      <a:pt x="-350" y="401946"/>
                    </a:lnTo>
                    <a:lnTo>
                      <a:pt x="24730" y="388193"/>
                    </a:lnTo>
                    <a:lnTo>
                      <a:pt x="26811" y="362827"/>
                    </a:lnTo>
                    <a:lnTo>
                      <a:pt x="87518" y="350831"/>
                    </a:lnTo>
                    <a:lnTo>
                      <a:pt x="77214" y="319551"/>
                    </a:lnTo>
                    <a:lnTo>
                      <a:pt x="108504" y="302001"/>
                    </a:lnTo>
                    <a:lnTo>
                      <a:pt x="140936" y="311516"/>
                    </a:lnTo>
                    <a:lnTo>
                      <a:pt x="145116" y="286518"/>
                    </a:lnTo>
                    <a:lnTo>
                      <a:pt x="181686" y="262529"/>
                    </a:lnTo>
                    <a:lnTo>
                      <a:pt x="185720" y="228585"/>
                    </a:lnTo>
                    <a:lnTo>
                      <a:pt x="242358" y="230203"/>
                    </a:lnTo>
                    <a:lnTo>
                      <a:pt x="276551" y="184057"/>
                    </a:lnTo>
                    <a:lnTo>
                      <a:pt x="331307" y="191820"/>
                    </a:lnTo>
                    <a:lnTo>
                      <a:pt x="356562" y="166205"/>
                    </a:lnTo>
                    <a:lnTo>
                      <a:pt x="403499" y="175749"/>
                    </a:lnTo>
                    <a:lnTo>
                      <a:pt x="431999" y="293893"/>
                    </a:lnTo>
                    <a:lnTo>
                      <a:pt x="549227" y="234163"/>
                    </a:lnTo>
                    <a:lnTo>
                      <a:pt x="606300" y="255534"/>
                    </a:lnTo>
                    <a:lnTo>
                      <a:pt x="633844" y="221502"/>
                    </a:lnTo>
                    <a:lnTo>
                      <a:pt x="631242" y="183700"/>
                    </a:lnTo>
                    <a:lnTo>
                      <a:pt x="652826" y="177949"/>
                    </a:lnTo>
                    <a:lnTo>
                      <a:pt x="652619" y="126993"/>
                    </a:lnTo>
                    <a:lnTo>
                      <a:pt x="697039" y="88051"/>
                    </a:lnTo>
                    <a:lnTo>
                      <a:pt x="699861" y="21205"/>
                    </a:lnTo>
                    <a:lnTo>
                      <a:pt x="729726" y="-157"/>
                    </a:lnTo>
                    <a:lnTo>
                      <a:pt x="747600" y="20938"/>
                    </a:lnTo>
                    <a:lnTo>
                      <a:pt x="806761" y="12955"/>
                    </a:lnTo>
                    <a:lnTo>
                      <a:pt x="857247" y="39997"/>
                    </a:lnTo>
                    <a:lnTo>
                      <a:pt x="860105" y="106290"/>
                    </a:lnTo>
                    <a:lnTo>
                      <a:pt x="900618" y="252331"/>
                    </a:lnTo>
                    <a:lnTo>
                      <a:pt x="903004" y="363996"/>
                    </a:lnTo>
                    <a:lnTo>
                      <a:pt x="950828" y="439796"/>
                    </a:lnTo>
                    <a:lnTo>
                      <a:pt x="932837" y="477957"/>
                    </a:lnTo>
                    <a:lnTo>
                      <a:pt x="820152" y="486502"/>
                    </a:lnTo>
                    <a:lnTo>
                      <a:pt x="774673" y="537901"/>
                    </a:lnTo>
                    <a:lnTo>
                      <a:pt x="761307" y="626760"/>
                    </a:lnTo>
                    <a:lnTo>
                      <a:pt x="788571" y="719464"/>
                    </a:lnTo>
                    <a:lnTo>
                      <a:pt x="761680" y="760379"/>
                    </a:lnTo>
                    <a:lnTo>
                      <a:pt x="766503" y="852214"/>
                    </a:lnTo>
                    <a:lnTo>
                      <a:pt x="823320" y="890782"/>
                    </a:lnTo>
                    <a:lnTo>
                      <a:pt x="815138" y="992564"/>
                    </a:lnTo>
                    <a:lnTo>
                      <a:pt x="899923" y="1090049"/>
                    </a:lnTo>
                    <a:lnTo>
                      <a:pt x="926422" y="1166841"/>
                    </a:lnTo>
                    <a:lnTo>
                      <a:pt x="1009215" y="1179007"/>
                    </a:lnTo>
                    <a:lnTo>
                      <a:pt x="1090597" y="1235718"/>
                    </a:lnTo>
                    <a:lnTo>
                      <a:pt x="1097452" y="1302478"/>
                    </a:lnTo>
                    <a:lnTo>
                      <a:pt x="1041523" y="1335912"/>
                    </a:lnTo>
                    <a:lnTo>
                      <a:pt x="1070767" y="1395178"/>
                    </a:lnTo>
                    <a:lnTo>
                      <a:pt x="1111921" y="1427126"/>
                    </a:lnTo>
                    <a:lnTo>
                      <a:pt x="1174215" y="1436689"/>
                    </a:lnTo>
                    <a:lnTo>
                      <a:pt x="1199229" y="1462470"/>
                    </a:lnTo>
                    <a:lnTo>
                      <a:pt x="1207316" y="1538105"/>
                    </a:lnTo>
                    <a:lnTo>
                      <a:pt x="1148042" y="1601041"/>
                    </a:lnTo>
                    <a:lnTo>
                      <a:pt x="1150346" y="1661239"/>
                    </a:lnTo>
                    <a:lnTo>
                      <a:pt x="1168063" y="1702469"/>
                    </a:lnTo>
                    <a:lnTo>
                      <a:pt x="1274419" y="1779103"/>
                    </a:lnTo>
                    <a:lnTo>
                      <a:pt x="1271398" y="1804213"/>
                    </a:lnTo>
                    <a:lnTo>
                      <a:pt x="1240601" y="1823259"/>
                    </a:lnTo>
                    <a:lnTo>
                      <a:pt x="1214822" y="1877023"/>
                    </a:lnTo>
                    <a:lnTo>
                      <a:pt x="1296609" y="2022709"/>
                    </a:lnTo>
                    <a:lnTo>
                      <a:pt x="1312037" y="2087761"/>
                    </a:lnTo>
                    <a:lnTo>
                      <a:pt x="1316516" y="2268177"/>
                    </a:lnTo>
                    <a:lnTo>
                      <a:pt x="1212363" y="2249871"/>
                    </a:lnTo>
                    <a:lnTo>
                      <a:pt x="1111396" y="2163799"/>
                    </a:lnTo>
                    <a:lnTo>
                      <a:pt x="1007243" y="2106276"/>
                    </a:lnTo>
                    <a:lnTo>
                      <a:pt x="702935" y="1883119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764" name="Южный федеральный округ">
              <a:extLst>
                <a:ext uri="{FF2B5EF4-FFF2-40B4-BE49-F238E27FC236}">
                  <a16:creationId xmlns:a16="http://schemas.microsoft.com/office/drawing/2014/main" id="{2088FD3A-10F1-4A0A-9159-1474A634976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02609" y="3441768"/>
              <a:ext cx="1690810" cy="1379935"/>
              <a:chOff x="202609" y="3441768"/>
              <a:chExt cx="1690810" cy="1379935"/>
            </a:xfrm>
          </p:grpSpPr>
          <p:sp>
            <p:nvSpPr>
              <p:cNvPr id="52" name="Севастополь">
                <a:extLst>
                  <a:ext uri="{FF2B5EF4-FFF2-40B4-BE49-F238E27FC236}">
                    <a16:creationId xmlns:a16="http://schemas.microsoft.com/office/drawing/2014/main" id="{62F5EDBA-B668-4EA0-A05D-64E0BD430DF3}"/>
                  </a:ext>
                </a:extLst>
              </p:cNvPr>
              <p:cNvSpPr/>
              <p:nvPr/>
            </p:nvSpPr>
            <p:spPr>
              <a:xfrm>
                <a:off x="202609" y="3588738"/>
                <a:ext cx="82201" cy="104636"/>
              </a:xfrm>
              <a:custGeom>
                <a:avLst/>
                <a:gdLst>
                  <a:gd name="connsiteX0" fmla="*/ 16456 w 82201"/>
                  <a:gd name="connsiteY0" fmla="*/ 14163 h 104636"/>
                  <a:gd name="connsiteX1" fmla="*/ 76088 w 82201"/>
                  <a:gd name="connsiteY1" fmla="*/ -157 h 104636"/>
                  <a:gd name="connsiteX2" fmla="*/ 81536 w 82201"/>
                  <a:gd name="connsiteY2" fmla="*/ 47290 h 104636"/>
                  <a:gd name="connsiteX3" fmla="*/ 67957 w 82201"/>
                  <a:gd name="connsiteY3" fmla="*/ 49722 h 104636"/>
                  <a:gd name="connsiteX4" fmla="*/ 76246 w 82201"/>
                  <a:gd name="connsiteY4" fmla="*/ 64057 h 104636"/>
                  <a:gd name="connsiteX5" fmla="*/ 51451 w 82201"/>
                  <a:gd name="connsiteY5" fmla="*/ 104397 h 104636"/>
                  <a:gd name="connsiteX6" fmla="*/ 36733 w 82201"/>
                  <a:gd name="connsiteY6" fmla="*/ 92368 h 104636"/>
                  <a:gd name="connsiteX7" fmla="*/ 7328 w 82201"/>
                  <a:gd name="connsiteY7" fmla="*/ 104480 h 104636"/>
                  <a:gd name="connsiteX8" fmla="*/ -666 w 82201"/>
                  <a:gd name="connsiteY8" fmla="*/ 52356 h 104636"/>
                  <a:gd name="connsiteX9" fmla="*/ 16456 w 82201"/>
                  <a:gd name="connsiteY9" fmla="*/ 14163 h 104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2201" h="104636">
                    <a:moveTo>
                      <a:pt x="16456" y="14163"/>
                    </a:moveTo>
                    <a:lnTo>
                      <a:pt x="76088" y="-157"/>
                    </a:lnTo>
                    <a:lnTo>
                      <a:pt x="81536" y="47290"/>
                    </a:lnTo>
                    <a:lnTo>
                      <a:pt x="67957" y="49722"/>
                    </a:lnTo>
                    <a:lnTo>
                      <a:pt x="76246" y="64057"/>
                    </a:lnTo>
                    <a:lnTo>
                      <a:pt x="51451" y="104397"/>
                    </a:lnTo>
                    <a:lnTo>
                      <a:pt x="36733" y="92368"/>
                    </a:lnTo>
                    <a:lnTo>
                      <a:pt x="7328" y="104480"/>
                    </a:lnTo>
                    <a:lnTo>
                      <a:pt x="-666" y="52356"/>
                    </a:lnTo>
                    <a:lnTo>
                      <a:pt x="16456" y="14163"/>
                    </a:lnTo>
                  </a:path>
                </a:pathLst>
              </a:custGeom>
              <a:solidFill>
                <a:srgbClr val="F7DE6E"/>
              </a:solidFill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" name="Республика крым">
                <a:extLst>
                  <a:ext uri="{FF2B5EF4-FFF2-40B4-BE49-F238E27FC236}">
                    <a16:creationId xmlns:a16="http://schemas.microsoft.com/office/drawing/2014/main" id="{938C1780-1FBD-4987-8770-0AFC1E6615E2}"/>
                  </a:ext>
                </a:extLst>
              </p:cNvPr>
              <p:cNvSpPr/>
              <p:nvPr/>
            </p:nvSpPr>
            <p:spPr>
              <a:xfrm>
                <a:off x="212540" y="3441768"/>
                <a:ext cx="371119" cy="442772"/>
              </a:xfrm>
              <a:custGeom>
                <a:avLst/>
                <a:gdLst>
                  <a:gd name="connsiteX0" fmla="*/ 54883 w 371119"/>
                  <a:gd name="connsiteY0" fmla="*/ 6632 h 442772"/>
                  <a:gd name="connsiteX1" fmla="*/ 88073 w 371119"/>
                  <a:gd name="connsiteY1" fmla="*/ -157 h 442772"/>
                  <a:gd name="connsiteX2" fmla="*/ 145714 w 371119"/>
                  <a:gd name="connsiteY2" fmla="*/ 20022 h 442772"/>
                  <a:gd name="connsiteX3" fmla="*/ 217802 w 371119"/>
                  <a:gd name="connsiteY3" fmla="*/ 71796 h 442772"/>
                  <a:gd name="connsiteX4" fmla="*/ 252097 w 371119"/>
                  <a:gd name="connsiteY4" fmla="*/ 61288 h 442772"/>
                  <a:gd name="connsiteX5" fmla="*/ 269185 w 371119"/>
                  <a:gd name="connsiteY5" fmla="*/ 160325 h 442772"/>
                  <a:gd name="connsiteX6" fmla="*/ 284449 w 371119"/>
                  <a:gd name="connsiteY6" fmla="*/ 170062 h 442772"/>
                  <a:gd name="connsiteX7" fmla="*/ 277338 w 371119"/>
                  <a:gd name="connsiteY7" fmla="*/ 220512 h 442772"/>
                  <a:gd name="connsiteX8" fmla="*/ 299727 w 371119"/>
                  <a:gd name="connsiteY8" fmla="*/ 241202 h 442772"/>
                  <a:gd name="connsiteX9" fmla="*/ 284840 w 371119"/>
                  <a:gd name="connsiteY9" fmla="*/ 299543 h 442772"/>
                  <a:gd name="connsiteX10" fmla="*/ 319333 w 371119"/>
                  <a:gd name="connsiteY10" fmla="*/ 304694 h 442772"/>
                  <a:gd name="connsiteX11" fmla="*/ 370453 w 371119"/>
                  <a:gd name="connsiteY11" fmla="*/ 381019 h 442772"/>
                  <a:gd name="connsiteX12" fmla="*/ 313614 w 371119"/>
                  <a:gd name="connsiteY12" fmla="*/ 410818 h 442772"/>
                  <a:gd name="connsiteX13" fmla="*/ 287343 w 371119"/>
                  <a:gd name="connsiteY13" fmla="*/ 442616 h 442772"/>
                  <a:gd name="connsiteX14" fmla="*/ 248444 w 371119"/>
                  <a:gd name="connsiteY14" fmla="*/ 422898 h 442772"/>
                  <a:gd name="connsiteX15" fmla="*/ 209323 w 371119"/>
                  <a:gd name="connsiteY15" fmla="*/ 365126 h 442772"/>
                  <a:gd name="connsiteX16" fmla="*/ 147298 w 371119"/>
                  <a:gd name="connsiteY16" fmla="*/ 348251 h 442772"/>
                  <a:gd name="connsiteX17" fmla="*/ 116053 w 371119"/>
                  <a:gd name="connsiteY17" fmla="*/ 309727 h 442772"/>
                  <a:gd name="connsiteX18" fmla="*/ 38516 w 371119"/>
                  <a:gd name="connsiteY18" fmla="*/ 297177 h 442772"/>
                  <a:gd name="connsiteX19" fmla="*/ -666 w 371119"/>
                  <a:gd name="connsiteY19" fmla="*/ 255513 h 442772"/>
                  <a:gd name="connsiteX20" fmla="*/ 26802 w 371119"/>
                  <a:gd name="connsiteY20" fmla="*/ 239338 h 442772"/>
                  <a:gd name="connsiteX21" fmla="*/ 41521 w 371119"/>
                  <a:gd name="connsiteY21" fmla="*/ 251367 h 442772"/>
                  <a:gd name="connsiteX22" fmla="*/ 66315 w 371119"/>
                  <a:gd name="connsiteY22" fmla="*/ 211027 h 442772"/>
                  <a:gd name="connsiteX23" fmla="*/ 58026 w 371119"/>
                  <a:gd name="connsiteY23" fmla="*/ 196692 h 442772"/>
                  <a:gd name="connsiteX24" fmla="*/ 71363 w 371119"/>
                  <a:gd name="connsiteY24" fmla="*/ 195363 h 442772"/>
                  <a:gd name="connsiteX25" fmla="*/ 63168 w 371119"/>
                  <a:gd name="connsiteY25" fmla="*/ 85783 h 442772"/>
                  <a:gd name="connsiteX26" fmla="*/ 36028 w 371119"/>
                  <a:gd name="connsiteY26" fmla="*/ 41270 h 442772"/>
                  <a:gd name="connsiteX27" fmla="*/ 54883 w 371119"/>
                  <a:gd name="connsiteY27" fmla="*/ 6632 h 442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71119" h="442772">
                    <a:moveTo>
                      <a:pt x="54883" y="6632"/>
                    </a:moveTo>
                    <a:lnTo>
                      <a:pt x="88073" y="-157"/>
                    </a:lnTo>
                    <a:lnTo>
                      <a:pt x="145714" y="20022"/>
                    </a:lnTo>
                    <a:lnTo>
                      <a:pt x="217802" y="71796"/>
                    </a:lnTo>
                    <a:lnTo>
                      <a:pt x="252097" y="61288"/>
                    </a:lnTo>
                    <a:lnTo>
                      <a:pt x="269185" y="160325"/>
                    </a:lnTo>
                    <a:lnTo>
                      <a:pt x="284449" y="170062"/>
                    </a:lnTo>
                    <a:lnTo>
                      <a:pt x="277338" y="220512"/>
                    </a:lnTo>
                    <a:lnTo>
                      <a:pt x="299727" y="241202"/>
                    </a:lnTo>
                    <a:lnTo>
                      <a:pt x="284840" y="299543"/>
                    </a:lnTo>
                    <a:lnTo>
                      <a:pt x="319333" y="304694"/>
                    </a:lnTo>
                    <a:lnTo>
                      <a:pt x="370453" y="381019"/>
                    </a:lnTo>
                    <a:lnTo>
                      <a:pt x="313614" y="410818"/>
                    </a:lnTo>
                    <a:lnTo>
                      <a:pt x="287343" y="442616"/>
                    </a:lnTo>
                    <a:lnTo>
                      <a:pt x="248444" y="422898"/>
                    </a:lnTo>
                    <a:lnTo>
                      <a:pt x="209323" y="365126"/>
                    </a:lnTo>
                    <a:lnTo>
                      <a:pt x="147298" y="348251"/>
                    </a:lnTo>
                    <a:lnTo>
                      <a:pt x="116053" y="309727"/>
                    </a:lnTo>
                    <a:lnTo>
                      <a:pt x="38516" y="297177"/>
                    </a:lnTo>
                    <a:lnTo>
                      <a:pt x="-666" y="255513"/>
                    </a:lnTo>
                    <a:lnTo>
                      <a:pt x="26802" y="239338"/>
                    </a:lnTo>
                    <a:lnTo>
                      <a:pt x="41521" y="251367"/>
                    </a:lnTo>
                    <a:lnTo>
                      <a:pt x="66315" y="211027"/>
                    </a:lnTo>
                    <a:lnTo>
                      <a:pt x="58026" y="196692"/>
                    </a:lnTo>
                    <a:lnTo>
                      <a:pt x="71363" y="195363"/>
                    </a:lnTo>
                    <a:lnTo>
                      <a:pt x="63168" y="85783"/>
                    </a:lnTo>
                    <a:lnTo>
                      <a:pt x="36028" y="41270"/>
                    </a:lnTo>
                    <a:lnTo>
                      <a:pt x="54883" y="6632"/>
                    </a:lnTo>
                  </a:path>
                </a:pathLst>
              </a:custGeom>
              <a:solidFill>
                <a:srgbClr val="F7DE6E"/>
              </a:solidFill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" name="Краснодарский край">
                <a:extLst>
                  <a:ext uri="{FF2B5EF4-FFF2-40B4-BE49-F238E27FC236}">
                    <a16:creationId xmlns:a16="http://schemas.microsoft.com/office/drawing/2014/main" id="{2088E842-45A5-4745-A858-F02E2E89AAB9}"/>
                  </a:ext>
                </a:extLst>
              </p:cNvPr>
              <p:cNvSpPr/>
              <p:nvPr/>
            </p:nvSpPr>
            <p:spPr>
              <a:xfrm>
                <a:off x="500549" y="3787423"/>
                <a:ext cx="471253" cy="606024"/>
              </a:xfrm>
              <a:custGeom>
                <a:avLst/>
                <a:gdLst>
                  <a:gd name="connsiteX0" fmla="*/ 34913 w 471253"/>
                  <a:gd name="connsiteY0" fmla="*/ 65674 h 606024"/>
                  <a:gd name="connsiteX1" fmla="*/ 82321 w 471253"/>
                  <a:gd name="connsiteY1" fmla="*/ 37084 h 606024"/>
                  <a:gd name="connsiteX2" fmla="*/ 298453 w 471253"/>
                  <a:gd name="connsiteY2" fmla="*/ -157 h 606024"/>
                  <a:gd name="connsiteX3" fmla="*/ 389930 w 471253"/>
                  <a:gd name="connsiteY3" fmla="*/ 68724 h 606024"/>
                  <a:gd name="connsiteX4" fmla="*/ 370545 w 471253"/>
                  <a:gd name="connsiteY4" fmla="*/ 88525 h 606024"/>
                  <a:gd name="connsiteX5" fmla="*/ 389397 w 471253"/>
                  <a:gd name="connsiteY5" fmla="*/ 107362 h 606024"/>
                  <a:gd name="connsiteX6" fmla="*/ 353698 w 471253"/>
                  <a:gd name="connsiteY6" fmla="*/ 132998 h 606024"/>
                  <a:gd name="connsiteX7" fmla="*/ 362599 w 471253"/>
                  <a:gd name="connsiteY7" fmla="*/ 125491 h 606024"/>
                  <a:gd name="connsiteX8" fmla="*/ 380467 w 471253"/>
                  <a:gd name="connsiteY8" fmla="*/ 152736 h 606024"/>
                  <a:gd name="connsiteX9" fmla="*/ 406587 w 471253"/>
                  <a:gd name="connsiteY9" fmla="*/ 139074 h 606024"/>
                  <a:gd name="connsiteX10" fmla="*/ 459917 w 471253"/>
                  <a:gd name="connsiteY10" fmla="*/ 206563 h 606024"/>
                  <a:gd name="connsiteX11" fmla="*/ 432025 w 471253"/>
                  <a:gd name="connsiteY11" fmla="*/ 230932 h 606024"/>
                  <a:gd name="connsiteX12" fmla="*/ 443569 w 471253"/>
                  <a:gd name="connsiteY12" fmla="*/ 243364 h 606024"/>
                  <a:gd name="connsiteX13" fmla="*/ 420958 w 471253"/>
                  <a:gd name="connsiteY13" fmla="*/ 277860 h 606024"/>
                  <a:gd name="connsiteX14" fmla="*/ 457962 w 471253"/>
                  <a:gd name="connsiteY14" fmla="*/ 332273 h 606024"/>
                  <a:gd name="connsiteX15" fmla="*/ 470588 w 471253"/>
                  <a:gd name="connsiteY15" fmla="*/ 330426 h 606024"/>
                  <a:gd name="connsiteX16" fmla="*/ 448229 w 471253"/>
                  <a:gd name="connsiteY16" fmla="*/ 348667 h 606024"/>
                  <a:gd name="connsiteX17" fmla="*/ 428425 w 471253"/>
                  <a:gd name="connsiteY17" fmla="*/ 409401 h 606024"/>
                  <a:gd name="connsiteX18" fmla="*/ 410948 w 471253"/>
                  <a:gd name="connsiteY18" fmla="*/ 409623 h 606024"/>
                  <a:gd name="connsiteX19" fmla="*/ 389915 w 471253"/>
                  <a:gd name="connsiteY19" fmla="*/ 381413 h 606024"/>
                  <a:gd name="connsiteX20" fmla="*/ 369110 w 471253"/>
                  <a:gd name="connsiteY20" fmla="*/ 399605 h 606024"/>
                  <a:gd name="connsiteX21" fmla="*/ 349132 w 471253"/>
                  <a:gd name="connsiteY21" fmla="*/ 445518 h 606024"/>
                  <a:gd name="connsiteX22" fmla="*/ 371558 w 471253"/>
                  <a:gd name="connsiteY22" fmla="*/ 461543 h 606024"/>
                  <a:gd name="connsiteX23" fmla="*/ 352882 w 471253"/>
                  <a:gd name="connsiteY23" fmla="*/ 503374 h 606024"/>
                  <a:gd name="connsiteX24" fmla="*/ 367391 w 471253"/>
                  <a:gd name="connsiteY24" fmla="*/ 521451 h 606024"/>
                  <a:gd name="connsiteX25" fmla="*/ 337746 w 471253"/>
                  <a:gd name="connsiteY25" fmla="*/ 539350 h 606024"/>
                  <a:gd name="connsiteX26" fmla="*/ 318291 w 471253"/>
                  <a:gd name="connsiteY26" fmla="*/ 531736 h 606024"/>
                  <a:gd name="connsiteX27" fmla="*/ 315628 w 471253"/>
                  <a:gd name="connsiteY27" fmla="*/ 581009 h 606024"/>
                  <a:gd name="connsiteX28" fmla="*/ 290865 w 471253"/>
                  <a:gd name="connsiteY28" fmla="*/ 581547 h 606024"/>
                  <a:gd name="connsiteX29" fmla="*/ 289798 w 471253"/>
                  <a:gd name="connsiteY29" fmla="*/ 605083 h 606024"/>
                  <a:gd name="connsiteX30" fmla="*/ 232491 w 471253"/>
                  <a:gd name="connsiteY30" fmla="*/ 605868 h 606024"/>
                  <a:gd name="connsiteX31" fmla="*/ 212391 w 471253"/>
                  <a:gd name="connsiteY31" fmla="*/ 545622 h 606024"/>
                  <a:gd name="connsiteX32" fmla="*/ 201091 w 471253"/>
                  <a:gd name="connsiteY32" fmla="*/ 562381 h 606024"/>
                  <a:gd name="connsiteX33" fmla="*/ 146251 w 471253"/>
                  <a:gd name="connsiteY33" fmla="*/ 571462 h 606024"/>
                  <a:gd name="connsiteX34" fmla="*/ 127635 w 471253"/>
                  <a:gd name="connsiteY34" fmla="*/ 593469 h 606024"/>
                  <a:gd name="connsiteX35" fmla="*/ 85912 w 471253"/>
                  <a:gd name="connsiteY35" fmla="*/ 537439 h 606024"/>
                  <a:gd name="connsiteX36" fmla="*/ 25815 w 471253"/>
                  <a:gd name="connsiteY36" fmla="*/ 548302 h 606024"/>
                  <a:gd name="connsiteX37" fmla="*/ 42045 w 471253"/>
                  <a:gd name="connsiteY37" fmla="*/ 353464 h 606024"/>
                  <a:gd name="connsiteX38" fmla="*/ 1503 w 471253"/>
                  <a:gd name="connsiteY38" fmla="*/ 198635 h 606024"/>
                  <a:gd name="connsiteX39" fmla="*/ 17070 w 471253"/>
                  <a:gd name="connsiteY39" fmla="*/ 143441 h 606024"/>
                  <a:gd name="connsiteX40" fmla="*/ -666 w 471253"/>
                  <a:gd name="connsiteY40" fmla="*/ 96960 h 606024"/>
                  <a:gd name="connsiteX41" fmla="*/ 34913 w 471253"/>
                  <a:gd name="connsiteY41" fmla="*/ 65674 h 606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471253" h="606024">
                    <a:moveTo>
                      <a:pt x="34913" y="65674"/>
                    </a:moveTo>
                    <a:lnTo>
                      <a:pt x="82321" y="37084"/>
                    </a:lnTo>
                    <a:lnTo>
                      <a:pt x="298453" y="-157"/>
                    </a:lnTo>
                    <a:lnTo>
                      <a:pt x="389930" y="68724"/>
                    </a:lnTo>
                    <a:lnTo>
                      <a:pt x="370545" y="88525"/>
                    </a:lnTo>
                    <a:lnTo>
                      <a:pt x="389397" y="107362"/>
                    </a:lnTo>
                    <a:lnTo>
                      <a:pt x="353698" y="132998"/>
                    </a:lnTo>
                    <a:lnTo>
                      <a:pt x="362599" y="125491"/>
                    </a:lnTo>
                    <a:lnTo>
                      <a:pt x="380467" y="152736"/>
                    </a:lnTo>
                    <a:lnTo>
                      <a:pt x="406587" y="139074"/>
                    </a:lnTo>
                    <a:lnTo>
                      <a:pt x="459917" y="206563"/>
                    </a:lnTo>
                    <a:lnTo>
                      <a:pt x="432025" y="230932"/>
                    </a:lnTo>
                    <a:lnTo>
                      <a:pt x="443569" y="243364"/>
                    </a:lnTo>
                    <a:lnTo>
                      <a:pt x="420958" y="277860"/>
                    </a:lnTo>
                    <a:lnTo>
                      <a:pt x="457962" y="332273"/>
                    </a:lnTo>
                    <a:lnTo>
                      <a:pt x="470588" y="330426"/>
                    </a:lnTo>
                    <a:lnTo>
                      <a:pt x="448229" y="348667"/>
                    </a:lnTo>
                    <a:lnTo>
                      <a:pt x="428425" y="409401"/>
                    </a:lnTo>
                    <a:lnTo>
                      <a:pt x="410948" y="409623"/>
                    </a:lnTo>
                    <a:lnTo>
                      <a:pt x="389915" y="381413"/>
                    </a:lnTo>
                    <a:lnTo>
                      <a:pt x="369110" y="399605"/>
                    </a:lnTo>
                    <a:lnTo>
                      <a:pt x="349132" y="445518"/>
                    </a:lnTo>
                    <a:lnTo>
                      <a:pt x="371558" y="461543"/>
                    </a:lnTo>
                    <a:lnTo>
                      <a:pt x="352882" y="503374"/>
                    </a:lnTo>
                    <a:lnTo>
                      <a:pt x="367391" y="521451"/>
                    </a:lnTo>
                    <a:lnTo>
                      <a:pt x="337746" y="539350"/>
                    </a:lnTo>
                    <a:lnTo>
                      <a:pt x="318291" y="531736"/>
                    </a:lnTo>
                    <a:lnTo>
                      <a:pt x="315628" y="581009"/>
                    </a:lnTo>
                    <a:lnTo>
                      <a:pt x="290865" y="581547"/>
                    </a:lnTo>
                    <a:lnTo>
                      <a:pt x="289798" y="605083"/>
                    </a:lnTo>
                    <a:lnTo>
                      <a:pt x="232491" y="605868"/>
                    </a:lnTo>
                    <a:lnTo>
                      <a:pt x="212391" y="545622"/>
                    </a:lnTo>
                    <a:lnTo>
                      <a:pt x="201091" y="562381"/>
                    </a:lnTo>
                    <a:lnTo>
                      <a:pt x="146251" y="571462"/>
                    </a:lnTo>
                    <a:lnTo>
                      <a:pt x="127635" y="593469"/>
                    </a:lnTo>
                    <a:lnTo>
                      <a:pt x="85912" y="537439"/>
                    </a:lnTo>
                    <a:lnTo>
                      <a:pt x="25815" y="548302"/>
                    </a:lnTo>
                    <a:lnTo>
                      <a:pt x="42045" y="353464"/>
                    </a:lnTo>
                    <a:lnTo>
                      <a:pt x="1503" y="198635"/>
                    </a:lnTo>
                    <a:lnTo>
                      <a:pt x="17070" y="143441"/>
                    </a:lnTo>
                    <a:lnTo>
                      <a:pt x="-666" y="96960"/>
                    </a:lnTo>
                    <a:lnTo>
                      <a:pt x="34913" y="65674"/>
                    </a:lnTo>
                  </a:path>
                </a:pathLst>
              </a:custGeom>
              <a:solidFill>
                <a:srgbClr val="F7DE6E"/>
              </a:solidFill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" name="Ростовская область">
                <a:extLst>
                  <a:ext uri="{FF2B5EF4-FFF2-40B4-BE49-F238E27FC236}">
                    <a16:creationId xmlns:a16="http://schemas.microsoft.com/office/drawing/2014/main" id="{F1838821-81F7-44E5-A5A8-45A0DA7194C8}"/>
                  </a:ext>
                </a:extLst>
              </p:cNvPr>
              <p:cNvSpPr/>
              <p:nvPr/>
            </p:nvSpPr>
            <p:spPr>
              <a:xfrm>
                <a:off x="853678" y="3708186"/>
                <a:ext cx="597629" cy="643164"/>
              </a:xfrm>
              <a:custGeom>
                <a:avLst/>
                <a:gdLst>
                  <a:gd name="connsiteX0" fmla="*/ 43271 w 597629"/>
                  <a:gd name="connsiteY0" fmla="*/ 81891 h 643164"/>
                  <a:gd name="connsiteX1" fmla="*/ 89410 w 597629"/>
                  <a:gd name="connsiteY1" fmla="*/ 61704 h 643164"/>
                  <a:gd name="connsiteX2" fmla="*/ 126066 w 597629"/>
                  <a:gd name="connsiteY2" fmla="*/ 89120 h 643164"/>
                  <a:gd name="connsiteX3" fmla="*/ 152446 w 597629"/>
                  <a:gd name="connsiteY3" fmla="*/ 76472 h 643164"/>
                  <a:gd name="connsiteX4" fmla="*/ 164009 w 597629"/>
                  <a:gd name="connsiteY4" fmla="*/ 91687 h 643164"/>
                  <a:gd name="connsiteX5" fmla="*/ 210772 w 597629"/>
                  <a:gd name="connsiteY5" fmla="*/ 153220 h 643164"/>
                  <a:gd name="connsiteX6" fmla="*/ 236357 w 597629"/>
                  <a:gd name="connsiteY6" fmla="*/ 133610 h 643164"/>
                  <a:gd name="connsiteX7" fmla="*/ 278250 w 597629"/>
                  <a:gd name="connsiteY7" fmla="*/ 131063 h 643164"/>
                  <a:gd name="connsiteX8" fmla="*/ 272649 w 597629"/>
                  <a:gd name="connsiteY8" fmla="*/ 111214 h 643164"/>
                  <a:gd name="connsiteX9" fmla="*/ 285075 w 597629"/>
                  <a:gd name="connsiteY9" fmla="*/ 114997 h 643164"/>
                  <a:gd name="connsiteX10" fmla="*/ 303820 w 597629"/>
                  <a:gd name="connsiteY10" fmla="*/ 85332 h 643164"/>
                  <a:gd name="connsiteX11" fmla="*/ 296088 w 597629"/>
                  <a:gd name="connsiteY11" fmla="*/ 66491 h 643164"/>
                  <a:gd name="connsiteX12" fmla="*/ 332898 w 597629"/>
                  <a:gd name="connsiteY12" fmla="*/ 53819 h 643164"/>
                  <a:gd name="connsiteX13" fmla="*/ 338754 w 597629"/>
                  <a:gd name="connsiteY13" fmla="*/ 72519 h 643164"/>
                  <a:gd name="connsiteX14" fmla="*/ 354864 w 597629"/>
                  <a:gd name="connsiteY14" fmla="*/ 72684 h 643164"/>
                  <a:gd name="connsiteX15" fmla="*/ 339937 w 597629"/>
                  <a:gd name="connsiteY15" fmla="*/ 51259 h 643164"/>
                  <a:gd name="connsiteX16" fmla="*/ 347608 w 597629"/>
                  <a:gd name="connsiteY16" fmla="*/ 23748 h 643164"/>
                  <a:gd name="connsiteX17" fmla="*/ 367240 w 597629"/>
                  <a:gd name="connsiteY17" fmla="*/ 42716 h 643164"/>
                  <a:gd name="connsiteX18" fmla="*/ 409170 w 597629"/>
                  <a:gd name="connsiteY18" fmla="*/ 44682 h 643164"/>
                  <a:gd name="connsiteX19" fmla="*/ 420968 w 597629"/>
                  <a:gd name="connsiteY19" fmla="*/ 9172 h 643164"/>
                  <a:gd name="connsiteX20" fmla="*/ 451159 w 597629"/>
                  <a:gd name="connsiteY20" fmla="*/ -157 h 643164"/>
                  <a:gd name="connsiteX21" fmla="*/ 468471 w 597629"/>
                  <a:gd name="connsiteY21" fmla="*/ 35069 h 643164"/>
                  <a:gd name="connsiteX22" fmla="*/ 508568 w 597629"/>
                  <a:gd name="connsiteY22" fmla="*/ 51531 h 643164"/>
                  <a:gd name="connsiteX23" fmla="*/ 547606 w 597629"/>
                  <a:gd name="connsiteY23" fmla="*/ 38426 h 643164"/>
                  <a:gd name="connsiteX24" fmla="*/ 583804 w 597629"/>
                  <a:gd name="connsiteY24" fmla="*/ 46605 h 643164"/>
                  <a:gd name="connsiteX25" fmla="*/ 596963 w 597629"/>
                  <a:gd name="connsiteY25" fmla="*/ 30159 h 643164"/>
                  <a:gd name="connsiteX26" fmla="*/ 592679 w 597629"/>
                  <a:gd name="connsiteY26" fmla="*/ 145842 h 643164"/>
                  <a:gd name="connsiteX27" fmla="*/ 517928 w 597629"/>
                  <a:gd name="connsiteY27" fmla="*/ 193572 h 643164"/>
                  <a:gd name="connsiteX28" fmla="*/ 540616 w 597629"/>
                  <a:gd name="connsiteY28" fmla="*/ 216914 h 643164"/>
                  <a:gd name="connsiteX29" fmla="*/ 533014 w 597629"/>
                  <a:gd name="connsiteY29" fmla="*/ 281153 h 643164"/>
                  <a:gd name="connsiteX30" fmla="*/ 503129 w 597629"/>
                  <a:gd name="connsiteY30" fmla="*/ 303040 h 643164"/>
                  <a:gd name="connsiteX31" fmla="*/ 440026 w 597629"/>
                  <a:gd name="connsiteY31" fmla="*/ 274216 h 643164"/>
                  <a:gd name="connsiteX32" fmla="*/ 430827 w 597629"/>
                  <a:gd name="connsiteY32" fmla="*/ 296155 h 643164"/>
                  <a:gd name="connsiteX33" fmla="*/ 421203 w 597629"/>
                  <a:gd name="connsiteY33" fmla="*/ 288300 h 643164"/>
                  <a:gd name="connsiteX34" fmla="*/ 390310 w 597629"/>
                  <a:gd name="connsiteY34" fmla="*/ 310363 h 643164"/>
                  <a:gd name="connsiteX35" fmla="*/ 425720 w 597629"/>
                  <a:gd name="connsiteY35" fmla="*/ 349852 h 643164"/>
                  <a:gd name="connsiteX36" fmla="*/ 396325 w 597629"/>
                  <a:gd name="connsiteY36" fmla="*/ 435021 h 643164"/>
                  <a:gd name="connsiteX37" fmla="*/ 449964 w 597629"/>
                  <a:gd name="connsiteY37" fmla="*/ 498777 h 643164"/>
                  <a:gd name="connsiteX38" fmla="*/ 432875 w 597629"/>
                  <a:gd name="connsiteY38" fmla="*/ 527396 h 643164"/>
                  <a:gd name="connsiteX39" fmla="*/ 442653 w 597629"/>
                  <a:gd name="connsiteY39" fmla="*/ 539528 h 643164"/>
                  <a:gd name="connsiteX40" fmla="*/ 460296 w 597629"/>
                  <a:gd name="connsiteY40" fmla="*/ 526044 h 643164"/>
                  <a:gd name="connsiteX41" fmla="*/ 496784 w 597629"/>
                  <a:gd name="connsiteY41" fmla="*/ 529909 h 643164"/>
                  <a:gd name="connsiteX42" fmla="*/ 457727 w 597629"/>
                  <a:gd name="connsiteY42" fmla="*/ 581277 h 643164"/>
                  <a:gd name="connsiteX43" fmla="*/ 426110 w 597629"/>
                  <a:gd name="connsiteY43" fmla="*/ 602861 h 643164"/>
                  <a:gd name="connsiteX44" fmla="*/ 356311 w 597629"/>
                  <a:gd name="connsiteY44" fmla="*/ 604263 h 643164"/>
                  <a:gd name="connsiteX45" fmla="*/ 338996 w 597629"/>
                  <a:gd name="connsiteY45" fmla="*/ 643008 h 643164"/>
                  <a:gd name="connsiteX46" fmla="*/ 326193 w 597629"/>
                  <a:gd name="connsiteY46" fmla="*/ 640686 h 643164"/>
                  <a:gd name="connsiteX47" fmla="*/ 332440 w 597629"/>
                  <a:gd name="connsiteY47" fmla="*/ 616298 h 643164"/>
                  <a:gd name="connsiteX48" fmla="*/ 297999 w 597629"/>
                  <a:gd name="connsiteY48" fmla="*/ 632766 h 643164"/>
                  <a:gd name="connsiteX49" fmla="*/ 275073 w 597629"/>
                  <a:gd name="connsiteY49" fmla="*/ 610272 h 643164"/>
                  <a:gd name="connsiteX50" fmla="*/ 276550 w 597629"/>
                  <a:gd name="connsiteY50" fmla="*/ 548918 h 643164"/>
                  <a:gd name="connsiteX51" fmla="*/ 248969 w 597629"/>
                  <a:gd name="connsiteY51" fmla="*/ 537446 h 643164"/>
                  <a:gd name="connsiteX52" fmla="*/ 230005 w 597629"/>
                  <a:gd name="connsiteY52" fmla="*/ 473960 h 643164"/>
                  <a:gd name="connsiteX53" fmla="*/ 203341 w 597629"/>
                  <a:gd name="connsiteY53" fmla="*/ 504486 h 643164"/>
                  <a:gd name="connsiteX54" fmla="*/ 188094 w 597629"/>
                  <a:gd name="connsiteY54" fmla="*/ 487862 h 643164"/>
                  <a:gd name="connsiteX55" fmla="*/ 163120 w 597629"/>
                  <a:gd name="connsiteY55" fmla="*/ 496111 h 643164"/>
                  <a:gd name="connsiteX56" fmla="*/ 151358 w 597629"/>
                  <a:gd name="connsiteY56" fmla="*/ 473384 h 643164"/>
                  <a:gd name="connsiteX57" fmla="*/ 133400 w 597629"/>
                  <a:gd name="connsiteY57" fmla="*/ 501025 h 643164"/>
                  <a:gd name="connsiteX58" fmla="*/ 89537 w 597629"/>
                  <a:gd name="connsiteY58" fmla="*/ 459504 h 643164"/>
                  <a:gd name="connsiteX59" fmla="*/ 95100 w 597629"/>
                  <a:gd name="connsiteY59" fmla="*/ 427905 h 643164"/>
                  <a:gd name="connsiteX60" fmla="*/ 117459 w 597629"/>
                  <a:gd name="connsiteY60" fmla="*/ 409664 h 643164"/>
                  <a:gd name="connsiteX61" fmla="*/ 91661 w 597629"/>
                  <a:gd name="connsiteY61" fmla="*/ 396892 h 643164"/>
                  <a:gd name="connsiteX62" fmla="*/ 67830 w 597629"/>
                  <a:gd name="connsiteY62" fmla="*/ 349631 h 643164"/>
                  <a:gd name="connsiteX63" fmla="*/ 90440 w 597629"/>
                  <a:gd name="connsiteY63" fmla="*/ 322601 h 643164"/>
                  <a:gd name="connsiteX64" fmla="*/ 78896 w 597629"/>
                  <a:gd name="connsiteY64" fmla="*/ 310169 h 643164"/>
                  <a:gd name="connsiteX65" fmla="*/ 106788 w 597629"/>
                  <a:gd name="connsiteY65" fmla="*/ 285800 h 643164"/>
                  <a:gd name="connsiteX66" fmla="*/ 53457 w 597629"/>
                  <a:gd name="connsiteY66" fmla="*/ 218312 h 643164"/>
                  <a:gd name="connsiteX67" fmla="*/ 27290 w 597629"/>
                  <a:gd name="connsiteY67" fmla="*/ 231943 h 643164"/>
                  <a:gd name="connsiteX68" fmla="*/ -666 w 597629"/>
                  <a:gd name="connsiteY68" fmla="*/ 208669 h 643164"/>
                  <a:gd name="connsiteX69" fmla="*/ 36268 w 597629"/>
                  <a:gd name="connsiteY69" fmla="*/ 186600 h 643164"/>
                  <a:gd name="connsiteX70" fmla="*/ 17416 w 597629"/>
                  <a:gd name="connsiteY70" fmla="*/ 167762 h 643164"/>
                  <a:gd name="connsiteX71" fmla="*/ 36800 w 597629"/>
                  <a:gd name="connsiteY71" fmla="*/ 147961 h 643164"/>
                  <a:gd name="connsiteX72" fmla="*/ 12184 w 597629"/>
                  <a:gd name="connsiteY72" fmla="*/ 123731 h 643164"/>
                  <a:gd name="connsiteX73" fmla="*/ 22062 w 597629"/>
                  <a:gd name="connsiteY73" fmla="*/ 100414 h 643164"/>
                  <a:gd name="connsiteX74" fmla="*/ 43271 w 597629"/>
                  <a:gd name="connsiteY74" fmla="*/ 81892 h 643164"/>
                  <a:gd name="connsiteX75" fmla="*/ 43271 w 597629"/>
                  <a:gd name="connsiteY75" fmla="*/ 81892 h 643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97629" h="643164">
                    <a:moveTo>
                      <a:pt x="43271" y="81891"/>
                    </a:moveTo>
                    <a:lnTo>
                      <a:pt x="89410" y="61704"/>
                    </a:lnTo>
                    <a:lnTo>
                      <a:pt x="126066" y="89120"/>
                    </a:lnTo>
                    <a:lnTo>
                      <a:pt x="152446" y="76472"/>
                    </a:lnTo>
                    <a:lnTo>
                      <a:pt x="164009" y="91687"/>
                    </a:lnTo>
                    <a:lnTo>
                      <a:pt x="210772" y="153220"/>
                    </a:lnTo>
                    <a:lnTo>
                      <a:pt x="236357" y="133610"/>
                    </a:lnTo>
                    <a:lnTo>
                      <a:pt x="278250" y="131063"/>
                    </a:lnTo>
                    <a:lnTo>
                      <a:pt x="272649" y="111214"/>
                    </a:lnTo>
                    <a:lnTo>
                      <a:pt x="285075" y="114997"/>
                    </a:lnTo>
                    <a:lnTo>
                      <a:pt x="303820" y="85332"/>
                    </a:lnTo>
                    <a:lnTo>
                      <a:pt x="296088" y="66491"/>
                    </a:lnTo>
                    <a:lnTo>
                      <a:pt x="332898" y="53819"/>
                    </a:lnTo>
                    <a:lnTo>
                      <a:pt x="338754" y="72519"/>
                    </a:lnTo>
                    <a:lnTo>
                      <a:pt x="354864" y="72684"/>
                    </a:lnTo>
                    <a:lnTo>
                      <a:pt x="339937" y="51259"/>
                    </a:lnTo>
                    <a:lnTo>
                      <a:pt x="347608" y="23748"/>
                    </a:lnTo>
                    <a:lnTo>
                      <a:pt x="367240" y="42716"/>
                    </a:lnTo>
                    <a:lnTo>
                      <a:pt x="409170" y="44682"/>
                    </a:lnTo>
                    <a:lnTo>
                      <a:pt x="420968" y="9172"/>
                    </a:lnTo>
                    <a:lnTo>
                      <a:pt x="451159" y="-157"/>
                    </a:lnTo>
                    <a:lnTo>
                      <a:pt x="468471" y="35069"/>
                    </a:lnTo>
                    <a:lnTo>
                      <a:pt x="508568" y="51531"/>
                    </a:lnTo>
                    <a:lnTo>
                      <a:pt x="547606" y="38426"/>
                    </a:lnTo>
                    <a:lnTo>
                      <a:pt x="583804" y="46605"/>
                    </a:lnTo>
                    <a:lnTo>
                      <a:pt x="596963" y="30159"/>
                    </a:lnTo>
                    <a:lnTo>
                      <a:pt x="592679" y="145842"/>
                    </a:lnTo>
                    <a:lnTo>
                      <a:pt x="517928" y="193572"/>
                    </a:lnTo>
                    <a:lnTo>
                      <a:pt x="540616" y="216914"/>
                    </a:lnTo>
                    <a:lnTo>
                      <a:pt x="533014" y="281153"/>
                    </a:lnTo>
                    <a:lnTo>
                      <a:pt x="503129" y="303040"/>
                    </a:lnTo>
                    <a:lnTo>
                      <a:pt x="440026" y="274216"/>
                    </a:lnTo>
                    <a:lnTo>
                      <a:pt x="430827" y="296155"/>
                    </a:lnTo>
                    <a:lnTo>
                      <a:pt x="421203" y="288300"/>
                    </a:lnTo>
                    <a:lnTo>
                      <a:pt x="390310" y="310363"/>
                    </a:lnTo>
                    <a:lnTo>
                      <a:pt x="425720" y="349852"/>
                    </a:lnTo>
                    <a:lnTo>
                      <a:pt x="396325" y="435021"/>
                    </a:lnTo>
                    <a:lnTo>
                      <a:pt x="449964" y="498777"/>
                    </a:lnTo>
                    <a:lnTo>
                      <a:pt x="432875" y="527396"/>
                    </a:lnTo>
                    <a:lnTo>
                      <a:pt x="442653" y="539528"/>
                    </a:lnTo>
                    <a:lnTo>
                      <a:pt x="460296" y="526044"/>
                    </a:lnTo>
                    <a:lnTo>
                      <a:pt x="496784" y="529909"/>
                    </a:lnTo>
                    <a:lnTo>
                      <a:pt x="457727" y="581277"/>
                    </a:lnTo>
                    <a:lnTo>
                      <a:pt x="426110" y="602861"/>
                    </a:lnTo>
                    <a:lnTo>
                      <a:pt x="356311" y="604263"/>
                    </a:lnTo>
                    <a:lnTo>
                      <a:pt x="338996" y="643008"/>
                    </a:lnTo>
                    <a:lnTo>
                      <a:pt x="326193" y="640686"/>
                    </a:lnTo>
                    <a:lnTo>
                      <a:pt x="332440" y="616298"/>
                    </a:lnTo>
                    <a:lnTo>
                      <a:pt x="297999" y="632766"/>
                    </a:lnTo>
                    <a:lnTo>
                      <a:pt x="275073" y="610272"/>
                    </a:lnTo>
                    <a:lnTo>
                      <a:pt x="276550" y="548918"/>
                    </a:lnTo>
                    <a:lnTo>
                      <a:pt x="248969" y="537446"/>
                    </a:lnTo>
                    <a:lnTo>
                      <a:pt x="230005" y="473960"/>
                    </a:lnTo>
                    <a:lnTo>
                      <a:pt x="203341" y="504486"/>
                    </a:lnTo>
                    <a:lnTo>
                      <a:pt x="188094" y="487862"/>
                    </a:lnTo>
                    <a:lnTo>
                      <a:pt x="163120" y="496111"/>
                    </a:lnTo>
                    <a:lnTo>
                      <a:pt x="151358" y="473384"/>
                    </a:lnTo>
                    <a:lnTo>
                      <a:pt x="133400" y="501025"/>
                    </a:lnTo>
                    <a:lnTo>
                      <a:pt x="89537" y="459504"/>
                    </a:lnTo>
                    <a:lnTo>
                      <a:pt x="95100" y="427905"/>
                    </a:lnTo>
                    <a:lnTo>
                      <a:pt x="117459" y="409664"/>
                    </a:lnTo>
                    <a:lnTo>
                      <a:pt x="91661" y="396892"/>
                    </a:lnTo>
                    <a:lnTo>
                      <a:pt x="67830" y="349631"/>
                    </a:lnTo>
                    <a:lnTo>
                      <a:pt x="90440" y="322601"/>
                    </a:lnTo>
                    <a:lnTo>
                      <a:pt x="78896" y="310169"/>
                    </a:lnTo>
                    <a:lnTo>
                      <a:pt x="106788" y="285800"/>
                    </a:lnTo>
                    <a:lnTo>
                      <a:pt x="53457" y="218312"/>
                    </a:lnTo>
                    <a:lnTo>
                      <a:pt x="27290" y="231943"/>
                    </a:lnTo>
                    <a:lnTo>
                      <a:pt x="-666" y="208669"/>
                    </a:lnTo>
                    <a:lnTo>
                      <a:pt x="36268" y="186600"/>
                    </a:lnTo>
                    <a:lnTo>
                      <a:pt x="17416" y="167762"/>
                    </a:lnTo>
                    <a:lnTo>
                      <a:pt x="36800" y="147961"/>
                    </a:lnTo>
                    <a:lnTo>
                      <a:pt x="12184" y="123731"/>
                    </a:lnTo>
                    <a:lnTo>
                      <a:pt x="22062" y="100414"/>
                    </a:lnTo>
                    <a:lnTo>
                      <a:pt x="43271" y="81892"/>
                    </a:lnTo>
                    <a:lnTo>
                      <a:pt x="43271" y="81892"/>
                    </a:lnTo>
                  </a:path>
                </a:pathLst>
              </a:custGeom>
              <a:solidFill>
                <a:srgbClr val="F7DE6E"/>
              </a:solidFill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" name="Республика Адыгея">
                <a:extLst>
                  <a:ext uri="{FF2B5EF4-FFF2-40B4-BE49-F238E27FC236}">
                    <a16:creationId xmlns:a16="http://schemas.microsoft.com/office/drawing/2014/main" id="{DC7C629C-6F2A-447D-B1E4-89230FC0B5D5}"/>
                  </a:ext>
                </a:extLst>
              </p:cNvPr>
              <p:cNvSpPr/>
              <p:nvPr/>
            </p:nvSpPr>
            <p:spPr>
              <a:xfrm>
                <a:off x="609183" y="4052920"/>
                <a:ext cx="171223" cy="273628"/>
              </a:xfrm>
              <a:custGeom>
                <a:avLst/>
                <a:gdLst>
                  <a:gd name="connsiteX0" fmla="*/ 37423 w 171223"/>
                  <a:gd name="connsiteY0" fmla="*/ 10067 h 273628"/>
                  <a:gd name="connsiteX1" fmla="*/ 52264 w 171223"/>
                  <a:gd name="connsiteY1" fmla="*/ -157 h 273628"/>
                  <a:gd name="connsiteX2" fmla="*/ 80551 w 171223"/>
                  <a:gd name="connsiteY2" fmla="*/ 52175 h 273628"/>
                  <a:gd name="connsiteX3" fmla="*/ 135899 w 171223"/>
                  <a:gd name="connsiteY3" fmla="*/ 62463 h 273628"/>
                  <a:gd name="connsiteX4" fmla="*/ 140510 w 171223"/>
                  <a:gd name="connsiteY4" fmla="*/ 99372 h 273628"/>
                  <a:gd name="connsiteX5" fmla="*/ 168540 w 171223"/>
                  <a:gd name="connsiteY5" fmla="*/ 123817 h 273628"/>
                  <a:gd name="connsiteX6" fmla="*/ 170558 w 171223"/>
                  <a:gd name="connsiteY6" fmla="*/ 145956 h 273628"/>
                  <a:gd name="connsiteX7" fmla="*/ 133273 w 171223"/>
                  <a:gd name="connsiteY7" fmla="*/ 236636 h 273628"/>
                  <a:gd name="connsiteX8" fmla="*/ 121002 w 171223"/>
                  <a:gd name="connsiteY8" fmla="*/ 223881 h 273628"/>
                  <a:gd name="connsiteX9" fmla="*/ 142831 w 171223"/>
                  <a:gd name="connsiteY9" fmla="*/ 208304 h 273628"/>
                  <a:gd name="connsiteX10" fmla="*/ 141721 w 171223"/>
                  <a:gd name="connsiteY10" fmla="*/ 177334 h 273628"/>
                  <a:gd name="connsiteX11" fmla="*/ 114044 w 171223"/>
                  <a:gd name="connsiteY11" fmla="*/ 188609 h 273628"/>
                  <a:gd name="connsiteX12" fmla="*/ 93316 w 171223"/>
                  <a:gd name="connsiteY12" fmla="*/ 227748 h 273628"/>
                  <a:gd name="connsiteX13" fmla="*/ 76111 w 171223"/>
                  <a:gd name="connsiteY13" fmla="*/ 224355 h 273628"/>
                  <a:gd name="connsiteX14" fmla="*/ 52056 w 171223"/>
                  <a:gd name="connsiteY14" fmla="*/ 263640 h 273628"/>
                  <a:gd name="connsiteX15" fmla="*/ 21031 w 171223"/>
                  <a:gd name="connsiteY15" fmla="*/ 273472 h 273628"/>
                  <a:gd name="connsiteX16" fmla="*/ -666 w 171223"/>
                  <a:gd name="connsiteY16" fmla="*/ 203681 h 273628"/>
                  <a:gd name="connsiteX17" fmla="*/ 24472 w 171223"/>
                  <a:gd name="connsiteY17" fmla="*/ 180664 h 273628"/>
                  <a:gd name="connsiteX18" fmla="*/ 28666 w 171223"/>
                  <a:gd name="connsiteY18" fmla="*/ 210393 h 273628"/>
                  <a:gd name="connsiteX19" fmla="*/ 42321 w 171223"/>
                  <a:gd name="connsiteY19" fmla="*/ 213745 h 273628"/>
                  <a:gd name="connsiteX20" fmla="*/ 56589 w 171223"/>
                  <a:gd name="connsiteY20" fmla="*/ 200697 h 273628"/>
                  <a:gd name="connsiteX21" fmla="*/ 50486 w 171223"/>
                  <a:gd name="connsiteY21" fmla="*/ 169535 h 273628"/>
                  <a:gd name="connsiteX22" fmla="*/ 97736 w 171223"/>
                  <a:gd name="connsiteY22" fmla="*/ 138493 h 273628"/>
                  <a:gd name="connsiteX23" fmla="*/ 110454 w 171223"/>
                  <a:gd name="connsiteY23" fmla="*/ 145089 h 273628"/>
                  <a:gd name="connsiteX24" fmla="*/ 132505 w 171223"/>
                  <a:gd name="connsiteY24" fmla="*/ 104770 h 273628"/>
                  <a:gd name="connsiteX25" fmla="*/ 110320 w 171223"/>
                  <a:gd name="connsiteY25" fmla="*/ 96117 h 273628"/>
                  <a:gd name="connsiteX26" fmla="*/ 103981 w 171223"/>
                  <a:gd name="connsiteY26" fmla="*/ 68576 h 273628"/>
                  <a:gd name="connsiteX27" fmla="*/ 98013 w 171223"/>
                  <a:gd name="connsiteY27" fmla="*/ 100321 h 273628"/>
                  <a:gd name="connsiteX28" fmla="*/ 83276 w 171223"/>
                  <a:gd name="connsiteY28" fmla="*/ 99223 h 273628"/>
                  <a:gd name="connsiteX29" fmla="*/ 50567 w 171223"/>
                  <a:gd name="connsiteY29" fmla="*/ 58279 h 273628"/>
                  <a:gd name="connsiteX30" fmla="*/ 37423 w 171223"/>
                  <a:gd name="connsiteY30" fmla="*/ 10067 h 27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71223" h="273628">
                    <a:moveTo>
                      <a:pt x="37423" y="10067"/>
                    </a:moveTo>
                    <a:lnTo>
                      <a:pt x="52264" y="-157"/>
                    </a:lnTo>
                    <a:lnTo>
                      <a:pt x="80551" y="52175"/>
                    </a:lnTo>
                    <a:lnTo>
                      <a:pt x="135899" y="62463"/>
                    </a:lnTo>
                    <a:lnTo>
                      <a:pt x="140510" y="99372"/>
                    </a:lnTo>
                    <a:lnTo>
                      <a:pt x="168540" y="123817"/>
                    </a:lnTo>
                    <a:lnTo>
                      <a:pt x="170558" y="145956"/>
                    </a:lnTo>
                    <a:lnTo>
                      <a:pt x="133273" y="236636"/>
                    </a:lnTo>
                    <a:lnTo>
                      <a:pt x="121002" y="223881"/>
                    </a:lnTo>
                    <a:lnTo>
                      <a:pt x="142831" y="208304"/>
                    </a:lnTo>
                    <a:lnTo>
                      <a:pt x="141721" y="177334"/>
                    </a:lnTo>
                    <a:lnTo>
                      <a:pt x="114044" y="188609"/>
                    </a:lnTo>
                    <a:lnTo>
                      <a:pt x="93316" y="227748"/>
                    </a:lnTo>
                    <a:lnTo>
                      <a:pt x="76111" y="224355"/>
                    </a:lnTo>
                    <a:lnTo>
                      <a:pt x="52056" y="263640"/>
                    </a:lnTo>
                    <a:lnTo>
                      <a:pt x="21031" y="273472"/>
                    </a:lnTo>
                    <a:lnTo>
                      <a:pt x="-666" y="203681"/>
                    </a:lnTo>
                    <a:lnTo>
                      <a:pt x="24472" y="180664"/>
                    </a:lnTo>
                    <a:lnTo>
                      <a:pt x="28666" y="210393"/>
                    </a:lnTo>
                    <a:lnTo>
                      <a:pt x="42321" y="213745"/>
                    </a:lnTo>
                    <a:lnTo>
                      <a:pt x="56589" y="200697"/>
                    </a:lnTo>
                    <a:lnTo>
                      <a:pt x="50486" y="169535"/>
                    </a:lnTo>
                    <a:lnTo>
                      <a:pt x="97736" y="138493"/>
                    </a:lnTo>
                    <a:lnTo>
                      <a:pt x="110454" y="145089"/>
                    </a:lnTo>
                    <a:lnTo>
                      <a:pt x="132505" y="104770"/>
                    </a:lnTo>
                    <a:lnTo>
                      <a:pt x="110320" y="96117"/>
                    </a:lnTo>
                    <a:lnTo>
                      <a:pt x="103981" y="68576"/>
                    </a:lnTo>
                    <a:lnTo>
                      <a:pt x="98013" y="100321"/>
                    </a:lnTo>
                    <a:lnTo>
                      <a:pt x="83276" y="99223"/>
                    </a:lnTo>
                    <a:lnTo>
                      <a:pt x="50567" y="58279"/>
                    </a:lnTo>
                    <a:lnTo>
                      <a:pt x="37423" y="10067"/>
                    </a:lnTo>
                  </a:path>
                </a:pathLst>
              </a:custGeom>
              <a:solidFill>
                <a:srgbClr val="F7DE6E"/>
              </a:solidFill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" name="Волгоградская область">
                <a:extLst>
                  <a:ext uri="{FF2B5EF4-FFF2-40B4-BE49-F238E27FC236}">
                    <a16:creationId xmlns:a16="http://schemas.microsoft.com/office/drawing/2014/main" id="{05741425-99D9-4E0C-9C60-99C593ED6D38}"/>
                  </a:ext>
                </a:extLst>
              </p:cNvPr>
              <p:cNvSpPr/>
              <p:nvPr/>
            </p:nvSpPr>
            <p:spPr>
              <a:xfrm>
                <a:off x="1244949" y="3666733"/>
                <a:ext cx="648470" cy="622132"/>
              </a:xfrm>
              <a:custGeom>
                <a:avLst/>
                <a:gdLst>
                  <a:gd name="connsiteX0" fmla="*/ 258554 w 648470"/>
                  <a:gd name="connsiteY0" fmla="*/ -156 h 622132"/>
                  <a:gd name="connsiteX1" fmla="*/ 326414 w 648470"/>
                  <a:gd name="connsiteY1" fmla="*/ 18746 h 622132"/>
                  <a:gd name="connsiteX2" fmla="*/ 357025 w 648470"/>
                  <a:gd name="connsiteY2" fmla="*/ 11120 h 622132"/>
                  <a:gd name="connsiteX3" fmla="*/ 392762 w 648470"/>
                  <a:gd name="connsiteY3" fmla="*/ 61126 h 622132"/>
                  <a:gd name="connsiteX4" fmla="*/ 414823 w 648470"/>
                  <a:gd name="connsiteY4" fmla="*/ 61249 h 622132"/>
                  <a:gd name="connsiteX5" fmla="*/ 430183 w 648470"/>
                  <a:gd name="connsiteY5" fmla="*/ 133932 h 622132"/>
                  <a:gd name="connsiteX6" fmla="*/ 486815 w 648470"/>
                  <a:gd name="connsiteY6" fmla="*/ 156182 h 622132"/>
                  <a:gd name="connsiteX7" fmla="*/ 497049 w 648470"/>
                  <a:gd name="connsiteY7" fmla="*/ 181986 h 622132"/>
                  <a:gd name="connsiteX8" fmla="*/ 511779 w 648470"/>
                  <a:gd name="connsiteY8" fmla="*/ 173486 h 622132"/>
                  <a:gd name="connsiteX9" fmla="*/ 558536 w 648470"/>
                  <a:gd name="connsiteY9" fmla="*/ 232334 h 622132"/>
                  <a:gd name="connsiteX10" fmla="*/ 551702 w 648470"/>
                  <a:gd name="connsiteY10" fmla="*/ 284642 h 622132"/>
                  <a:gd name="connsiteX11" fmla="*/ 510598 w 648470"/>
                  <a:gd name="connsiteY11" fmla="*/ 308040 h 622132"/>
                  <a:gd name="connsiteX12" fmla="*/ 544108 w 648470"/>
                  <a:gd name="connsiteY12" fmla="*/ 343322 h 622132"/>
                  <a:gd name="connsiteX13" fmla="*/ 574930 w 648470"/>
                  <a:gd name="connsiteY13" fmla="*/ 334107 h 622132"/>
                  <a:gd name="connsiteX14" fmla="*/ 582646 w 648470"/>
                  <a:gd name="connsiteY14" fmla="*/ 361435 h 622132"/>
                  <a:gd name="connsiteX15" fmla="*/ 565443 w 648470"/>
                  <a:gd name="connsiteY15" fmla="*/ 374897 h 622132"/>
                  <a:gd name="connsiteX16" fmla="*/ 581052 w 648470"/>
                  <a:gd name="connsiteY16" fmla="*/ 389658 h 622132"/>
                  <a:gd name="connsiteX17" fmla="*/ 632311 w 648470"/>
                  <a:gd name="connsiteY17" fmla="*/ 399155 h 622132"/>
                  <a:gd name="connsiteX18" fmla="*/ 622318 w 648470"/>
                  <a:gd name="connsiteY18" fmla="*/ 437234 h 622132"/>
                  <a:gd name="connsiteX19" fmla="*/ 645548 w 648470"/>
                  <a:gd name="connsiteY19" fmla="*/ 455035 h 622132"/>
                  <a:gd name="connsiteX20" fmla="*/ 632995 w 648470"/>
                  <a:gd name="connsiteY20" fmla="*/ 472748 h 622132"/>
                  <a:gd name="connsiteX21" fmla="*/ 647804 w 648470"/>
                  <a:gd name="connsiteY21" fmla="*/ 485365 h 622132"/>
                  <a:gd name="connsiteX22" fmla="*/ 615476 w 648470"/>
                  <a:gd name="connsiteY22" fmla="*/ 494658 h 622132"/>
                  <a:gd name="connsiteX23" fmla="*/ 612027 w 648470"/>
                  <a:gd name="connsiteY23" fmla="*/ 512269 h 622132"/>
                  <a:gd name="connsiteX24" fmla="*/ 552825 w 648470"/>
                  <a:gd name="connsiteY24" fmla="*/ 508600 h 622132"/>
                  <a:gd name="connsiteX25" fmla="*/ 489167 w 648470"/>
                  <a:gd name="connsiteY25" fmla="*/ 558396 h 622132"/>
                  <a:gd name="connsiteX26" fmla="*/ 480885 w 648470"/>
                  <a:gd name="connsiteY26" fmla="*/ 604123 h 622132"/>
                  <a:gd name="connsiteX27" fmla="*/ 407039 w 648470"/>
                  <a:gd name="connsiteY27" fmla="*/ 621976 h 622132"/>
                  <a:gd name="connsiteX28" fmla="*/ 389431 w 648470"/>
                  <a:gd name="connsiteY28" fmla="*/ 556140 h 622132"/>
                  <a:gd name="connsiteX29" fmla="*/ 317578 w 648470"/>
                  <a:gd name="connsiteY29" fmla="*/ 556092 h 622132"/>
                  <a:gd name="connsiteX30" fmla="*/ 288906 w 648470"/>
                  <a:gd name="connsiteY30" fmla="*/ 534154 h 622132"/>
                  <a:gd name="connsiteX31" fmla="*/ 297721 w 648470"/>
                  <a:gd name="connsiteY31" fmla="*/ 556342 h 622132"/>
                  <a:gd name="connsiteX32" fmla="*/ 267789 w 648470"/>
                  <a:gd name="connsiteY32" fmla="*/ 533419 h 622132"/>
                  <a:gd name="connsiteX33" fmla="*/ 203708 w 648470"/>
                  <a:gd name="connsiteY33" fmla="*/ 559919 h 622132"/>
                  <a:gd name="connsiteX34" fmla="*/ 183890 w 648470"/>
                  <a:gd name="connsiteY34" fmla="*/ 540084 h 622132"/>
                  <a:gd name="connsiteX35" fmla="*/ 199412 w 648470"/>
                  <a:gd name="connsiteY35" fmla="*/ 525149 h 622132"/>
                  <a:gd name="connsiteX36" fmla="*/ 189137 w 648470"/>
                  <a:gd name="connsiteY36" fmla="*/ 503438 h 622132"/>
                  <a:gd name="connsiteX37" fmla="*/ 155178 w 648470"/>
                  <a:gd name="connsiteY37" fmla="*/ 546105 h 622132"/>
                  <a:gd name="connsiteX38" fmla="*/ 133508 w 648470"/>
                  <a:gd name="connsiteY38" fmla="*/ 522199 h 622132"/>
                  <a:gd name="connsiteX39" fmla="*/ 107142 w 648470"/>
                  <a:gd name="connsiteY39" fmla="*/ 527802 h 622132"/>
                  <a:gd name="connsiteX40" fmla="*/ 86265 w 648470"/>
                  <a:gd name="connsiteY40" fmla="*/ 514170 h 622132"/>
                  <a:gd name="connsiteX41" fmla="*/ 54189 w 648470"/>
                  <a:gd name="connsiteY41" fmla="*/ 540962 h 622132"/>
                  <a:gd name="connsiteX42" fmla="*/ 5053 w 648470"/>
                  <a:gd name="connsiteY42" fmla="*/ 476474 h 622132"/>
                  <a:gd name="connsiteX43" fmla="*/ 34449 w 648470"/>
                  <a:gd name="connsiteY43" fmla="*/ 391303 h 622132"/>
                  <a:gd name="connsiteX44" fmla="*/ -666 w 648470"/>
                  <a:gd name="connsiteY44" fmla="*/ 351596 h 622132"/>
                  <a:gd name="connsiteX45" fmla="*/ 29932 w 648470"/>
                  <a:gd name="connsiteY45" fmla="*/ 329751 h 622132"/>
                  <a:gd name="connsiteX46" fmla="*/ 39556 w 648470"/>
                  <a:gd name="connsiteY46" fmla="*/ 337607 h 622132"/>
                  <a:gd name="connsiteX47" fmla="*/ 48755 w 648470"/>
                  <a:gd name="connsiteY47" fmla="*/ 315668 h 622132"/>
                  <a:gd name="connsiteX48" fmla="*/ 111858 w 648470"/>
                  <a:gd name="connsiteY48" fmla="*/ 344492 h 622132"/>
                  <a:gd name="connsiteX49" fmla="*/ 141742 w 648470"/>
                  <a:gd name="connsiteY49" fmla="*/ 322604 h 622132"/>
                  <a:gd name="connsiteX50" fmla="*/ 149345 w 648470"/>
                  <a:gd name="connsiteY50" fmla="*/ 258366 h 622132"/>
                  <a:gd name="connsiteX51" fmla="*/ 126656 w 648470"/>
                  <a:gd name="connsiteY51" fmla="*/ 235024 h 622132"/>
                  <a:gd name="connsiteX52" fmla="*/ 200010 w 648470"/>
                  <a:gd name="connsiteY52" fmla="*/ 190017 h 622132"/>
                  <a:gd name="connsiteX53" fmla="*/ 199880 w 648470"/>
                  <a:gd name="connsiteY53" fmla="*/ 96165 h 622132"/>
                  <a:gd name="connsiteX54" fmla="*/ 209296 w 648470"/>
                  <a:gd name="connsiteY54" fmla="*/ 72644 h 622132"/>
                  <a:gd name="connsiteX55" fmla="*/ 259888 w 648470"/>
                  <a:gd name="connsiteY55" fmla="*/ 47922 h 622132"/>
                  <a:gd name="connsiteX56" fmla="*/ 258554 w 648470"/>
                  <a:gd name="connsiteY56" fmla="*/ -157 h 622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48470" h="622132">
                    <a:moveTo>
                      <a:pt x="258554" y="-156"/>
                    </a:moveTo>
                    <a:lnTo>
                      <a:pt x="326414" y="18746"/>
                    </a:lnTo>
                    <a:lnTo>
                      <a:pt x="357025" y="11120"/>
                    </a:lnTo>
                    <a:lnTo>
                      <a:pt x="392762" y="61126"/>
                    </a:lnTo>
                    <a:lnTo>
                      <a:pt x="414823" y="61249"/>
                    </a:lnTo>
                    <a:lnTo>
                      <a:pt x="430183" y="133932"/>
                    </a:lnTo>
                    <a:lnTo>
                      <a:pt x="486815" y="156182"/>
                    </a:lnTo>
                    <a:lnTo>
                      <a:pt x="497049" y="181986"/>
                    </a:lnTo>
                    <a:lnTo>
                      <a:pt x="511779" y="173486"/>
                    </a:lnTo>
                    <a:lnTo>
                      <a:pt x="558536" y="232334"/>
                    </a:lnTo>
                    <a:lnTo>
                      <a:pt x="551702" y="284642"/>
                    </a:lnTo>
                    <a:lnTo>
                      <a:pt x="510598" y="308040"/>
                    </a:lnTo>
                    <a:lnTo>
                      <a:pt x="544108" y="343322"/>
                    </a:lnTo>
                    <a:lnTo>
                      <a:pt x="574930" y="334107"/>
                    </a:lnTo>
                    <a:lnTo>
                      <a:pt x="582646" y="361435"/>
                    </a:lnTo>
                    <a:lnTo>
                      <a:pt x="565443" y="374897"/>
                    </a:lnTo>
                    <a:lnTo>
                      <a:pt x="581052" y="389658"/>
                    </a:lnTo>
                    <a:lnTo>
                      <a:pt x="632311" y="399155"/>
                    </a:lnTo>
                    <a:lnTo>
                      <a:pt x="622318" y="437234"/>
                    </a:lnTo>
                    <a:lnTo>
                      <a:pt x="645548" y="455035"/>
                    </a:lnTo>
                    <a:lnTo>
                      <a:pt x="632995" y="472748"/>
                    </a:lnTo>
                    <a:lnTo>
                      <a:pt x="647804" y="485365"/>
                    </a:lnTo>
                    <a:lnTo>
                      <a:pt x="615476" y="494658"/>
                    </a:lnTo>
                    <a:lnTo>
                      <a:pt x="612027" y="512269"/>
                    </a:lnTo>
                    <a:lnTo>
                      <a:pt x="552825" y="508600"/>
                    </a:lnTo>
                    <a:lnTo>
                      <a:pt x="489167" y="558396"/>
                    </a:lnTo>
                    <a:lnTo>
                      <a:pt x="480885" y="604123"/>
                    </a:lnTo>
                    <a:lnTo>
                      <a:pt x="407039" y="621976"/>
                    </a:lnTo>
                    <a:lnTo>
                      <a:pt x="389431" y="556140"/>
                    </a:lnTo>
                    <a:lnTo>
                      <a:pt x="317578" y="556092"/>
                    </a:lnTo>
                    <a:lnTo>
                      <a:pt x="288906" y="534154"/>
                    </a:lnTo>
                    <a:lnTo>
                      <a:pt x="297721" y="556342"/>
                    </a:lnTo>
                    <a:lnTo>
                      <a:pt x="267789" y="533419"/>
                    </a:lnTo>
                    <a:lnTo>
                      <a:pt x="203708" y="559919"/>
                    </a:lnTo>
                    <a:lnTo>
                      <a:pt x="183890" y="540084"/>
                    </a:lnTo>
                    <a:lnTo>
                      <a:pt x="199412" y="525149"/>
                    </a:lnTo>
                    <a:lnTo>
                      <a:pt x="189137" y="503438"/>
                    </a:lnTo>
                    <a:lnTo>
                      <a:pt x="155178" y="546105"/>
                    </a:lnTo>
                    <a:lnTo>
                      <a:pt x="133508" y="522199"/>
                    </a:lnTo>
                    <a:lnTo>
                      <a:pt x="107142" y="527802"/>
                    </a:lnTo>
                    <a:lnTo>
                      <a:pt x="86265" y="514170"/>
                    </a:lnTo>
                    <a:lnTo>
                      <a:pt x="54189" y="540962"/>
                    </a:lnTo>
                    <a:lnTo>
                      <a:pt x="5053" y="476474"/>
                    </a:lnTo>
                    <a:lnTo>
                      <a:pt x="34449" y="391303"/>
                    </a:lnTo>
                    <a:lnTo>
                      <a:pt x="-666" y="351596"/>
                    </a:lnTo>
                    <a:lnTo>
                      <a:pt x="29932" y="329751"/>
                    </a:lnTo>
                    <a:lnTo>
                      <a:pt x="39556" y="337607"/>
                    </a:lnTo>
                    <a:lnTo>
                      <a:pt x="48755" y="315668"/>
                    </a:lnTo>
                    <a:lnTo>
                      <a:pt x="111858" y="344492"/>
                    </a:lnTo>
                    <a:lnTo>
                      <a:pt x="141742" y="322604"/>
                    </a:lnTo>
                    <a:lnTo>
                      <a:pt x="149345" y="258366"/>
                    </a:lnTo>
                    <a:lnTo>
                      <a:pt x="126656" y="235024"/>
                    </a:lnTo>
                    <a:lnTo>
                      <a:pt x="200010" y="190017"/>
                    </a:lnTo>
                    <a:lnTo>
                      <a:pt x="199880" y="96165"/>
                    </a:lnTo>
                    <a:lnTo>
                      <a:pt x="209296" y="72644"/>
                    </a:lnTo>
                    <a:lnTo>
                      <a:pt x="259888" y="47922"/>
                    </a:lnTo>
                    <a:lnTo>
                      <a:pt x="258554" y="-157"/>
                    </a:lnTo>
                  </a:path>
                </a:pathLst>
              </a:custGeom>
              <a:solidFill>
                <a:srgbClr val="F7DE6E"/>
              </a:solidFill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" name="Республика Калмыкия">
                <a:extLst>
                  <a:ext uri="{FF2B5EF4-FFF2-40B4-BE49-F238E27FC236}">
                    <a16:creationId xmlns:a16="http://schemas.microsoft.com/office/drawing/2014/main" id="{9F66BA0E-E18A-4D2A-AE21-51FAEED4B488}"/>
                  </a:ext>
                </a:extLst>
              </p:cNvPr>
              <p:cNvSpPr/>
              <p:nvPr/>
            </p:nvSpPr>
            <p:spPr>
              <a:xfrm>
                <a:off x="987936" y="4170329"/>
                <a:ext cx="561981" cy="616302"/>
              </a:xfrm>
              <a:custGeom>
                <a:avLst/>
                <a:gdLst>
                  <a:gd name="connsiteX0" fmla="*/ 16303 w 561981"/>
                  <a:gd name="connsiteY0" fmla="*/ 11765 h 616302"/>
                  <a:gd name="connsiteX1" fmla="*/ 28862 w 561981"/>
                  <a:gd name="connsiteY1" fmla="*/ 33968 h 616302"/>
                  <a:gd name="connsiteX2" fmla="*/ 53836 w 561981"/>
                  <a:gd name="connsiteY2" fmla="*/ 25719 h 616302"/>
                  <a:gd name="connsiteX3" fmla="*/ 69083 w 561981"/>
                  <a:gd name="connsiteY3" fmla="*/ 42343 h 616302"/>
                  <a:gd name="connsiteX4" fmla="*/ 95748 w 561981"/>
                  <a:gd name="connsiteY4" fmla="*/ 11817 h 616302"/>
                  <a:gd name="connsiteX5" fmla="*/ 114711 w 561981"/>
                  <a:gd name="connsiteY5" fmla="*/ 75303 h 616302"/>
                  <a:gd name="connsiteX6" fmla="*/ 142292 w 561981"/>
                  <a:gd name="connsiteY6" fmla="*/ 86775 h 616302"/>
                  <a:gd name="connsiteX7" fmla="*/ 141045 w 561981"/>
                  <a:gd name="connsiteY7" fmla="*/ 148834 h 616302"/>
                  <a:gd name="connsiteX8" fmla="*/ 163742 w 561981"/>
                  <a:gd name="connsiteY8" fmla="*/ 170623 h 616302"/>
                  <a:gd name="connsiteX9" fmla="*/ 198182 w 561981"/>
                  <a:gd name="connsiteY9" fmla="*/ 154155 h 616302"/>
                  <a:gd name="connsiteX10" fmla="*/ 191936 w 561981"/>
                  <a:gd name="connsiteY10" fmla="*/ 178543 h 616302"/>
                  <a:gd name="connsiteX11" fmla="*/ 204738 w 561981"/>
                  <a:gd name="connsiteY11" fmla="*/ 180866 h 616302"/>
                  <a:gd name="connsiteX12" fmla="*/ 222054 w 561981"/>
                  <a:gd name="connsiteY12" fmla="*/ 142120 h 616302"/>
                  <a:gd name="connsiteX13" fmla="*/ 291852 w 561981"/>
                  <a:gd name="connsiteY13" fmla="*/ 140718 h 616302"/>
                  <a:gd name="connsiteX14" fmla="*/ 360410 w 561981"/>
                  <a:gd name="connsiteY14" fmla="*/ 81649 h 616302"/>
                  <a:gd name="connsiteX15" fmla="*/ 354684 w 561981"/>
                  <a:gd name="connsiteY15" fmla="*/ 61040 h 616302"/>
                  <a:gd name="connsiteX16" fmla="*/ 339973 w 561981"/>
                  <a:gd name="connsiteY16" fmla="*/ 75249 h 616302"/>
                  <a:gd name="connsiteX17" fmla="*/ 298617 w 561981"/>
                  <a:gd name="connsiteY17" fmla="*/ 65252 h 616302"/>
                  <a:gd name="connsiteX18" fmla="*/ 343278 w 561981"/>
                  <a:gd name="connsiteY18" fmla="*/ 10575 h 616302"/>
                  <a:gd name="connsiteX19" fmla="*/ 364156 w 561981"/>
                  <a:gd name="connsiteY19" fmla="*/ 24207 h 616302"/>
                  <a:gd name="connsiteX20" fmla="*/ 390521 w 561981"/>
                  <a:gd name="connsiteY20" fmla="*/ 18604 h 616302"/>
                  <a:gd name="connsiteX21" fmla="*/ 405473 w 561981"/>
                  <a:gd name="connsiteY21" fmla="*/ 44020 h 616302"/>
                  <a:gd name="connsiteX22" fmla="*/ 446151 w 561981"/>
                  <a:gd name="connsiteY22" fmla="*/ -157 h 616302"/>
                  <a:gd name="connsiteX23" fmla="*/ 456425 w 561981"/>
                  <a:gd name="connsiteY23" fmla="*/ 21554 h 616302"/>
                  <a:gd name="connsiteX24" fmla="*/ 440903 w 561981"/>
                  <a:gd name="connsiteY24" fmla="*/ 36489 h 616302"/>
                  <a:gd name="connsiteX25" fmla="*/ 460722 w 561981"/>
                  <a:gd name="connsiteY25" fmla="*/ 56324 h 616302"/>
                  <a:gd name="connsiteX26" fmla="*/ 496058 w 561981"/>
                  <a:gd name="connsiteY26" fmla="*/ 43142 h 616302"/>
                  <a:gd name="connsiteX27" fmla="*/ 509204 w 561981"/>
                  <a:gd name="connsiteY27" fmla="*/ 115654 h 616302"/>
                  <a:gd name="connsiteX28" fmla="*/ 525377 w 561981"/>
                  <a:gd name="connsiteY28" fmla="*/ 124668 h 616302"/>
                  <a:gd name="connsiteX29" fmla="*/ 501305 w 561981"/>
                  <a:gd name="connsiteY29" fmla="*/ 169005 h 616302"/>
                  <a:gd name="connsiteX30" fmla="*/ 501083 w 561981"/>
                  <a:gd name="connsiteY30" fmla="*/ 233946 h 616302"/>
                  <a:gd name="connsiteX31" fmla="*/ 554448 w 561981"/>
                  <a:gd name="connsiteY31" fmla="*/ 244841 h 616302"/>
                  <a:gd name="connsiteX32" fmla="*/ 561316 w 561981"/>
                  <a:gd name="connsiteY32" fmla="*/ 263693 h 616302"/>
                  <a:gd name="connsiteX33" fmla="*/ 519849 w 561981"/>
                  <a:gd name="connsiteY33" fmla="*/ 255704 h 616302"/>
                  <a:gd name="connsiteX34" fmla="*/ 497143 w 561981"/>
                  <a:gd name="connsiteY34" fmla="*/ 322639 h 616302"/>
                  <a:gd name="connsiteX35" fmla="*/ 503644 w 561981"/>
                  <a:gd name="connsiteY35" fmla="*/ 383620 h 616302"/>
                  <a:gd name="connsiteX36" fmla="*/ 458617 w 561981"/>
                  <a:gd name="connsiteY36" fmla="*/ 379143 h 616302"/>
                  <a:gd name="connsiteX37" fmla="*/ 450084 w 561981"/>
                  <a:gd name="connsiteY37" fmla="*/ 395389 h 616302"/>
                  <a:gd name="connsiteX38" fmla="*/ 392883 w 561981"/>
                  <a:gd name="connsiteY38" fmla="*/ 368383 h 616302"/>
                  <a:gd name="connsiteX39" fmla="*/ 359663 w 561981"/>
                  <a:gd name="connsiteY39" fmla="*/ 411034 h 616302"/>
                  <a:gd name="connsiteX40" fmla="*/ 340284 w 561981"/>
                  <a:gd name="connsiteY40" fmla="*/ 403908 h 616302"/>
                  <a:gd name="connsiteX41" fmla="*/ 348089 w 561981"/>
                  <a:gd name="connsiteY41" fmla="*/ 437282 h 616302"/>
                  <a:gd name="connsiteX42" fmla="*/ 331338 w 561981"/>
                  <a:gd name="connsiteY42" fmla="*/ 446975 h 616302"/>
                  <a:gd name="connsiteX43" fmla="*/ 344119 w 561981"/>
                  <a:gd name="connsiteY43" fmla="*/ 483325 h 616302"/>
                  <a:gd name="connsiteX44" fmla="*/ 410195 w 561981"/>
                  <a:gd name="connsiteY44" fmla="*/ 526274 h 616302"/>
                  <a:gd name="connsiteX45" fmla="*/ 385504 w 561981"/>
                  <a:gd name="connsiteY45" fmla="*/ 556684 h 616302"/>
                  <a:gd name="connsiteX46" fmla="*/ 393229 w 561981"/>
                  <a:gd name="connsiteY46" fmla="*/ 594519 h 616302"/>
                  <a:gd name="connsiteX47" fmla="*/ 370137 w 561981"/>
                  <a:gd name="connsiteY47" fmla="*/ 585006 h 616302"/>
                  <a:gd name="connsiteX48" fmla="*/ 292093 w 561981"/>
                  <a:gd name="connsiteY48" fmla="*/ 616146 h 616302"/>
                  <a:gd name="connsiteX49" fmla="*/ 257966 w 561981"/>
                  <a:gd name="connsiteY49" fmla="*/ 575214 h 616302"/>
                  <a:gd name="connsiteX50" fmla="*/ 251189 w 561981"/>
                  <a:gd name="connsiteY50" fmla="*/ 531167 h 616302"/>
                  <a:gd name="connsiteX51" fmla="*/ 191888 w 561981"/>
                  <a:gd name="connsiteY51" fmla="*/ 464371 h 616302"/>
                  <a:gd name="connsiteX52" fmla="*/ 198959 w 561981"/>
                  <a:gd name="connsiteY52" fmla="*/ 438897 h 616302"/>
                  <a:gd name="connsiteX53" fmla="*/ 146504 w 561981"/>
                  <a:gd name="connsiteY53" fmla="*/ 292213 h 616302"/>
                  <a:gd name="connsiteX54" fmla="*/ 159772 w 561981"/>
                  <a:gd name="connsiteY54" fmla="*/ 217896 h 616302"/>
                  <a:gd name="connsiteX55" fmla="*/ 130779 w 561981"/>
                  <a:gd name="connsiteY55" fmla="*/ 178304 h 616302"/>
                  <a:gd name="connsiteX56" fmla="*/ 118383 w 561981"/>
                  <a:gd name="connsiteY56" fmla="*/ 109322 h 616302"/>
                  <a:gd name="connsiteX57" fmla="*/ 64203 w 561981"/>
                  <a:gd name="connsiteY57" fmla="*/ 103871 h 616302"/>
                  <a:gd name="connsiteX58" fmla="*/ 42427 w 561981"/>
                  <a:gd name="connsiteY58" fmla="*/ 89133 h 616302"/>
                  <a:gd name="connsiteX59" fmla="*/ 62220 w 561981"/>
                  <a:gd name="connsiteY59" fmla="*/ 72251 h 616302"/>
                  <a:gd name="connsiteX60" fmla="*/ 47826 w 561981"/>
                  <a:gd name="connsiteY60" fmla="*/ 62036 h 616302"/>
                  <a:gd name="connsiteX61" fmla="*/ 20392 w 561981"/>
                  <a:gd name="connsiteY61" fmla="*/ 73912 h 616302"/>
                  <a:gd name="connsiteX62" fmla="*/ -666 w 561981"/>
                  <a:gd name="connsiteY62" fmla="*/ 38988 h 616302"/>
                  <a:gd name="connsiteX63" fmla="*/ 16303 w 561981"/>
                  <a:gd name="connsiteY63" fmla="*/ 11765 h 61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61981" h="616302">
                    <a:moveTo>
                      <a:pt x="16303" y="11765"/>
                    </a:moveTo>
                    <a:lnTo>
                      <a:pt x="28862" y="33968"/>
                    </a:lnTo>
                    <a:lnTo>
                      <a:pt x="53836" y="25719"/>
                    </a:lnTo>
                    <a:lnTo>
                      <a:pt x="69083" y="42343"/>
                    </a:lnTo>
                    <a:lnTo>
                      <a:pt x="95748" y="11817"/>
                    </a:lnTo>
                    <a:lnTo>
                      <a:pt x="114711" y="75303"/>
                    </a:lnTo>
                    <a:lnTo>
                      <a:pt x="142292" y="86775"/>
                    </a:lnTo>
                    <a:lnTo>
                      <a:pt x="141045" y="148834"/>
                    </a:lnTo>
                    <a:lnTo>
                      <a:pt x="163742" y="170623"/>
                    </a:lnTo>
                    <a:lnTo>
                      <a:pt x="198182" y="154155"/>
                    </a:lnTo>
                    <a:lnTo>
                      <a:pt x="191936" y="178543"/>
                    </a:lnTo>
                    <a:lnTo>
                      <a:pt x="204738" y="180866"/>
                    </a:lnTo>
                    <a:lnTo>
                      <a:pt x="222054" y="142120"/>
                    </a:lnTo>
                    <a:lnTo>
                      <a:pt x="291852" y="140718"/>
                    </a:lnTo>
                    <a:lnTo>
                      <a:pt x="360410" y="81649"/>
                    </a:lnTo>
                    <a:lnTo>
                      <a:pt x="354684" y="61040"/>
                    </a:lnTo>
                    <a:lnTo>
                      <a:pt x="339973" y="75249"/>
                    </a:lnTo>
                    <a:lnTo>
                      <a:pt x="298617" y="65252"/>
                    </a:lnTo>
                    <a:lnTo>
                      <a:pt x="343278" y="10575"/>
                    </a:lnTo>
                    <a:lnTo>
                      <a:pt x="364156" y="24207"/>
                    </a:lnTo>
                    <a:lnTo>
                      <a:pt x="390521" y="18604"/>
                    </a:lnTo>
                    <a:lnTo>
                      <a:pt x="405473" y="44020"/>
                    </a:lnTo>
                    <a:lnTo>
                      <a:pt x="446151" y="-157"/>
                    </a:lnTo>
                    <a:lnTo>
                      <a:pt x="456425" y="21554"/>
                    </a:lnTo>
                    <a:lnTo>
                      <a:pt x="440903" y="36489"/>
                    </a:lnTo>
                    <a:lnTo>
                      <a:pt x="460722" y="56324"/>
                    </a:lnTo>
                    <a:lnTo>
                      <a:pt x="496058" y="43142"/>
                    </a:lnTo>
                    <a:lnTo>
                      <a:pt x="509204" y="115654"/>
                    </a:lnTo>
                    <a:lnTo>
                      <a:pt x="525377" y="124668"/>
                    </a:lnTo>
                    <a:lnTo>
                      <a:pt x="501305" y="169005"/>
                    </a:lnTo>
                    <a:lnTo>
                      <a:pt x="501083" y="233946"/>
                    </a:lnTo>
                    <a:lnTo>
                      <a:pt x="554448" y="244841"/>
                    </a:lnTo>
                    <a:lnTo>
                      <a:pt x="561316" y="263693"/>
                    </a:lnTo>
                    <a:lnTo>
                      <a:pt x="519849" y="255704"/>
                    </a:lnTo>
                    <a:lnTo>
                      <a:pt x="497143" y="322639"/>
                    </a:lnTo>
                    <a:lnTo>
                      <a:pt x="503644" y="383620"/>
                    </a:lnTo>
                    <a:lnTo>
                      <a:pt x="458617" y="379143"/>
                    </a:lnTo>
                    <a:lnTo>
                      <a:pt x="450084" y="395389"/>
                    </a:lnTo>
                    <a:lnTo>
                      <a:pt x="392883" y="368383"/>
                    </a:lnTo>
                    <a:lnTo>
                      <a:pt x="359663" y="411034"/>
                    </a:lnTo>
                    <a:lnTo>
                      <a:pt x="340284" y="403908"/>
                    </a:lnTo>
                    <a:lnTo>
                      <a:pt x="348089" y="437282"/>
                    </a:lnTo>
                    <a:lnTo>
                      <a:pt x="331338" y="446975"/>
                    </a:lnTo>
                    <a:lnTo>
                      <a:pt x="344119" y="483325"/>
                    </a:lnTo>
                    <a:lnTo>
                      <a:pt x="410195" y="526274"/>
                    </a:lnTo>
                    <a:lnTo>
                      <a:pt x="385504" y="556684"/>
                    </a:lnTo>
                    <a:lnTo>
                      <a:pt x="393229" y="594519"/>
                    </a:lnTo>
                    <a:lnTo>
                      <a:pt x="370137" y="585006"/>
                    </a:lnTo>
                    <a:lnTo>
                      <a:pt x="292093" y="616146"/>
                    </a:lnTo>
                    <a:lnTo>
                      <a:pt x="257966" y="575214"/>
                    </a:lnTo>
                    <a:lnTo>
                      <a:pt x="251189" y="531167"/>
                    </a:lnTo>
                    <a:lnTo>
                      <a:pt x="191888" y="464371"/>
                    </a:lnTo>
                    <a:lnTo>
                      <a:pt x="198959" y="438897"/>
                    </a:lnTo>
                    <a:lnTo>
                      <a:pt x="146504" y="292213"/>
                    </a:lnTo>
                    <a:lnTo>
                      <a:pt x="159772" y="217896"/>
                    </a:lnTo>
                    <a:lnTo>
                      <a:pt x="130779" y="178304"/>
                    </a:lnTo>
                    <a:lnTo>
                      <a:pt x="118383" y="109322"/>
                    </a:lnTo>
                    <a:lnTo>
                      <a:pt x="64203" y="103871"/>
                    </a:lnTo>
                    <a:lnTo>
                      <a:pt x="42427" y="89133"/>
                    </a:lnTo>
                    <a:lnTo>
                      <a:pt x="62220" y="72251"/>
                    </a:lnTo>
                    <a:lnTo>
                      <a:pt x="47826" y="62036"/>
                    </a:lnTo>
                    <a:lnTo>
                      <a:pt x="20392" y="73912"/>
                    </a:lnTo>
                    <a:lnTo>
                      <a:pt x="-666" y="38988"/>
                    </a:lnTo>
                    <a:lnTo>
                      <a:pt x="16303" y="11765"/>
                    </a:lnTo>
                  </a:path>
                </a:pathLst>
              </a:custGeom>
              <a:solidFill>
                <a:srgbClr val="F7DE6E"/>
              </a:solidFill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" name="Астраханская область">
                <a:extLst>
                  <a:ext uri="{FF2B5EF4-FFF2-40B4-BE49-F238E27FC236}">
                    <a16:creationId xmlns:a16="http://schemas.microsoft.com/office/drawing/2014/main" id="{A0838189-73D7-41F1-8200-E98C42D98B59}"/>
                  </a:ext>
                </a:extLst>
              </p:cNvPr>
              <p:cNvSpPr/>
              <p:nvPr/>
            </p:nvSpPr>
            <p:spPr>
              <a:xfrm>
                <a:off x="1319940" y="4200310"/>
                <a:ext cx="347254" cy="621393"/>
              </a:xfrm>
              <a:custGeom>
                <a:avLst/>
                <a:gdLst>
                  <a:gd name="connsiteX0" fmla="*/ 164055 w 347254"/>
                  <a:gd name="connsiteY0" fmla="*/ 13161 h 621393"/>
                  <a:gd name="connsiteX1" fmla="*/ 192799 w 347254"/>
                  <a:gd name="connsiteY1" fmla="*/ -157 h 621393"/>
                  <a:gd name="connsiteX2" fmla="*/ 222731 w 347254"/>
                  <a:gd name="connsiteY2" fmla="*/ 22766 h 621393"/>
                  <a:gd name="connsiteX3" fmla="*/ 213954 w 347254"/>
                  <a:gd name="connsiteY3" fmla="*/ 445 h 621393"/>
                  <a:gd name="connsiteX4" fmla="*/ 261198 w 347254"/>
                  <a:gd name="connsiteY4" fmla="*/ 26406 h 621393"/>
                  <a:gd name="connsiteX5" fmla="*/ 310778 w 347254"/>
                  <a:gd name="connsiteY5" fmla="*/ 20306 h 621393"/>
                  <a:gd name="connsiteX6" fmla="*/ 329721 w 347254"/>
                  <a:gd name="connsiteY6" fmla="*/ 46549 h 621393"/>
                  <a:gd name="connsiteX7" fmla="*/ 332048 w 347254"/>
                  <a:gd name="connsiteY7" fmla="*/ 88399 h 621393"/>
                  <a:gd name="connsiteX8" fmla="*/ 295622 w 347254"/>
                  <a:gd name="connsiteY8" fmla="*/ 106519 h 621393"/>
                  <a:gd name="connsiteX9" fmla="*/ 325554 w 347254"/>
                  <a:gd name="connsiteY9" fmla="*/ 170167 h 621393"/>
                  <a:gd name="connsiteX10" fmla="*/ 305673 w 347254"/>
                  <a:gd name="connsiteY10" fmla="*/ 186983 h 621393"/>
                  <a:gd name="connsiteX11" fmla="*/ 312438 w 347254"/>
                  <a:gd name="connsiteY11" fmla="*/ 197472 h 621393"/>
                  <a:gd name="connsiteX12" fmla="*/ 290189 w 347254"/>
                  <a:gd name="connsiteY12" fmla="*/ 196678 h 621393"/>
                  <a:gd name="connsiteX13" fmla="*/ 276641 w 347254"/>
                  <a:gd name="connsiteY13" fmla="*/ 232983 h 621393"/>
                  <a:gd name="connsiteX14" fmla="*/ 282303 w 347254"/>
                  <a:gd name="connsiteY14" fmla="*/ 255732 h 621393"/>
                  <a:gd name="connsiteX15" fmla="*/ 300985 w 347254"/>
                  <a:gd name="connsiteY15" fmla="*/ 240700 h 621393"/>
                  <a:gd name="connsiteX16" fmla="*/ 346588 w 347254"/>
                  <a:gd name="connsiteY16" fmla="*/ 300081 h 621393"/>
                  <a:gd name="connsiteX17" fmla="*/ 342402 w 347254"/>
                  <a:gd name="connsiteY17" fmla="*/ 367480 h 621393"/>
                  <a:gd name="connsiteX18" fmla="*/ 314561 w 347254"/>
                  <a:gd name="connsiteY18" fmla="*/ 478524 h 621393"/>
                  <a:gd name="connsiteX19" fmla="*/ 285192 w 347254"/>
                  <a:gd name="connsiteY19" fmla="*/ 468184 h 621393"/>
                  <a:gd name="connsiteX20" fmla="*/ 274938 w 347254"/>
                  <a:gd name="connsiteY20" fmla="*/ 445520 h 621393"/>
                  <a:gd name="connsiteX21" fmla="*/ 255542 w 347254"/>
                  <a:gd name="connsiteY21" fmla="*/ 468857 h 621393"/>
                  <a:gd name="connsiteX22" fmla="*/ 286169 w 347254"/>
                  <a:gd name="connsiteY22" fmla="*/ 530369 h 621393"/>
                  <a:gd name="connsiteX23" fmla="*/ 286294 w 347254"/>
                  <a:gd name="connsiteY23" fmla="*/ 613433 h 621393"/>
                  <a:gd name="connsiteX24" fmla="*/ 207535 w 347254"/>
                  <a:gd name="connsiteY24" fmla="*/ 607355 h 621393"/>
                  <a:gd name="connsiteX25" fmla="*/ 165663 w 347254"/>
                  <a:gd name="connsiteY25" fmla="*/ 621237 h 621393"/>
                  <a:gd name="connsiteX26" fmla="*/ 114948 w 347254"/>
                  <a:gd name="connsiteY26" fmla="*/ 573981 h 621393"/>
                  <a:gd name="connsiteX27" fmla="*/ 70563 w 347254"/>
                  <a:gd name="connsiteY27" fmla="*/ 571850 h 621393"/>
                  <a:gd name="connsiteX28" fmla="*/ 53500 w 347254"/>
                  <a:gd name="connsiteY28" fmla="*/ 526704 h 621393"/>
                  <a:gd name="connsiteX29" fmla="*/ 78191 w 347254"/>
                  <a:gd name="connsiteY29" fmla="*/ 496293 h 621393"/>
                  <a:gd name="connsiteX30" fmla="*/ 12115 w 347254"/>
                  <a:gd name="connsiteY30" fmla="*/ 453344 h 621393"/>
                  <a:gd name="connsiteX31" fmla="*/ -666 w 347254"/>
                  <a:gd name="connsiteY31" fmla="*/ 416994 h 621393"/>
                  <a:gd name="connsiteX32" fmla="*/ 16086 w 347254"/>
                  <a:gd name="connsiteY32" fmla="*/ 407301 h 621393"/>
                  <a:gd name="connsiteX33" fmla="*/ 8280 w 347254"/>
                  <a:gd name="connsiteY33" fmla="*/ 373927 h 621393"/>
                  <a:gd name="connsiteX34" fmla="*/ 27659 w 347254"/>
                  <a:gd name="connsiteY34" fmla="*/ 381053 h 621393"/>
                  <a:gd name="connsiteX35" fmla="*/ 60880 w 347254"/>
                  <a:gd name="connsiteY35" fmla="*/ 338402 h 621393"/>
                  <a:gd name="connsiteX36" fmla="*/ 118080 w 347254"/>
                  <a:gd name="connsiteY36" fmla="*/ 365408 h 621393"/>
                  <a:gd name="connsiteX37" fmla="*/ 126613 w 347254"/>
                  <a:gd name="connsiteY37" fmla="*/ 349162 h 621393"/>
                  <a:gd name="connsiteX38" fmla="*/ 171641 w 347254"/>
                  <a:gd name="connsiteY38" fmla="*/ 353640 h 621393"/>
                  <a:gd name="connsiteX39" fmla="*/ 165140 w 347254"/>
                  <a:gd name="connsiteY39" fmla="*/ 292658 h 621393"/>
                  <a:gd name="connsiteX40" fmla="*/ 187846 w 347254"/>
                  <a:gd name="connsiteY40" fmla="*/ 225723 h 621393"/>
                  <a:gd name="connsiteX41" fmla="*/ 229312 w 347254"/>
                  <a:gd name="connsiteY41" fmla="*/ 233712 h 621393"/>
                  <a:gd name="connsiteX42" fmla="*/ 222444 w 347254"/>
                  <a:gd name="connsiteY42" fmla="*/ 214861 h 621393"/>
                  <a:gd name="connsiteX43" fmla="*/ 169080 w 347254"/>
                  <a:gd name="connsiteY43" fmla="*/ 203965 h 621393"/>
                  <a:gd name="connsiteX44" fmla="*/ 169301 w 347254"/>
                  <a:gd name="connsiteY44" fmla="*/ 139024 h 621393"/>
                  <a:gd name="connsiteX45" fmla="*/ 193374 w 347254"/>
                  <a:gd name="connsiteY45" fmla="*/ 94687 h 621393"/>
                  <a:gd name="connsiteX46" fmla="*/ 177200 w 347254"/>
                  <a:gd name="connsiteY46" fmla="*/ 85674 h 621393"/>
                  <a:gd name="connsiteX47" fmla="*/ 164055 w 347254"/>
                  <a:gd name="connsiteY47" fmla="*/ 13161 h 621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347254" h="621393">
                    <a:moveTo>
                      <a:pt x="164055" y="13161"/>
                    </a:moveTo>
                    <a:lnTo>
                      <a:pt x="192799" y="-157"/>
                    </a:lnTo>
                    <a:lnTo>
                      <a:pt x="222731" y="22766"/>
                    </a:lnTo>
                    <a:lnTo>
                      <a:pt x="213954" y="445"/>
                    </a:lnTo>
                    <a:lnTo>
                      <a:pt x="261198" y="26406"/>
                    </a:lnTo>
                    <a:lnTo>
                      <a:pt x="310778" y="20306"/>
                    </a:lnTo>
                    <a:lnTo>
                      <a:pt x="329721" y="46549"/>
                    </a:lnTo>
                    <a:lnTo>
                      <a:pt x="332048" y="88399"/>
                    </a:lnTo>
                    <a:lnTo>
                      <a:pt x="295622" y="106519"/>
                    </a:lnTo>
                    <a:lnTo>
                      <a:pt x="325554" y="170167"/>
                    </a:lnTo>
                    <a:lnTo>
                      <a:pt x="305673" y="186983"/>
                    </a:lnTo>
                    <a:lnTo>
                      <a:pt x="312438" y="197472"/>
                    </a:lnTo>
                    <a:lnTo>
                      <a:pt x="290189" y="196678"/>
                    </a:lnTo>
                    <a:lnTo>
                      <a:pt x="276641" y="232983"/>
                    </a:lnTo>
                    <a:lnTo>
                      <a:pt x="282303" y="255732"/>
                    </a:lnTo>
                    <a:lnTo>
                      <a:pt x="300985" y="240700"/>
                    </a:lnTo>
                    <a:lnTo>
                      <a:pt x="346588" y="300081"/>
                    </a:lnTo>
                    <a:lnTo>
                      <a:pt x="342402" y="367480"/>
                    </a:lnTo>
                    <a:lnTo>
                      <a:pt x="314561" y="478524"/>
                    </a:lnTo>
                    <a:lnTo>
                      <a:pt x="285192" y="468184"/>
                    </a:lnTo>
                    <a:lnTo>
                      <a:pt x="274938" y="445520"/>
                    </a:lnTo>
                    <a:lnTo>
                      <a:pt x="255542" y="468857"/>
                    </a:lnTo>
                    <a:lnTo>
                      <a:pt x="286169" y="530369"/>
                    </a:lnTo>
                    <a:lnTo>
                      <a:pt x="286294" y="613433"/>
                    </a:lnTo>
                    <a:lnTo>
                      <a:pt x="207535" y="607355"/>
                    </a:lnTo>
                    <a:lnTo>
                      <a:pt x="165663" y="621237"/>
                    </a:lnTo>
                    <a:lnTo>
                      <a:pt x="114948" y="573981"/>
                    </a:lnTo>
                    <a:lnTo>
                      <a:pt x="70563" y="571850"/>
                    </a:lnTo>
                    <a:lnTo>
                      <a:pt x="53500" y="526704"/>
                    </a:lnTo>
                    <a:lnTo>
                      <a:pt x="78191" y="496293"/>
                    </a:lnTo>
                    <a:lnTo>
                      <a:pt x="12115" y="453344"/>
                    </a:lnTo>
                    <a:lnTo>
                      <a:pt x="-666" y="416994"/>
                    </a:lnTo>
                    <a:lnTo>
                      <a:pt x="16086" y="407301"/>
                    </a:lnTo>
                    <a:lnTo>
                      <a:pt x="8280" y="373927"/>
                    </a:lnTo>
                    <a:lnTo>
                      <a:pt x="27659" y="381053"/>
                    </a:lnTo>
                    <a:lnTo>
                      <a:pt x="60880" y="338402"/>
                    </a:lnTo>
                    <a:lnTo>
                      <a:pt x="118080" y="365408"/>
                    </a:lnTo>
                    <a:lnTo>
                      <a:pt x="126613" y="349162"/>
                    </a:lnTo>
                    <a:lnTo>
                      <a:pt x="171641" y="353640"/>
                    </a:lnTo>
                    <a:lnTo>
                      <a:pt x="165140" y="292658"/>
                    </a:lnTo>
                    <a:lnTo>
                      <a:pt x="187846" y="225723"/>
                    </a:lnTo>
                    <a:lnTo>
                      <a:pt x="229312" y="233712"/>
                    </a:lnTo>
                    <a:lnTo>
                      <a:pt x="222444" y="214861"/>
                    </a:lnTo>
                    <a:lnTo>
                      <a:pt x="169080" y="203965"/>
                    </a:lnTo>
                    <a:lnTo>
                      <a:pt x="169301" y="139024"/>
                    </a:lnTo>
                    <a:lnTo>
                      <a:pt x="193374" y="94687"/>
                    </a:lnTo>
                    <a:lnTo>
                      <a:pt x="177200" y="85674"/>
                    </a:lnTo>
                    <a:lnTo>
                      <a:pt x="164055" y="13161"/>
                    </a:lnTo>
                  </a:path>
                </a:pathLst>
              </a:custGeom>
              <a:solidFill>
                <a:srgbClr val="F7DE6E"/>
              </a:solidFill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777" name="Новороссия">
              <a:extLst>
                <a:ext uri="{FF2B5EF4-FFF2-40B4-BE49-F238E27FC236}">
                  <a16:creationId xmlns:a16="http://schemas.microsoft.com/office/drawing/2014/main" id="{8E1317E4-9FA1-4CC7-9DD8-DCF9575F1DD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6344" y="3279101"/>
              <a:ext cx="984423" cy="582462"/>
              <a:chOff x="316344" y="3279101"/>
              <a:chExt cx="984423" cy="582462"/>
            </a:xfrm>
            <a:solidFill>
              <a:srgbClr val="BDB2A8"/>
            </a:solidFill>
          </p:grpSpPr>
          <p:sp>
            <p:nvSpPr>
              <p:cNvPr id="127" name="Луганская">
                <a:extLst>
                  <a:ext uri="{FF2B5EF4-FFF2-40B4-BE49-F238E27FC236}">
                    <a16:creationId xmlns:a16="http://schemas.microsoft.com/office/drawing/2014/main" id="{CA6A95E5-CADC-47A5-916F-6300C7D90C2F}"/>
                  </a:ext>
                </a:extLst>
              </p:cNvPr>
              <p:cNvSpPr/>
              <p:nvPr/>
            </p:nvSpPr>
            <p:spPr>
              <a:xfrm>
                <a:off x="1026291" y="3504458"/>
                <a:ext cx="274476" cy="357105"/>
              </a:xfrm>
              <a:custGeom>
                <a:avLst/>
                <a:gdLst>
                  <a:gd name="connsiteX0" fmla="*/ 105510 w 274476"/>
                  <a:gd name="connsiteY0" fmla="*/ 45437 h 357105"/>
                  <a:gd name="connsiteX1" fmla="*/ 108174 w 274476"/>
                  <a:gd name="connsiteY1" fmla="*/ 45756 h 357105"/>
                  <a:gd name="connsiteX2" fmla="*/ 108437 w 274476"/>
                  <a:gd name="connsiteY2" fmla="*/ 44702 h 357105"/>
                  <a:gd name="connsiteX3" fmla="*/ 108421 w 274476"/>
                  <a:gd name="connsiteY3" fmla="*/ 43687 h 357105"/>
                  <a:gd name="connsiteX4" fmla="*/ 108574 w 274476"/>
                  <a:gd name="connsiteY4" fmla="*/ 42848 h 357105"/>
                  <a:gd name="connsiteX5" fmla="*/ 109502 w 274476"/>
                  <a:gd name="connsiteY5" fmla="*/ 42283 h 357105"/>
                  <a:gd name="connsiteX6" fmla="*/ 111445 w 274476"/>
                  <a:gd name="connsiteY6" fmla="*/ 42588 h 357105"/>
                  <a:gd name="connsiteX7" fmla="*/ 112374 w 274476"/>
                  <a:gd name="connsiteY7" fmla="*/ 44319 h 357105"/>
                  <a:gd name="connsiteX8" fmla="*/ 112759 w 274476"/>
                  <a:gd name="connsiteY8" fmla="*/ 45978 h 357105"/>
                  <a:gd name="connsiteX9" fmla="*/ 114793 w 274476"/>
                  <a:gd name="connsiteY9" fmla="*/ 46723 h 357105"/>
                  <a:gd name="connsiteX10" fmla="*/ 116515 w 274476"/>
                  <a:gd name="connsiteY10" fmla="*/ 46168 h 357105"/>
                  <a:gd name="connsiteX11" fmla="*/ 119034 w 274476"/>
                  <a:gd name="connsiteY11" fmla="*/ 43744 h 357105"/>
                  <a:gd name="connsiteX12" fmla="*/ 121295 w 274476"/>
                  <a:gd name="connsiteY12" fmla="*/ 41983 h 357105"/>
                  <a:gd name="connsiteX13" fmla="*/ 125073 w 274476"/>
                  <a:gd name="connsiteY13" fmla="*/ 40632 h 357105"/>
                  <a:gd name="connsiteX14" fmla="*/ 132252 w 274476"/>
                  <a:gd name="connsiteY14" fmla="*/ 44021 h 357105"/>
                  <a:gd name="connsiteX15" fmla="*/ 132924 w 274476"/>
                  <a:gd name="connsiteY15" fmla="*/ 36034 h 357105"/>
                  <a:gd name="connsiteX16" fmla="*/ 131882 w 274476"/>
                  <a:gd name="connsiteY16" fmla="*/ 29404 h 357105"/>
                  <a:gd name="connsiteX17" fmla="*/ 138357 w 274476"/>
                  <a:gd name="connsiteY17" fmla="*/ 27895 h 357105"/>
                  <a:gd name="connsiteX18" fmla="*/ 145146 w 274476"/>
                  <a:gd name="connsiteY18" fmla="*/ 29982 h 357105"/>
                  <a:gd name="connsiteX19" fmla="*/ 148161 w 274476"/>
                  <a:gd name="connsiteY19" fmla="*/ 21546 h 357105"/>
                  <a:gd name="connsiteX20" fmla="*/ 155469 w 274476"/>
                  <a:gd name="connsiteY20" fmla="*/ 18075 h 357105"/>
                  <a:gd name="connsiteX21" fmla="*/ 155469 w 274476"/>
                  <a:gd name="connsiteY21" fmla="*/ 18075 h 357105"/>
                  <a:gd name="connsiteX22" fmla="*/ 170942 w 274476"/>
                  <a:gd name="connsiteY22" fmla="*/ 14036 h 357105"/>
                  <a:gd name="connsiteX23" fmla="*/ 155469 w 274476"/>
                  <a:gd name="connsiteY23" fmla="*/ 18075 h 357105"/>
                  <a:gd name="connsiteX24" fmla="*/ 165868 w 274476"/>
                  <a:gd name="connsiteY24" fmla="*/ -157 h 357105"/>
                  <a:gd name="connsiteX25" fmla="*/ 191860 w 274476"/>
                  <a:gd name="connsiteY25" fmla="*/ 15598 h 357105"/>
                  <a:gd name="connsiteX26" fmla="*/ 209121 w 274476"/>
                  <a:gd name="connsiteY26" fmla="*/ 16996 h 357105"/>
                  <a:gd name="connsiteX27" fmla="*/ 215551 w 274476"/>
                  <a:gd name="connsiteY27" fmla="*/ 36522 h 357105"/>
                  <a:gd name="connsiteX28" fmla="*/ 212107 w 274476"/>
                  <a:gd name="connsiteY28" fmla="*/ 54742 h 357105"/>
                  <a:gd name="connsiteX29" fmla="*/ 217232 w 274476"/>
                  <a:gd name="connsiteY29" fmla="*/ 95291 h 357105"/>
                  <a:gd name="connsiteX30" fmla="*/ 237356 w 274476"/>
                  <a:gd name="connsiteY30" fmla="*/ 97184 h 357105"/>
                  <a:gd name="connsiteX31" fmla="*/ 260951 w 274476"/>
                  <a:gd name="connsiteY31" fmla="*/ 99404 h 357105"/>
                  <a:gd name="connsiteX32" fmla="*/ 234524 w 274476"/>
                  <a:gd name="connsiteY32" fmla="*/ 120451 h 357105"/>
                  <a:gd name="connsiteX33" fmla="*/ 252881 w 274476"/>
                  <a:gd name="connsiteY33" fmla="*/ 146703 h 357105"/>
                  <a:gd name="connsiteX34" fmla="*/ 242883 w 274476"/>
                  <a:gd name="connsiteY34" fmla="*/ 186428 h 357105"/>
                  <a:gd name="connsiteX35" fmla="*/ 273811 w 274476"/>
                  <a:gd name="connsiteY35" fmla="*/ 204308 h 357105"/>
                  <a:gd name="connsiteX36" fmla="*/ 248355 w 274476"/>
                  <a:gd name="connsiteY36" fmla="*/ 212901 h 357105"/>
                  <a:gd name="connsiteX37" fmla="*/ 236557 w 274476"/>
                  <a:gd name="connsiteY37" fmla="*/ 248410 h 357105"/>
                  <a:gd name="connsiteX38" fmla="*/ 213489 w 274476"/>
                  <a:gd name="connsiteY38" fmla="*/ 247329 h 357105"/>
                  <a:gd name="connsiteX39" fmla="*/ 194627 w 274476"/>
                  <a:gd name="connsiteY39" fmla="*/ 246445 h 357105"/>
                  <a:gd name="connsiteX40" fmla="*/ 173225 w 274476"/>
                  <a:gd name="connsiteY40" fmla="*/ 230180 h 357105"/>
                  <a:gd name="connsiteX41" fmla="*/ 167320 w 274476"/>
                  <a:gd name="connsiteY41" fmla="*/ 254988 h 357105"/>
                  <a:gd name="connsiteX42" fmla="*/ 182248 w 274476"/>
                  <a:gd name="connsiteY42" fmla="*/ 276413 h 357105"/>
                  <a:gd name="connsiteX43" fmla="*/ 166141 w 274476"/>
                  <a:gd name="connsiteY43" fmla="*/ 276248 h 357105"/>
                  <a:gd name="connsiteX44" fmla="*/ 160285 w 274476"/>
                  <a:gd name="connsiteY44" fmla="*/ 257548 h 357105"/>
                  <a:gd name="connsiteX45" fmla="*/ 133378 w 274476"/>
                  <a:gd name="connsiteY45" fmla="*/ 265865 h 357105"/>
                  <a:gd name="connsiteX46" fmla="*/ 118651 w 274476"/>
                  <a:gd name="connsiteY46" fmla="*/ 270314 h 357105"/>
                  <a:gd name="connsiteX47" fmla="*/ 131204 w 274476"/>
                  <a:gd name="connsiteY47" fmla="*/ 289061 h 357105"/>
                  <a:gd name="connsiteX48" fmla="*/ 113514 w 274476"/>
                  <a:gd name="connsiteY48" fmla="*/ 314698 h 357105"/>
                  <a:gd name="connsiteX49" fmla="*/ 100033 w 274476"/>
                  <a:gd name="connsiteY49" fmla="*/ 314943 h 357105"/>
                  <a:gd name="connsiteX50" fmla="*/ 105633 w 274476"/>
                  <a:gd name="connsiteY50" fmla="*/ 334791 h 357105"/>
                  <a:gd name="connsiteX51" fmla="*/ 63743 w 274476"/>
                  <a:gd name="connsiteY51" fmla="*/ 337339 h 357105"/>
                  <a:gd name="connsiteX52" fmla="*/ 38159 w 274476"/>
                  <a:gd name="connsiteY52" fmla="*/ 356949 h 357105"/>
                  <a:gd name="connsiteX53" fmla="*/ 3341 w 274476"/>
                  <a:gd name="connsiteY53" fmla="*/ 307623 h 357105"/>
                  <a:gd name="connsiteX54" fmla="*/ -666 w 274476"/>
                  <a:gd name="connsiteY54" fmla="*/ 278188 h 357105"/>
                  <a:gd name="connsiteX55" fmla="*/ 3658 w 274476"/>
                  <a:gd name="connsiteY55" fmla="*/ 246151 h 357105"/>
                  <a:gd name="connsiteX56" fmla="*/ 7244 w 274476"/>
                  <a:gd name="connsiteY56" fmla="*/ 233905 h 357105"/>
                  <a:gd name="connsiteX57" fmla="*/ 2039 w 274476"/>
                  <a:gd name="connsiteY57" fmla="*/ 222130 h 357105"/>
                  <a:gd name="connsiteX58" fmla="*/ 16143 w 274476"/>
                  <a:gd name="connsiteY58" fmla="*/ 204723 h 357105"/>
                  <a:gd name="connsiteX59" fmla="*/ 15161 w 274476"/>
                  <a:gd name="connsiteY59" fmla="*/ 192477 h 357105"/>
                  <a:gd name="connsiteX60" fmla="*/ 27108 w 274476"/>
                  <a:gd name="connsiteY60" fmla="*/ 177134 h 357105"/>
                  <a:gd name="connsiteX61" fmla="*/ 28828 w 274476"/>
                  <a:gd name="connsiteY61" fmla="*/ 164961 h 357105"/>
                  <a:gd name="connsiteX62" fmla="*/ 45640 w 274476"/>
                  <a:gd name="connsiteY62" fmla="*/ 166353 h 357105"/>
                  <a:gd name="connsiteX63" fmla="*/ 45027 w 274476"/>
                  <a:gd name="connsiteY63" fmla="*/ 156444 h 357105"/>
                  <a:gd name="connsiteX64" fmla="*/ 52942 w 274476"/>
                  <a:gd name="connsiteY64" fmla="*/ 147615 h 357105"/>
                  <a:gd name="connsiteX65" fmla="*/ 61289 w 274476"/>
                  <a:gd name="connsiteY65" fmla="*/ 139249 h 357105"/>
                  <a:gd name="connsiteX66" fmla="*/ 49381 w 274476"/>
                  <a:gd name="connsiteY66" fmla="*/ 128170 h 357105"/>
                  <a:gd name="connsiteX67" fmla="*/ 46410 w 274476"/>
                  <a:gd name="connsiteY67" fmla="*/ 116943 h 357105"/>
                  <a:gd name="connsiteX68" fmla="*/ 61137 w 274476"/>
                  <a:gd name="connsiteY68" fmla="*/ 115858 h 357105"/>
                  <a:gd name="connsiteX69" fmla="*/ 64108 w 274476"/>
                  <a:gd name="connsiteY69" fmla="*/ 109358 h 357105"/>
                  <a:gd name="connsiteX70" fmla="*/ 71074 w 274476"/>
                  <a:gd name="connsiteY70" fmla="*/ 108009 h 357105"/>
                  <a:gd name="connsiteX71" fmla="*/ 76746 w 274476"/>
                  <a:gd name="connsiteY71" fmla="*/ 102319 h 357105"/>
                  <a:gd name="connsiteX72" fmla="*/ 70329 w 274476"/>
                  <a:gd name="connsiteY72" fmla="*/ 85990 h 357105"/>
                  <a:gd name="connsiteX73" fmla="*/ 69630 w 274476"/>
                  <a:gd name="connsiteY73" fmla="*/ 75881 h 357105"/>
                  <a:gd name="connsiteX74" fmla="*/ 81790 w 274476"/>
                  <a:gd name="connsiteY74" fmla="*/ 76503 h 357105"/>
                  <a:gd name="connsiteX75" fmla="*/ 80160 w 274476"/>
                  <a:gd name="connsiteY75" fmla="*/ 67059 h 357105"/>
                  <a:gd name="connsiteX76" fmla="*/ 93008 w 274476"/>
                  <a:gd name="connsiteY76" fmla="*/ 61807 h 357105"/>
                  <a:gd name="connsiteX77" fmla="*/ 92696 w 274476"/>
                  <a:gd name="connsiteY77" fmla="*/ 51997 h 357105"/>
                  <a:gd name="connsiteX78" fmla="*/ 98449 w 274476"/>
                  <a:gd name="connsiteY78" fmla="*/ 44982 h 357105"/>
                  <a:gd name="connsiteX79" fmla="*/ 101357 w 274476"/>
                  <a:gd name="connsiteY79" fmla="*/ 44614 h 357105"/>
                  <a:gd name="connsiteX80" fmla="*/ 105507 w 274476"/>
                  <a:gd name="connsiteY80" fmla="*/ 45437 h 357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274476" h="357105">
                    <a:moveTo>
                      <a:pt x="105510" y="45437"/>
                    </a:moveTo>
                    <a:lnTo>
                      <a:pt x="108174" y="45756"/>
                    </a:lnTo>
                    <a:lnTo>
                      <a:pt x="108437" y="44702"/>
                    </a:lnTo>
                    <a:lnTo>
                      <a:pt x="108421" y="43687"/>
                    </a:lnTo>
                    <a:lnTo>
                      <a:pt x="108574" y="42848"/>
                    </a:lnTo>
                    <a:lnTo>
                      <a:pt x="109502" y="42283"/>
                    </a:lnTo>
                    <a:lnTo>
                      <a:pt x="111445" y="42588"/>
                    </a:lnTo>
                    <a:lnTo>
                      <a:pt x="112374" y="44319"/>
                    </a:lnTo>
                    <a:lnTo>
                      <a:pt x="112759" y="45978"/>
                    </a:lnTo>
                    <a:lnTo>
                      <a:pt x="114793" y="46723"/>
                    </a:lnTo>
                    <a:lnTo>
                      <a:pt x="116515" y="46168"/>
                    </a:lnTo>
                    <a:lnTo>
                      <a:pt x="119034" y="43744"/>
                    </a:lnTo>
                    <a:lnTo>
                      <a:pt x="121295" y="41983"/>
                    </a:lnTo>
                    <a:lnTo>
                      <a:pt x="125073" y="40632"/>
                    </a:lnTo>
                    <a:lnTo>
                      <a:pt x="132252" y="44021"/>
                    </a:lnTo>
                    <a:lnTo>
                      <a:pt x="132924" y="36034"/>
                    </a:lnTo>
                    <a:lnTo>
                      <a:pt x="131882" y="29404"/>
                    </a:lnTo>
                    <a:lnTo>
                      <a:pt x="138357" y="27895"/>
                    </a:lnTo>
                    <a:lnTo>
                      <a:pt x="145146" y="29982"/>
                    </a:lnTo>
                    <a:lnTo>
                      <a:pt x="148161" y="21546"/>
                    </a:lnTo>
                    <a:lnTo>
                      <a:pt x="155469" y="18075"/>
                    </a:lnTo>
                    <a:lnTo>
                      <a:pt x="155469" y="18075"/>
                    </a:lnTo>
                    <a:lnTo>
                      <a:pt x="170942" y="14036"/>
                    </a:lnTo>
                    <a:lnTo>
                      <a:pt x="155469" y="18075"/>
                    </a:lnTo>
                    <a:lnTo>
                      <a:pt x="165868" y="-157"/>
                    </a:lnTo>
                    <a:cubicBezTo>
                      <a:pt x="152492" y="27459"/>
                      <a:pt x="168076" y="8280"/>
                      <a:pt x="191860" y="15598"/>
                    </a:cubicBezTo>
                    <a:lnTo>
                      <a:pt x="209121" y="16996"/>
                    </a:lnTo>
                    <a:lnTo>
                      <a:pt x="215551" y="36522"/>
                    </a:lnTo>
                    <a:lnTo>
                      <a:pt x="212107" y="54742"/>
                    </a:lnTo>
                    <a:lnTo>
                      <a:pt x="217232" y="95291"/>
                    </a:lnTo>
                    <a:lnTo>
                      <a:pt x="237356" y="97184"/>
                    </a:lnTo>
                    <a:lnTo>
                      <a:pt x="260951" y="99404"/>
                    </a:lnTo>
                    <a:lnTo>
                      <a:pt x="234524" y="120451"/>
                    </a:lnTo>
                    <a:lnTo>
                      <a:pt x="252881" y="146703"/>
                    </a:lnTo>
                    <a:lnTo>
                      <a:pt x="242883" y="186428"/>
                    </a:lnTo>
                    <a:lnTo>
                      <a:pt x="273811" y="204308"/>
                    </a:lnTo>
                    <a:lnTo>
                      <a:pt x="248355" y="212901"/>
                    </a:lnTo>
                    <a:lnTo>
                      <a:pt x="236557" y="248410"/>
                    </a:lnTo>
                    <a:lnTo>
                      <a:pt x="213489" y="247329"/>
                    </a:lnTo>
                    <a:lnTo>
                      <a:pt x="194627" y="246445"/>
                    </a:lnTo>
                    <a:lnTo>
                      <a:pt x="173225" y="230180"/>
                    </a:lnTo>
                    <a:lnTo>
                      <a:pt x="167320" y="254988"/>
                    </a:lnTo>
                    <a:lnTo>
                      <a:pt x="182248" y="276413"/>
                    </a:lnTo>
                    <a:lnTo>
                      <a:pt x="166141" y="276248"/>
                    </a:lnTo>
                    <a:lnTo>
                      <a:pt x="160285" y="257548"/>
                    </a:lnTo>
                    <a:lnTo>
                      <a:pt x="133378" y="265865"/>
                    </a:lnTo>
                    <a:lnTo>
                      <a:pt x="118651" y="270314"/>
                    </a:lnTo>
                    <a:lnTo>
                      <a:pt x="131204" y="289061"/>
                    </a:lnTo>
                    <a:lnTo>
                      <a:pt x="113514" y="314698"/>
                    </a:lnTo>
                    <a:lnTo>
                      <a:pt x="100033" y="314943"/>
                    </a:lnTo>
                    <a:lnTo>
                      <a:pt x="105633" y="334791"/>
                    </a:lnTo>
                    <a:lnTo>
                      <a:pt x="63743" y="337339"/>
                    </a:lnTo>
                    <a:lnTo>
                      <a:pt x="38159" y="356949"/>
                    </a:lnTo>
                    <a:lnTo>
                      <a:pt x="3341" y="307623"/>
                    </a:lnTo>
                    <a:lnTo>
                      <a:pt x="-666" y="278188"/>
                    </a:lnTo>
                    <a:lnTo>
                      <a:pt x="3658" y="246151"/>
                    </a:lnTo>
                    <a:lnTo>
                      <a:pt x="7244" y="233905"/>
                    </a:lnTo>
                    <a:lnTo>
                      <a:pt x="2039" y="222130"/>
                    </a:lnTo>
                    <a:lnTo>
                      <a:pt x="16143" y="204723"/>
                    </a:lnTo>
                    <a:lnTo>
                      <a:pt x="15161" y="192477"/>
                    </a:lnTo>
                    <a:lnTo>
                      <a:pt x="27108" y="177134"/>
                    </a:lnTo>
                    <a:lnTo>
                      <a:pt x="28828" y="164961"/>
                    </a:lnTo>
                    <a:lnTo>
                      <a:pt x="45640" y="166353"/>
                    </a:lnTo>
                    <a:lnTo>
                      <a:pt x="45027" y="156444"/>
                    </a:lnTo>
                    <a:lnTo>
                      <a:pt x="52942" y="147615"/>
                    </a:lnTo>
                    <a:lnTo>
                      <a:pt x="61289" y="139249"/>
                    </a:lnTo>
                    <a:lnTo>
                      <a:pt x="49381" y="128170"/>
                    </a:lnTo>
                    <a:lnTo>
                      <a:pt x="46410" y="116943"/>
                    </a:lnTo>
                    <a:lnTo>
                      <a:pt x="61137" y="115858"/>
                    </a:lnTo>
                    <a:lnTo>
                      <a:pt x="64108" y="109358"/>
                    </a:lnTo>
                    <a:lnTo>
                      <a:pt x="71074" y="108009"/>
                    </a:lnTo>
                    <a:lnTo>
                      <a:pt x="76746" y="102319"/>
                    </a:lnTo>
                    <a:lnTo>
                      <a:pt x="70329" y="85990"/>
                    </a:lnTo>
                    <a:lnTo>
                      <a:pt x="69630" y="75881"/>
                    </a:lnTo>
                    <a:lnTo>
                      <a:pt x="81790" y="76503"/>
                    </a:lnTo>
                    <a:lnTo>
                      <a:pt x="80160" y="67059"/>
                    </a:lnTo>
                    <a:lnTo>
                      <a:pt x="93008" y="61807"/>
                    </a:lnTo>
                    <a:lnTo>
                      <a:pt x="92696" y="51997"/>
                    </a:lnTo>
                    <a:lnTo>
                      <a:pt x="98449" y="44982"/>
                    </a:lnTo>
                    <a:lnTo>
                      <a:pt x="101357" y="44614"/>
                    </a:lnTo>
                    <a:lnTo>
                      <a:pt x="105507" y="45437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8" name="ДНР">
                <a:extLst>
                  <a:ext uri="{FF2B5EF4-FFF2-40B4-BE49-F238E27FC236}">
                    <a16:creationId xmlns:a16="http://schemas.microsoft.com/office/drawing/2014/main" id="{7DAEF31B-38E0-4D85-9E5B-279B99CDAB81}"/>
                  </a:ext>
                </a:extLst>
              </p:cNvPr>
              <p:cNvSpPr/>
              <p:nvPr/>
            </p:nvSpPr>
            <p:spPr>
              <a:xfrm>
                <a:off x="793464" y="3533691"/>
                <a:ext cx="312429" cy="289511"/>
              </a:xfrm>
              <a:custGeom>
                <a:avLst/>
                <a:gdLst>
                  <a:gd name="connsiteX0" fmla="*/ 169803 w 312429"/>
                  <a:gd name="connsiteY0" fmla="*/ 40452 h 289511"/>
                  <a:gd name="connsiteX1" fmla="*/ 165511 w 312429"/>
                  <a:gd name="connsiteY1" fmla="*/ 22929 h 289511"/>
                  <a:gd name="connsiteX2" fmla="*/ 176720 w 312429"/>
                  <a:gd name="connsiteY2" fmla="*/ 12020 h 289511"/>
                  <a:gd name="connsiteX3" fmla="*/ 180925 w 312429"/>
                  <a:gd name="connsiteY3" fmla="*/ 3966 h 289511"/>
                  <a:gd name="connsiteX4" fmla="*/ 185388 w 312429"/>
                  <a:gd name="connsiteY4" fmla="*/ -157 h 289511"/>
                  <a:gd name="connsiteX5" fmla="*/ 189183 w 312429"/>
                  <a:gd name="connsiteY5" fmla="*/ 7261 h 289511"/>
                  <a:gd name="connsiteX6" fmla="*/ 189401 w 312429"/>
                  <a:gd name="connsiteY6" fmla="*/ 13199 h 289511"/>
                  <a:gd name="connsiteX7" fmla="*/ 194607 w 312429"/>
                  <a:gd name="connsiteY7" fmla="*/ 10699 h 289511"/>
                  <a:gd name="connsiteX8" fmla="*/ 198025 w 312429"/>
                  <a:gd name="connsiteY8" fmla="*/ 16578 h 289511"/>
                  <a:gd name="connsiteX9" fmla="*/ 203128 w 312429"/>
                  <a:gd name="connsiteY9" fmla="*/ 21863 h 289511"/>
                  <a:gd name="connsiteX10" fmla="*/ 201541 w 312429"/>
                  <a:gd name="connsiteY10" fmla="*/ 28504 h 289511"/>
                  <a:gd name="connsiteX11" fmla="*/ 203128 w 312429"/>
                  <a:gd name="connsiteY11" fmla="*/ 21863 h 289511"/>
                  <a:gd name="connsiteX12" fmla="*/ 208534 w 312429"/>
                  <a:gd name="connsiteY12" fmla="*/ 24333 h 289511"/>
                  <a:gd name="connsiteX13" fmla="*/ 216311 w 312429"/>
                  <a:gd name="connsiteY13" fmla="*/ 22987 h 289511"/>
                  <a:gd name="connsiteX14" fmla="*/ 217659 w 312429"/>
                  <a:gd name="connsiteY14" fmla="*/ 33876 h 289511"/>
                  <a:gd name="connsiteX15" fmla="*/ 222934 w 312429"/>
                  <a:gd name="connsiteY15" fmla="*/ 28732 h 289511"/>
                  <a:gd name="connsiteX16" fmla="*/ 230699 w 312429"/>
                  <a:gd name="connsiteY16" fmla="*/ 28097 h 289511"/>
                  <a:gd name="connsiteX17" fmla="*/ 238167 w 312429"/>
                  <a:gd name="connsiteY17" fmla="*/ 32861 h 289511"/>
                  <a:gd name="connsiteX18" fmla="*/ 241642 w 312429"/>
                  <a:gd name="connsiteY18" fmla="*/ 25731 h 289511"/>
                  <a:gd name="connsiteX19" fmla="*/ 259805 w 312429"/>
                  <a:gd name="connsiteY19" fmla="*/ 26348 h 289511"/>
                  <a:gd name="connsiteX20" fmla="*/ 265219 w 312429"/>
                  <a:gd name="connsiteY20" fmla="*/ 30008 h 289511"/>
                  <a:gd name="connsiteX21" fmla="*/ 269715 w 312429"/>
                  <a:gd name="connsiteY21" fmla="*/ 25985 h 289511"/>
                  <a:gd name="connsiteX22" fmla="*/ 278177 w 312429"/>
                  <a:gd name="connsiteY22" fmla="*/ 30721 h 289511"/>
                  <a:gd name="connsiteX23" fmla="*/ 280197 w 312429"/>
                  <a:gd name="connsiteY23" fmla="*/ 16934 h 289511"/>
                  <a:gd name="connsiteX24" fmla="*/ 289586 w 312429"/>
                  <a:gd name="connsiteY24" fmla="*/ 22568 h 289511"/>
                  <a:gd name="connsiteX25" fmla="*/ 300128 w 312429"/>
                  <a:gd name="connsiteY25" fmla="*/ 37319 h 289511"/>
                  <a:gd name="connsiteX26" fmla="*/ 309595 w 312429"/>
                  <a:gd name="connsiteY26" fmla="*/ 39426 h 289511"/>
                  <a:gd name="connsiteX27" fmla="*/ 308875 w 312429"/>
                  <a:gd name="connsiteY27" fmla="*/ 46975 h 289511"/>
                  <a:gd name="connsiteX28" fmla="*/ 306038 w 312429"/>
                  <a:gd name="connsiteY28" fmla="*/ 50228 h 289511"/>
                  <a:gd name="connsiteX29" fmla="*/ 303156 w 312429"/>
                  <a:gd name="connsiteY29" fmla="*/ 56757 h 289511"/>
                  <a:gd name="connsiteX30" fmla="*/ 306248 w 312429"/>
                  <a:gd name="connsiteY30" fmla="*/ 64625 h 289511"/>
                  <a:gd name="connsiteX31" fmla="*/ 307903 w 312429"/>
                  <a:gd name="connsiteY31" fmla="*/ 68836 h 289511"/>
                  <a:gd name="connsiteX32" fmla="*/ 309573 w 312429"/>
                  <a:gd name="connsiteY32" fmla="*/ 73085 h 289511"/>
                  <a:gd name="connsiteX33" fmla="*/ 303901 w 312429"/>
                  <a:gd name="connsiteY33" fmla="*/ 78776 h 289511"/>
                  <a:gd name="connsiteX34" fmla="*/ 296936 w 312429"/>
                  <a:gd name="connsiteY34" fmla="*/ 80125 h 289511"/>
                  <a:gd name="connsiteX35" fmla="*/ 293964 w 312429"/>
                  <a:gd name="connsiteY35" fmla="*/ 86624 h 289511"/>
                  <a:gd name="connsiteX36" fmla="*/ 288656 w 312429"/>
                  <a:gd name="connsiteY36" fmla="*/ 87016 h 289511"/>
                  <a:gd name="connsiteX37" fmla="*/ 278990 w 312429"/>
                  <a:gd name="connsiteY37" fmla="*/ 89188 h 289511"/>
                  <a:gd name="connsiteX38" fmla="*/ 281165 w 312429"/>
                  <a:gd name="connsiteY38" fmla="*/ 95713 h 289511"/>
                  <a:gd name="connsiteX39" fmla="*/ 288559 w 312429"/>
                  <a:gd name="connsiteY39" fmla="*/ 104847 h 289511"/>
                  <a:gd name="connsiteX40" fmla="*/ 294116 w 312429"/>
                  <a:gd name="connsiteY40" fmla="*/ 110015 h 289511"/>
                  <a:gd name="connsiteX41" fmla="*/ 285770 w 312429"/>
                  <a:gd name="connsiteY41" fmla="*/ 118381 h 289511"/>
                  <a:gd name="connsiteX42" fmla="*/ 276380 w 312429"/>
                  <a:gd name="connsiteY42" fmla="*/ 127899 h 289511"/>
                  <a:gd name="connsiteX43" fmla="*/ 278467 w 312429"/>
                  <a:gd name="connsiteY43" fmla="*/ 137119 h 289511"/>
                  <a:gd name="connsiteX44" fmla="*/ 258982 w 312429"/>
                  <a:gd name="connsiteY44" fmla="*/ 139208 h 289511"/>
                  <a:gd name="connsiteX45" fmla="*/ 259935 w 312429"/>
                  <a:gd name="connsiteY45" fmla="*/ 147901 h 289511"/>
                  <a:gd name="connsiteX46" fmla="*/ 249421 w 312429"/>
                  <a:gd name="connsiteY46" fmla="*/ 161805 h 289511"/>
                  <a:gd name="connsiteX47" fmla="*/ 246804 w 312429"/>
                  <a:gd name="connsiteY47" fmla="*/ 167480 h 289511"/>
                  <a:gd name="connsiteX48" fmla="*/ 248970 w 312429"/>
                  <a:gd name="connsiteY48" fmla="*/ 175489 h 289511"/>
                  <a:gd name="connsiteX49" fmla="*/ 241584 w 312429"/>
                  <a:gd name="connsiteY49" fmla="*/ 186618 h 289511"/>
                  <a:gd name="connsiteX50" fmla="*/ 241584 w 312429"/>
                  <a:gd name="connsiteY50" fmla="*/ 195753 h 289511"/>
                  <a:gd name="connsiteX51" fmla="*/ 237234 w 312429"/>
                  <a:gd name="connsiteY51" fmla="*/ 223590 h 289511"/>
                  <a:gd name="connsiteX52" fmla="*/ 238104 w 312429"/>
                  <a:gd name="connsiteY52" fmla="*/ 244903 h 289511"/>
                  <a:gd name="connsiteX53" fmla="*/ 237999 w 312429"/>
                  <a:gd name="connsiteY53" fmla="*/ 260024 h 289511"/>
                  <a:gd name="connsiteX54" fmla="*/ 236168 w 312429"/>
                  <a:gd name="connsiteY54" fmla="*/ 278389 h 289511"/>
                  <a:gd name="connsiteX55" fmla="*/ 235402 w 312429"/>
                  <a:gd name="connsiteY55" fmla="*/ 283671 h 289511"/>
                  <a:gd name="connsiteX56" fmla="*/ 212661 w 312429"/>
                  <a:gd name="connsiteY56" fmla="*/ 250967 h 289511"/>
                  <a:gd name="connsiteX57" fmla="*/ 186280 w 312429"/>
                  <a:gd name="connsiteY57" fmla="*/ 263615 h 289511"/>
                  <a:gd name="connsiteX58" fmla="*/ 137795 w 312429"/>
                  <a:gd name="connsiteY58" fmla="*/ 241375 h 289511"/>
                  <a:gd name="connsiteX59" fmla="*/ 107210 w 312429"/>
                  <a:gd name="connsiteY59" fmla="*/ 262013 h 289511"/>
                  <a:gd name="connsiteX60" fmla="*/ 78883 w 312429"/>
                  <a:gd name="connsiteY60" fmla="*/ 276072 h 289511"/>
                  <a:gd name="connsiteX61" fmla="*/ 65877 w 312429"/>
                  <a:gd name="connsiteY61" fmla="*/ 289355 h 289511"/>
                  <a:gd name="connsiteX62" fmla="*/ -666 w 312429"/>
                  <a:gd name="connsiteY62" fmla="*/ 221194 h 289511"/>
                  <a:gd name="connsiteX63" fmla="*/ 6057 w 312429"/>
                  <a:gd name="connsiteY63" fmla="*/ 204864 h 289511"/>
                  <a:gd name="connsiteX64" fmla="*/ 19141 w 312429"/>
                  <a:gd name="connsiteY64" fmla="*/ 206007 h 289511"/>
                  <a:gd name="connsiteX65" fmla="*/ 24417 w 312429"/>
                  <a:gd name="connsiteY65" fmla="*/ 202144 h 289511"/>
                  <a:gd name="connsiteX66" fmla="*/ 22582 w 312429"/>
                  <a:gd name="connsiteY66" fmla="*/ 189143 h 289511"/>
                  <a:gd name="connsiteX67" fmla="*/ 24956 w 312429"/>
                  <a:gd name="connsiteY67" fmla="*/ 165992 h 289511"/>
                  <a:gd name="connsiteX68" fmla="*/ 30801 w 312429"/>
                  <a:gd name="connsiteY68" fmla="*/ 172685 h 289511"/>
                  <a:gd name="connsiteX69" fmla="*/ 42694 w 312429"/>
                  <a:gd name="connsiteY69" fmla="*/ 160012 h 289511"/>
                  <a:gd name="connsiteX70" fmla="*/ 48644 w 312429"/>
                  <a:gd name="connsiteY70" fmla="*/ 170108 h 289511"/>
                  <a:gd name="connsiteX71" fmla="*/ 62908 w 312429"/>
                  <a:gd name="connsiteY71" fmla="*/ 167281 h 289511"/>
                  <a:gd name="connsiteX72" fmla="*/ 61463 w 312429"/>
                  <a:gd name="connsiteY72" fmla="*/ 175732 h 289511"/>
                  <a:gd name="connsiteX73" fmla="*/ 74933 w 312429"/>
                  <a:gd name="connsiteY73" fmla="*/ 170567 h 289511"/>
                  <a:gd name="connsiteX74" fmla="*/ 73008 w 312429"/>
                  <a:gd name="connsiteY74" fmla="*/ 163075 h 289511"/>
                  <a:gd name="connsiteX75" fmla="*/ 65373 w 312429"/>
                  <a:gd name="connsiteY75" fmla="*/ 134907 h 289511"/>
                  <a:gd name="connsiteX76" fmla="*/ 67592 w 312429"/>
                  <a:gd name="connsiteY76" fmla="*/ 121491 h 289511"/>
                  <a:gd name="connsiteX77" fmla="*/ 60889 w 312429"/>
                  <a:gd name="connsiteY77" fmla="*/ 117807 h 289511"/>
                  <a:gd name="connsiteX78" fmla="*/ 63191 w 312429"/>
                  <a:gd name="connsiteY78" fmla="*/ 109804 h 289511"/>
                  <a:gd name="connsiteX79" fmla="*/ 70217 w 312429"/>
                  <a:gd name="connsiteY79" fmla="*/ 113543 h 289511"/>
                  <a:gd name="connsiteX80" fmla="*/ 67550 w 312429"/>
                  <a:gd name="connsiteY80" fmla="*/ 107558 h 289511"/>
                  <a:gd name="connsiteX81" fmla="*/ 75416 w 312429"/>
                  <a:gd name="connsiteY81" fmla="*/ 93586 h 289511"/>
                  <a:gd name="connsiteX82" fmla="*/ 68563 w 312429"/>
                  <a:gd name="connsiteY82" fmla="*/ 89116 h 289511"/>
                  <a:gd name="connsiteX83" fmla="*/ 75662 w 312429"/>
                  <a:gd name="connsiteY83" fmla="*/ 85436 h 289511"/>
                  <a:gd name="connsiteX84" fmla="*/ 77996 w 312429"/>
                  <a:gd name="connsiteY84" fmla="*/ 74026 h 289511"/>
                  <a:gd name="connsiteX85" fmla="*/ 84982 w 312429"/>
                  <a:gd name="connsiteY85" fmla="*/ 77875 h 289511"/>
                  <a:gd name="connsiteX86" fmla="*/ 86937 w 312429"/>
                  <a:gd name="connsiteY86" fmla="*/ 71836 h 289511"/>
                  <a:gd name="connsiteX87" fmla="*/ 97670 w 312429"/>
                  <a:gd name="connsiteY87" fmla="*/ 58652 h 289511"/>
                  <a:gd name="connsiteX88" fmla="*/ 106430 w 312429"/>
                  <a:gd name="connsiteY88" fmla="*/ 62564 h 289511"/>
                  <a:gd name="connsiteX89" fmla="*/ 112382 w 312429"/>
                  <a:gd name="connsiteY89" fmla="*/ 82064 h 289511"/>
                  <a:gd name="connsiteX90" fmla="*/ 118221 w 312429"/>
                  <a:gd name="connsiteY90" fmla="*/ 83623 h 289511"/>
                  <a:gd name="connsiteX91" fmla="*/ 129292 w 312429"/>
                  <a:gd name="connsiteY91" fmla="*/ 70923 h 289511"/>
                  <a:gd name="connsiteX92" fmla="*/ 135735 w 312429"/>
                  <a:gd name="connsiteY92" fmla="*/ 75547 h 289511"/>
                  <a:gd name="connsiteX93" fmla="*/ 145577 w 312429"/>
                  <a:gd name="connsiteY93" fmla="*/ 62951 h 289511"/>
                  <a:gd name="connsiteX94" fmla="*/ 140473 w 312429"/>
                  <a:gd name="connsiteY94" fmla="*/ 52203 h 289511"/>
                  <a:gd name="connsiteX95" fmla="*/ 156280 w 312429"/>
                  <a:gd name="connsiteY95" fmla="*/ 41978 h 289511"/>
                  <a:gd name="connsiteX96" fmla="*/ 169803 w 312429"/>
                  <a:gd name="connsiteY96" fmla="*/ 40450 h 289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312429" h="289511">
                    <a:moveTo>
                      <a:pt x="169803" y="40452"/>
                    </a:moveTo>
                    <a:lnTo>
                      <a:pt x="165511" y="22929"/>
                    </a:lnTo>
                    <a:lnTo>
                      <a:pt x="176720" y="12020"/>
                    </a:lnTo>
                    <a:lnTo>
                      <a:pt x="180925" y="3966"/>
                    </a:lnTo>
                    <a:lnTo>
                      <a:pt x="185388" y="-157"/>
                    </a:lnTo>
                    <a:lnTo>
                      <a:pt x="189183" y="7261"/>
                    </a:lnTo>
                    <a:lnTo>
                      <a:pt x="189401" y="13199"/>
                    </a:lnTo>
                    <a:lnTo>
                      <a:pt x="194607" y="10699"/>
                    </a:lnTo>
                    <a:lnTo>
                      <a:pt x="198025" y="16578"/>
                    </a:lnTo>
                    <a:lnTo>
                      <a:pt x="203128" y="21863"/>
                    </a:lnTo>
                    <a:lnTo>
                      <a:pt x="201541" y="28504"/>
                    </a:lnTo>
                    <a:lnTo>
                      <a:pt x="203128" y="21863"/>
                    </a:lnTo>
                    <a:lnTo>
                      <a:pt x="208534" y="24333"/>
                    </a:lnTo>
                    <a:lnTo>
                      <a:pt x="216311" y="22987"/>
                    </a:lnTo>
                    <a:lnTo>
                      <a:pt x="217659" y="33876"/>
                    </a:lnTo>
                    <a:lnTo>
                      <a:pt x="222934" y="28732"/>
                    </a:lnTo>
                    <a:lnTo>
                      <a:pt x="230699" y="28097"/>
                    </a:lnTo>
                    <a:lnTo>
                      <a:pt x="238167" y="32861"/>
                    </a:lnTo>
                    <a:lnTo>
                      <a:pt x="241642" y="25731"/>
                    </a:lnTo>
                    <a:lnTo>
                      <a:pt x="259805" y="26348"/>
                    </a:lnTo>
                    <a:lnTo>
                      <a:pt x="265219" y="30008"/>
                    </a:lnTo>
                    <a:lnTo>
                      <a:pt x="269715" y="25985"/>
                    </a:lnTo>
                    <a:lnTo>
                      <a:pt x="278177" y="30721"/>
                    </a:lnTo>
                    <a:lnTo>
                      <a:pt x="280197" y="16934"/>
                    </a:lnTo>
                    <a:lnTo>
                      <a:pt x="289586" y="22568"/>
                    </a:lnTo>
                    <a:lnTo>
                      <a:pt x="300128" y="37319"/>
                    </a:lnTo>
                    <a:lnTo>
                      <a:pt x="309595" y="39426"/>
                    </a:lnTo>
                    <a:lnTo>
                      <a:pt x="308875" y="46975"/>
                    </a:lnTo>
                    <a:cubicBezTo>
                      <a:pt x="314139" y="44497"/>
                      <a:pt x="311621" y="45741"/>
                      <a:pt x="306038" y="50228"/>
                    </a:cubicBezTo>
                    <a:cubicBezTo>
                      <a:pt x="301666" y="53741"/>
                      <a:pt x="301968" y="53365"/>
                      <a:pt x="303156" y="56757"/>
                    </a:cubicBezTo>
                    <a:cubicBezTo>
                      <a:pt x="306201" y="65456"/>
                      <a:pt x="307194" y="60587"/>
                      <a:pt x="306248" y="64625"/>
                    </a:cubicBezTo>
                    <a:cubicBezTo>
                      <a:pt x="304656" y="66187"/>
                      <a:pt x="308750" y="70322"/>
                      <a:pt x="307903" y="68836"/>
                    </a:cubicBezTo>
                    <a:cubicBezTo>
                      <a:pt x="304280" y="62477"/>
                      <a:pt x="311493" y="72370"/>
                      <a:pt x="309573" y="73085"/>
                    </a:cubicBezTo>
                    <a:lnTo>
                      <a:pt x="303901" y="78776"/>
                    </a:lnTo>
                    <a:lnTo>
                      <a:pt x="296936" y="80125"/>
                    </a:lnTo>
                    <a:lnTo>
                      <a:pt x="293964" y="86624"/>
                    </a:lnTo>
                    <a:lnTo>
                      <a:pt x="288656" y="87016"/>
                    </a:lnTo>
                    <a:lnTo>
                      <a:pt x="278990" y="89188"/>
                    </a:lnTo>
                    <a:lnTo>
                      <a:pt x="281165" y="95713"/>
                    </a:lnTo>
                    <a:lnTo>
                      <a:pt x="288559" y="104847"/>
                    </a:lnTo>
                    <a:lnTo>
                      <a:pt x="294116" y="110015"/>
                    </a:lnTo>
                    <a:lnTo>
                      <a:pt x="285770" y="118381"/>
                    </a:lnTo>
                    <a:lnTo>
                      <a:pt x="276380" y="127899"/>
                    </a:lnTo>
                    <a:lnTo>
                      <a:pt x="278467" y="137119"/>
                    </a:lnTo>
                    <a:lnTo>
                      <a:pt x="258982" y="139208"/>
                    </a:lnTo>
                    <a:lnTo>
                      <a:pt x="259935" y="147901"/>
                    </a:lnTo>
                    <a:lnTo>
                      <a:pt x="249421" y="161805"/>
                    </a:lnTo>
                    <a:lnTo>
                      <a:pt x="246804" y="167480"/>
                    </a:lnTo>
                    <a:lnTo>
                      <a:pt x="248970" y="175489"/>
                    </a:lnTo>
                    <a:lnTo>
                      <a:pt x="241584" y="186618"/>
                    </a:lnTo>
                    <a:lnTo>
                      <a:pt x="241584" y="195753"/>
                    </a:lnTo>
                    <a:lnTo>
                      <a:pt x="237234" y="223590"/>
                    </a:lnTo>
                    <a:lnTo>
                      <a:pt x="238104" y="244903"/>
                    </a:lnTo>
                    <a:lnTo>
                      <a:pt x="237999" y="260024"/>
                    </a:lnTo>
                    <a:lnTo>
                      <a:pt x="236168" y="278389"/>
                    </a:lnTo>
                    <a:lnTo>
                      <a:pt x="235402" y="283671"/>
                    </a:lnTo>
                    <a:lnTo>
                      <a:pt x="212661" y="250967"/>
                    </a:lnTo>
                    <a:lnTo>
                      <a:pt x="186280" y="263615"/>
                    </a:lnTo>
                    <a:lnTo>
                      <a:pt x="137795" y="241375"/>
                    </a:lnTo>
                    <a:lnTo>
                      <a:pt x="107210" y="262013"/>
                    </a:lnTo>
                    <a:lnTo>
                      <a:pt x="78883" y="276072"/>
                    </a:lnTo>
                    <a:lnTo>
                      <a:pt x="65877" y="289355"/>
                    </a:lnTo>
                    <a:lnTo>
                      <a:pt x="-666" y="221194"/>
                    </a:lnTo>
                    <a:lnTo>
                      <a:pt x="6057" y="204864"/>
                    </a:lnTo>
                    <a:lnTo>
                      <a:pt x="19141" y="206007"/>
                    </a:lnTo>
                    <a:lnTo>
                      <a:pt x="24417" y="202144"/>
                    </a:lnTo>
                    <a:lnTo>
                      <a:pt x="22582" y="189143"/>
                    </a:lnTo>
                    <a:lnTo>
                      <a:pt x="24956" y="165992"/>
                    </a:lnTo>
                    <a:lnTo>
                      <a:pt x="30801" y="172685"/>
                    </a:lnTo>
                    <a:lnTo>
                      <a:pt x="42694" y="160012"/>
                    </a:lnTo>
                    <a:lnTo>
                      <a:pt x="48644" y="170108"/>
                    </a:lnTo>
                    <a:lnTo>
                      <a:pt x="62908" y="167281"/>
                    </a:lnTo>
                    <a:lnTo>
                      <a:pt x="61463" y="175732"/>
                    </a:lnTo>
                    <a:lnTo>
                      <a:pt x="74933" y="170567"/>
                    </a:lnTo>
                    <a:lnTo>
                      <a:pt x="73008" y="163075"/>
                    </a:lnTo>
                    <a:lnTo>
                      <a:pt x="65373" y="134907"/>
                    </a:lnTo>
                    <a:lnTo>
                      <a:pt x="67592" y="121491"/>
                    </a:lnTo>
                    <a:lnTo>
                      <a:pt x="60889" y="117807"/>
                    </a:lnTo>
                    <a:lnTo>
                      <a:pt x="63191" y="109804"/>
                    </a:lnTo>
                    <a:lnTo>
                      <a:pt x="70217" y="113543"/>
                    </a:lnTo>
                    <a:lnTo>
                      <a:pt x="67550" y="107558"/>
                    </a:lnTo>
                    <a:lnTo>
                      <a:pt x="75416" y="93586"/>
                    </a:lnTo>
                    <a:lnTo>
                      <a:pt x="68563" y="89116"/>
                    </a:lnTo>
                    <a:lnTo>
                      <a:pt x="75662" y="85436"/>
                    </a:lnTo>
                    <a:lnTo>
                      <a:pt x="77996" y="74026"/>
                    </a:lnTo>
                    <a:lnTo>
                      <a:pt x="84982" y="77875"/>
                    </a:lnTo>
                    <a:lnTo>
                      <a:pt x="86937" y="71836"/>
                    </a:lnTo>
                    <a:lnTo>
                      <a:pt x="97670" y="58652"/>
                    </a:lnTo>
                    <a:lnTo>
                      <a:pt x="106430" y="62564"/>
                    </a:lnTo>
                    <a:lnTo>
                      <a:pt x="112382" y="82064"/>
                    </a:lnTo>
                    <a:lnTo>
                      <a:pt x="118221" y="83623"/>
                    </a:lnTo>
                    <a:lnTo>
                      <a:pt x="129292" y="70923"/>
                    </a:lnTo>
                    <a:lnTo>
                      <a:pt x="135735" y="75547"/>
                    </a:lnTo>
                    <a:lnTo>
                      <a:pt x="145577" y="62951"/>
                    </a:lnTo>
                    <a:lnTo>
                      <a:pt x="140473" y="52203"/>
                    </a:lnTo>
                    <a:lnTo>
                      <a:pt x="156280" y="41978"/>
                    </a:lnTo>
                    <a:lnTo>
                      <a:pt x="169803" y="40450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9" name="Запорожская область">
                <a:extLst>
                  <a:ext uri="{FF2B5EF4-FFF2-40B4-BE49-F238E27FC236}">
                    <a16:creationId xmlns:a16="http://schemas.microsoft.com/office/drawing/2014/main" id="{2A3A4B26-E1D9-443A-AF3F-8567A29BEBF7}"/>
                  </a:ext>
                </a:extLst>
              </p:cNvPr>
              <p:cNvSpPr/>
              <p:nvPr/>
            </p:nvSpPr>
            <p:spPr>
              <a:xfrm>
                <a:off x="525178" y="3411362"/>
                <a:ext cx="346948" cy="388967"/>
              </a:xfrm>
              <a:custGeom>
                <a:avLst/>
                <a:gdLst>
                  <a:gd name="connsiteX0" fmla="*/ 100790 w 346948"/>
                  <a:gd name="connsiteY0" fmla="*/ 86251 h 388967"/>
                  <a:gd name="connsiteX1" fmla="*/ 116810 w 346948"/>
                  <a:gd name="connsiteY1" fmla="*/ 73077 h 388967"/>
                  <a:gd name="connsiteX2" fmla="*/ 120980 w 346948"/>
                  <a:gd name="connsiteY2" fmla="*/ 64524 h 388967"/>
                  <a:gd name="connsiteX3" fmla="*/ 118440 w 346948"/>
                  <a:gd name="connsiteY3" fmla="*/ 56135 h 388967"/>
                  <a:gd name="connsiteX4" fmla="*/ 106373 w 346948"/>
                  <a:gd name="connsiteY4" fmla="*/ 47852 h 388967"/>
                  <a:gd name="connsiteX5" fmla="*/ 115423 w 346948"/>
                  <a:gd name="connsiteY5" fmla="*/ 32809 h 388967"/>
                  <a:gd name="connsiteX6" fmla="*/ 133021 w 346948"/>
                  <a:gd name="connsiteY6" fmla="*/ 25847 h 388967"/>
                  <a:gd name="connsiteX7" fmla="*/ 188145 w 346948"/>
                  <a:gd name="connsiteY7" fmla="*/ 76078 h 388967"/>
                  <a:gd name="connsiteX8" fmla="*/ 187677 w 346948"/>
                  <a:gd name="connsiteY8" fmla="*/ 65574 h 388967"/>
                  <a:gd name="connsiteX9" fmla="*/ 211549 w 346948"/>
                  <a:gd name="connsiteY9" fmla="*/ 52940 h 388967"/>
                  <a:gd name="connsiteX10" fmla="*/ 211273 w 346948"/>
                  <a:gd name="connsiteY10" fmla="*/ 44395 h 388967"/>
                  <a:gd name="connsiteX11" fmla="*/ 216355 w 346948"/>
                  <a:gd name="connsiteY11" fmla="*/ 39606 h 388967"/>
                  <a:gd name="connsiteX12" fmla="*/ 219186 w 346948"/>
                  <a:gd name="connsiteY12" fmla="*/ 25240 h 388967"/>
                  <a:gd name="connsiteX13" fmla="*/ 232216 w 346948"/>
                  <a:gd name="connsiteY13" fmla="*/ 25695 h 388967"/>
                  <a:gd name="connsiteX14" fmla="*/ 236052 w 346948"/>
                  <a:gd name="connsiteY14" fmla="*/ 10043 h 388967"/>
                  <a:gd name="connsiteX15" fmla="*/ 251104 w 346948"/>
                  <a:gd name="connsiteY15" fmla="*/ -157 h 388967"/>
                  <a:gd name="connsiteX16" fmla="*/ 263156 w 346948"/>
                  <a:gd name="connsiteY16" fmla="*/ 16630 h 388967"/>
                  <a:gd name="connsiteX17" fmla="*/ 282676 w 346948"/>
                  <a:gd name="connsiteY17" fmla="*/ 40715 h 388967"/>
                  <a:gd name="connsiteX18" fmla="*/ 294600 w 346948"/>
                  <a:gd name="connsiteY18" fmla="*/ 70293 h 388967"/>
                  <a:gd name="connsiteX19" fmla="*/ 304029 w 346948"/>
                  <a:gd name="connsiteY19" fmla="*/ 71564 h 388967"/>
                  <a:gd name="connsiteX20" fmla="*/ 311934 w 346948"/>
                  <a:gd name="connsiteY20" fmla="*/ 87074 h 388967"/>
                  <a:gd name="connsiteX21" fmla="*/ 319846 w 346948"/>
                  <a:gd name="connsiteY21" fmla="*/ 100103 h 388967"/>
                  <a:gd name="connsiteX22" fmla="*/ 328870 w 346948"/>
                  <a:gd name="connsiteY22" fmla="*/ 110346 h 388967"/>
                  <a:gd name="connsiteX23" fmla="*/ 327074 w 346948"/>
                  <a:gd name="connsiteY23" fmla="*/ 122891 h 388967"/>
                  <a:gd name="connsiteX24" fmla="*/ 316365 w 346948"/>
                  <a:gd name="connsiteY24" fmla="*/ 134860 h 388967"/>
                  <a:gd name="connsiteX25" fmla="*/ 311185 w 346948"/>
                  <a:gd name="connsiteY25" fmla="*/ 146307 h 388967"/>
                  <a:gd name="connsiteX26" fmla="*/ 305991 w 346948"/>
                  <a:gd name="connsiteY26" fmla="*/ 152290 h 388967"/>
                  <a:gd name="connsiteX27" fmla="*/ 316203 w 346948"/>
                  <a:gd name="connsiteY27" fmla="*/ 157592 h 388967"/>
                  <a:gd name="connsiteX28" fmla="*/ 314989 w 346948"/>
                  <a:gd name="connsiteY28" fmla="*/ 168430 h 388967"/>
                  <a:gd name="connsiteX29" fmla="*/ 325478 w 346948"/>
                  <a:gd name="connsiteY29" fmla="*/ 184494 h 388967"/>
                  <a:gd name="connsiteX30" fmla="*/ 346282 w 346948"/>
                  <a:gd name="connsiteY30" fmla="*/ 196355 h 388967"/>
                  <a:gd name="connsiteX31" fmla="*/ 343949 w 346948"/>
                  <a:gd name="connsiteY31" fmla="*/ 207764 h 388967"/>
                  <a:gd name="connsiteX32" fmla="*/ 336849 w 346948"/>
                  <a:gd name="connsiteY32" fmla="*/ 211445 h 388967"/>
                  <a:gd name="connsiteX33" fmla="*/ 343703 w 346948"/>
                  <a:gd name="connsiteY33" fmla="*/ 215915 h 388967"/>
                  <a:gd name="connsiteX34" fmla="*/ 335837 w 346948"/>
                  <a:gd name="connsiteY34" fmla="*/ 229887 h 388967"/>
                  <a:gd name="connsiteX35" fmla="*/ 338503 w 346948"/>
                  <a:gd name="connsiteY35" fmla="*/ 235872 h 388967"/>
                  <a:gd name="connsiteX36" fmla="*/ 330196 w 346948"/>
                  <a:gd name="connsiteY36" fmla="*/ 236587 h 388967"/>
                  <a:gd name="connsiteX37" fmla="*/ 329175 w 346948"/>
                  <a:gd name="connsiteY37" fmla="*/ 240136 h 388967"/>
                  <a:gd name="connsiteX38" fmla="*/ 335878 w 346948"/>
                  <a:gd name="connsiteY38" fmla="*/ 243820 h 388967"/>
                  <a:gd name="connsiteX39" fmla="*/ 333659 w 346948"/>
                  <a:gd name="connsiteY39" fmla="*/ 257235 h 388967"/>
                  <a:gd name="connsiteX40" fmla="*/ 343220 w 346948"/>
                  <a:gd name="connsiteY40" fmla="*/ 292896 h 388967"/>
                  <a:gd name="connsiteX41" fmla="*/ 329750 w 346948"/>
                  <a:gd name="connsiteY41" fmla="*/ 298060 h 388967"/>
                  <a:gd name="connsiteX42" fmla="*/ 331194 w 346948"/>
                  <a:gd name="connsiteY42" fmla="*/ 289610 h 388967"/>
                  <a:gd name="connsiteX43" fmla="*/ 316931 w 346948"/>
                  <a:gd name="connsiteY43" fmla="*/ 292437 h 388967"/>
                  <a:gd name="connsiteX44" fmla="*/ 310981 w 346948"/>
                  <a:gd name="connsiteY44" fmla="*/ 282341 h 388967"/>
                  <a:gd name="connsiteX45" fmla="*/ 299087 w 346948"/>
                  <a:gd name="connsiteY45" fmla="*/ 295014 h 388967"/>
                  <a:gd name="connsiteX46" fmla="*/ 293242 w 346948"/>
                  <a:gd name="connsiteY46" fmla="*/ 288321 h 388967"/>
                  <a:gd name="connsiteX47" fmla="*/ 290869 w 346948"/>
                  <a:gd name="connsiteY47" fmla="*/ 311471 h 388967"/>
                  <a:gd name="connsiteX48" fmla="*/ 292704 w 346948"/>
                  <a:gd name="connsiteY48" fmla="*/ 324473 h 388967"/>
                  <a:gd name="connsiteX49" fmla="*/ 287428 w 346948"/>
                  <a:gd name="connsiteY49" fmla="*/ 328336 h 388967"/>
                  <a:gd name="connsiteX50" fmla="*/ 274344 w 346948"/>
                  <a:gd name="connsiteY50" fmla="*/ 327193 h 388967"/>
                  <a:gd name="connsiteX51" fmla="*/ 278248 w 346948"/>
                  <a:gd name="connsiteY51" fmla="*/ 337604 h 388967"/>
                  <a:gd name="connsiteX52" fmla="*/ 270153 w 346948"/>
                  <a:gd name="connsiteY52" fmla="*/ 359099 h 388967"/>
                  <a:gd name="connsiteX53" fmla="*/ 238516 w 346948"/>
                  <a:gd name="connsiteY53" fmla="*/ 344140 h 388967"/>
                  <a:gd name="connsiteX54" fmla="*/ 222180 w 346948"/>
                  <a:gd name="connsiteY54" fmla="*/ 364726 h 388967"/>
                  <a:gd name="connsiteX55" fmla="*/ 154502 w 346948"/>
                  <a:gd name="connsiteY55" fmla="*/ 388811 h 388967"/>
                  <a:gd name="connsiteX56" fmla="*/ 141979 w 346948"/>
                  <a:gd name="connsiteY56" fmla="*/ 377164 h 388967"/>
                  <a:gd name="connsiteX57" fmla="*/ 149428 w 346948"/>
                  <a:gd name="connsiteY57" fmla="*/ 355127 h 388967"/>
                  <a:gd name="connsiteX58" fmla="*/ 130710 w 346948"/>
                  <a:gd name="connsiteY58" fmla="*/ 355771 h 388967"/>
                  <a:gd name="connsiteX59" fmla="*/ 110733 w 346948"/>
                  <a:gd name="connsiteY59" fmla="*/ 293080 h 388967"/>
                  <a:gd name="connsiteX60" fmla="*/ 64549 w 346948"/>
                  <a:gd name="connsiteY60" fmla="*/ 256898 h 388967"/>
                  <a:gd name="connsiteX61" fmla="*/ 86139 w 346948"/>
                  <a:gd name="connsiteY61" fmla="*/ 245968 h 388967"/>
                  <a:gd name="connsiteX62" fmla="*/ -666 w 346948"/>
                  <a:gd name="connsiteY62" fmla="*/ 224136 h 388967"/>
                  <a:gd name="connsiteX63" fmla="*/ 66550 w 346948"/>
                  <a:gd name="connsiteY63" fmla="*/ 210514 h 388967"/>
                  <a:gd name="connsiteX64" fmla="*/ 60241 w 346948"/>
                  <a:gd name="connsiteY64" fmla="*/ 202809 h 388967"/>
                  <a:gd name="connsiteX65" fmla="*/ 60399 w 346948"/>
                  <a:gd name="connsiteY65" fmla="*/ 194436 h 388967"/>
                  <a:gd name="connsiteX66" fmla="*/ 53729 w 346948"/>
                  <a:gd name="connsiteY66" fmla="*/ 186774 h 388967"/>
                  <a:gd name="connsiteX67" fmla="*/ 60815 w 346948"/>
                  <a:gd name="connsiteY67" fmla="*/ 184361 h 388967"/>
                  <a:gd name="connsiteX68" fmla="*/ 53923 w 346948"/>
                  <a:gd name="connsiteY68" fmla="*/ 174200 h 388967"/>
                  <a:gd name="connsiteX69" fmla="*/ 56098 w 346948"/>
                  <a:gd name="connsiteY69" fmla="*/ 163799 h 388967"/>
                  <a:gd name="connsiteX70" fmla="*/ 62123 w 346948"/>
                  <a:gd name="connsiteY70" fmla="*/ 162317 h 388967"/>
                  <a:gd name="connsiteX71" fmla="*/ 64771 w 346948"/>
                  <a:gd name="connsiteY71" fmla="*/ 156481 h 388967"/>
                  <a:gd name="connsiteX72" fmla="*/ 62984 w 346948"/>
                  <a:gd name="connsiteY72" fmla="*/ 148470 h 388967"/>
                  <a:gd name="connsiteX73" fmla="*/ 63154 w 346948"/>
                  <a:gd name="connsiteY73" fmla="*/ 143190 h 388967"/>
                  <a:gd name="connsiteX74" fmla="*/ 68329 w 346948"/>
                  <a:gd name="connsiteY74" fmla="*/ 145332 h 388967"/>
                  <a:gd name="connsiteX75" fmla="*/ 75877 w 346948"/>
                  <a:gd name="connsiteY75" fmla="*/ 146110 h 388967"/>
                  <a:gd name="connsiteX76" fmla="*/ 83664 w 346948"/>
                  <a:gd name="connsiteY76" fmla="*/ 141623 h 388967"/>
                  <a:gd name="connsiteX77" fmla="*/ 89888 w 346948"/>
                  <a:gd name="connsiteY77" fmla="*/ 145103 h 388967"/>
                  <a:gd name="connsiteX78" fmla="*/ 93450 w 346948"/>
                  <a:gd name="connsiteY78" fmla="*/ 134928 h 388967"/>
                  <a:gd name="connsiteX79" fmla="*/ 96594 w 346948"/>
                  <a:gd name="connsiteY79" fmla="*/ 126965 h 388967"/>
                  <a:gd name="connsiteX80" fmla="*/ 93146 w 346948"/>
                  <a:gd name="connsiteY80" fmla="*/ 112125 h 388967"/>
                  <a:gd name="connsiteX81" fmla="*/ 94084 w 346948"/>
                  <a:gd name="connsiteY81" fmla="*/ 100951 h 388967"/>
                  <a:gd name="connsiteX82" fmla="*/ 101943 w 346948"/>
                  <a:gd name="connsiteY82" fmla="*/ 94227 h 388967"/>
                  <a:gd name="connsiteX83" fmla="*/ 100791 w 346948"/>
                  <a:gd name="connsiteY83" fmla="*/ 86251 h 388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346948" h="388967">
                    <a:moveTo>
                      <a:pt x="100790" y="86251"/>
                    </a:moveTo>
                    <a:lnTo>
                      <a:pt x="116810" y="73077"/>
                    </a:lnTo>
                    <a:lnTo>
                      <a:pt x="120980" y="64524"/>
                    </a:lnTo>
                    <a:lnTo>
                      <a:pt x="118440" y="56135"/>
                    </a:lnTo>
                    <a:lnTo>
                      <a:pt x="106373" y="47852"/>
                    </a:lnTo>
                    <a:lnTo>
                      <a:pt x="115423" y="32809"/>
                    </a:lnTo>
                    <a:lnTo>
                      <a:pt x="133021" y="25847"/>
                    </a:lnTo>
                    <a:lnTo>
                      <a:pt x="188145" y="76078"/>
                    </a:lnTo>
                    <a:lnTo>
                      <a:pt x="187677" y="65574"/>
                    </a:lnTo>
                    <a:lnTo>
                      <a:pt x="211549" y="52940"/>
                    </a:lnTo>
                    <a:lnTo>
                      <a:pt x="211273" y="44395"/>
                    </a:lnTo>
                    <a:lnTo>
                      <a:pt x="216355" y="39606"/>
                    </a:lnTo>
                    <a:lnTo>
                      <a:pt x="219186" y="25240"/>
                    </a:lnTo>
                    <a:lnTo>
                      <a:pt x="232216" y="25695"/>
                    </a:lnTo>
                    <a:lnTo>
                      <a:pt x="236052" y="10043"/>
                    </a:lnTo>
                    <a:lnTo>
                      <a:pt x="251104" y="-157"/>
                    </a:lnTo>
                    <a:lnTo>
                      <a:pt x="263156" y="16630"/>
                    </a:lnTo>
                    <a:lnTo>
                      <a:pt x="282676" y="40715"/>
                    </a:lnTo>
                    <a:lnTo>
                      <a:pt x="294600" y="70293"/>
                    </a:lnTo>
                    <a:lnTo>
                      <a:pt x="304029" y="71564"/>
                    </a:lnTo>
                    <a:lnTo>
                      <a:pt x="311934" y="87074"/>
                    </a:lnTo>
                    <a:lnTo>
                      <a:pt x="319846" y="100103"/>
                    </a:lnTo>
                    <a:lnTo>
                      <a:pt x="328870" y="110346"/>
                    </a:lnTo>
                    <a:lnTo>
                      <a:pt x="327074" y="122891"/>
                    </a:lnTo>
                    <a:lnTo>
                      <a:pt x="316365" y="134860"/>
                    </a:lnTo>
                    <a:lnTo>
                      <a:pt x="311185" y="146307"/>
                    </a:lnTo>
                    <a:lnTo>
                      <a:pt x="305991" y="152290"/>
                    </a:lnTo>
                    <a:lnTo>
                      <a:pt x="316203" y="157592"/>
                    </a:lnTo>
                    <a:lnTo>
                      <a:pt x="314989" y="168430"/>
                    </a:lnTo>
                    <a:lnTo>
                      <a:pt x="325478" y="184494"/>
                    </a:lnTo>
                    <a:lnTo>
                      <a:pt x="346282" y="196355"/>
                    </a:lnTo>
                    <a:lnTo>
                      <a:pt x="343949" y="207764"/>
                    </a:lnTo>
                    <a:lnTo>
                      <a:pt x="336849" y="211445"/>
                    </a:lnTo>
                    <a:lnTo>
                      <a:pt x="343703" y="215915"/>
                    </a:lnTo>
                    <a:lnTo>
                      <a:pt x="335837" y="229887"/>
                    </a:lnTo>
                    <a:lnTo>
                      <a:pt x="338503" y="235872"/>
                    </a:lnTo>
                    <a:lnTo>
                      <a:pt x="330196" y="236587"/>
                    </a:lnTo>
                    <a:lnTo>
                      <a:pt x="329175" y="240136"/>
                    </a:lnTo>
                    <a:lnTo>
                      <a:pt x="335878" y="243820"/>
                    </a:lnTo>
                    <a:lnTo>
                      <a:pt x="333659" y="257235"/>
                    </a:lnTo>
                    <a:lnTo>
                      <a:pt x="343220" y="292896"/>
                    </a:lnTo>
                    <a:lnTo>
                      <a:pt x="329750" y="298060"/>
                    </a:lnTo>
                    <a:lnTo>
                      <a:pt x="331194" y="289610"/>
                    </a:lnTo>
                    <a:lnTo>
                      <a:pt x="316931" y="292437"/>
                    </a:lnTo>
                    <a:lnTo>
                      <a:pt x="310981" y="282341"/>
                    </a:lnTo>
                    <a:lnTo>
                      <a:pt x="299087" y="295014"/>
                    </a:lnTo>
                    <a:lnTo>
                      <a:pt x="293242" y="288321"/>
                    </a:lnTo>
                    <a:lnTo>
                      <a:pt x="290869" y="311471"/>
                    </a:lnTo>
                    <a:lnTo>
                      <a:pt x="292704" y="324473"/>
                    </a:lnTo>
                    <a:lnTo>
                      <a:pt x="287428" y="328336"/>
                    </a:lnTo>
                    <a:lnTo>
                      <a:pt x="274344" y="327193"/>
                    </a:lnTo>
                    <a:lnTo>
                      <a:pt x="278248" y="337604"/>
                    </a:lnTo>
                    <a:lnTo>
                      <a:pt x="270153" y="359099"/>
                    </a:lnTo>
                    <a:lnTo>
                      <a:pt x="238516" y="344140"/>
                    </a:lnTo>
                    <a:lnTo>
                      <a:pt x="222180" y="364726"/>
                    </a:lnTo>
                    <a:lnTo>
                      <a:pt x="154502" y="388811"/>
                    </a:lnTo>
                    <a:lnTo>
                      <a:pt x="141979" y="377164"/>
                    </a:lnTo>
                    <a:lnTo>
                      <a:pt x="149428" y="355127"/>
                    </a:lnTo>
                    <a:lnTo>
                      <a:pt x="130710" y="355771"/>
                    </a:lnTo>
                    <a:lnTo>
                      <a:pt x="110733" y="293080"/>
                    </a:lnTo>
                    <a:lnTo>
                      <a:pt x="64549" y="256898"/>
                    </a:lnTo>
                    <a:lnTo>
                      <a:pt x="86139" y="245968"/>
                    </a:lnTo>
                    <a:lnTo>
                      <a:pt x="-666" y="224136"/>
                    </a:lnTo>
                    <a:lnTo>
                      <a:pt x="66550" y="210514"/>
                    </a:lnTo>
                    <a:lnTo>
                      <a:pt x="60241" y="202809"/>
                    </a:lnTo>
                    <a:lnTo>
                      <a:pt x="60399" y="194436"/>
                    </a:lnTo>
                    <a:lnTo>
                      <a:pt x="53729" y="186774"/>
                    </a:lnTo>
                    <a:lnTo>
                      <a:pt x="60815" y="184361"/>
                    </a:lnTo>
                    <a:lnTo>
                      <a:pt x="53923" y="174200"/>
                    </a:lnTo>
                    <a:lnTo>
                      <a:pt x="56098" y="163799"/>
                    </a:lnTo>
                    <a:lnTo>
                      <a:pt x="62123" y="162317"/>
                    </a:lnTo>
                    <a:lnTo>
                      <a:pt x="64771" y="156481"/>
                    </a:lnTo>
                    <a:lnTo>
                      <a:pt x="62984" y="148470"/>
                    </a:lnTo>
                    <a:lnTo>
                      <a:pt x="63154" y="143190"/>
                    </a:lnTo>
                    <a:lnTo>
                      <a:pt x="68329" y="145332"/>
                    </a:lnTo>
                    <a:lnTo>
                      <a:pt x="75877" y="146110"/>
                    </a:lnTo>
                    <a:lnTo>
                      <a:pt x="83664" y="141623"/>
                    </a:lnTo>
                    <a:lnTo>
                      <a:pt x="89888" y="145103"/>
                    </a:lnTo>
                    <a:lnTo>
                      <a:pt x="93450" y="134928"/>
                    </a:lnTo>
                    <a:lnTo>
                      <a:pt x="96594" y="126965"/>
                    </a:lnTo>
                    <a:lnTo>
                      <a:pt x="93146" y="112125"/>
                    </a:lnTo>
                    <a:lnTo>
                      <a:pt x="94084" y="100951"/>
                    </a:lnTo>
                    <a:lnTo>
                      <a:pt x="101943" y="94227"/>
                    </a:lnTo>
                    <a:lnTo>
                      <a:pt x="100791" y="86251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0" name="Херсонская область">
                <a:extLst>
                  <a:ext uri="{FF2B5EF4-FFF2-40B4-BE49-F238E27FC236}">
                    <a16:creationId xmlns:a16="http://schemas.microsoft.com/office/drawing/2014/main" id="{C4A12F08-DC2C-4F35-8478-39D141EE9483}"/>
                  </a:ext>
                </a:extLst>
              </p:cNvPr>
              <p:cNvSpPr/>
              <p:nvPr/>
            </p:nvSpPr>
            <p:spPr>
              <a:xfrm>
                <a:off x="316344" y="3279101"/>
                <a:ext cx="335589" cy="406615"/>
              </a:xfrm>
              <a:custGeom>
                <a:avLst/>
                <a:gdLst>
                  <a:gd name="connsiteX0" fmla="*/ 52765 w 335589"/>
                  <a:gd name="connsiteY0" fmla="*/ 39808 h 406615"/>
                  <a:gd name="connsiteX1" fmla="*/ 78320 w 335589"/>
                  <a:gd name="connsiteY1" fmla="*/ 24150 h 406615"/>
                  <a:gd name="connsiteX2" fmla="*/ 108266 w 335589"/>
                  <a:gd name="connsiteY2" fmla="*/ 39658 h 406615"/>
                  <a:gd name="connsiteX3" fmla="*/ 117048 w 335589"/>
                  <a:gd name="connsiteY3" fmla="*/ 49966 h 406615"/>
                  <a:gd name="connsiteX4" fmla="*/ 131296 w 335589"/>
                  <a:gd name="connsiteY4" fmla="*/ 49696 h 406615"/>
                  <a:gd name="connsiteX5" fmla="*/ 134925 w 335589"/>
                  <a:gd name="connsiteY5" fmla="*/ 60005 h 406615"/>
                  <a:gd name="connsiteX6" fmla="*/ 144187 w 335589"/>
                  <a:gd name="connsiteY6" fmla="*/ 60873 h 406615"/>
                  <a:gd name="connsiteX7" fmla="*/ 149232 w 335589"/>
                  <a:gd name="connsiteY7" fmla="*/ 68861 h 406615"/>
                  <a:gd name="connsiteX8" fmla="*/ 159050 w 335589"/>
                  <a:gd name="connsiteY8" fmla="*/ 72943 h 406615"/>
                  <a:gd name="connsiteX9" fmla="*/ 173370 w 335589"/>
                  <a:gd name="connsiteY9" fmla="*/ 100402 h 406615"/>
                  <a:gd name="connsiteX10" fmla="*/ 200772 w 335589"/>
                  <a:gd name="connsiteY10" fmla="*/ 96224 h 406615"/>
                  <a:gd name="connsiteX11" fmla="*/ 211462 w 335589"/>
                  <a:gd name="connsiteY11" fmla="*/ 102562 h 406615"/>
                  <a:gd name="connsiteX12" fmla="*/ 212143 w 335589"/>
                  <a:gd name="connsiteY12" fmla="*/ 80934 h 406615"/>
                  <a:gd name="connsiteX13" fmla="*/ 226684 w 335589"/>
                  <a:gd name="connsiteY13" fmla="*/ 76192 h 406615"/>
                  <a:gd name="connsiteX14" fmla="*/ 241353 w 335589"/>
                  <a:gd name="connsiteY14" fmla="*/ 88035 h 406615"/>
                  <a:gd name="connsiteX15" fmla="*/ 257138 w 335589"/>
                  <a:gd name="connsiteY15" fmla="*/ 76378 h 406615"/>
                  <a:gd name="connsiteX16" fmla="*/ 259251 w 335589"/>
                  <a:gd name="connsiteY16" fmla="*/ 58935 h 406615"/>
                  <a:gd name="connsiteX17" fmla="*/ 267348 w 335589"/>
                  <a:gd name="connsiteY17" fmla="*/ 56454 h 406615"/>
                  <a:gd name="connsiteX18" fmla="*/ 266972 w 335589"/>
                  <a:gd name="connsiteY18" fmla="*/ 64849 h 406615"/>
                  <a:gd name="connsiteX19" fmla="*/ 287330 w 335589"/>
                  <a:gd name="connsiteY19" fmla="*/ 46799 h 406615"/>
                  <a:gd name="connsiteX20" fmla="*/ 292007 w 335589"/>
                  <a:gd name="connsiteY20" fmla="*/ 78079 h 406615"/>
                  <a:gd name="connsiteX21" fmla="*/ 312374 w 335589"/>
                  <a:gd name="connsiteY21" fmla="*/ 85323 h 406615"/>
                  <a:gd name="connsiteX22" fmla="*/ 316427 w 335589"/>
                  <a:gd name="connsiteY22" fmla="*/ 91537 h 406615"/>
                  <a:gd name="connsiteX23" fmla="*/ 311928 w 335589"/>
                  <a:gd name="connsiteY23" fmla="*/ 102768 h 406615"/>
                  <a:gd name="connsiteX24" fmla="*/ 332185 w 335589"/>
                  <a:gd name="connsiteY24" fmla="*/ 129490 h 406615"/>
                  <a:gd name="connsiteX25" fmla="*/ 334924 w 335589"/>
                  <a:gd name="connsiteY25" fmla="*/ 150433 h 406615"/>
                  <a:gd name="connsiteX26" fmla="*/ 315207 w 335589"/>
                  <a:gd name="connsiteY26" fmla="*/ 180113 h 406615"/>
                  <a:gd name="connsiteX27" fmla="*/ 327274 w 335589"/>
                  <a:gd name="connsiteY27" fmla="*/ 188396 h 406615"/>
                  <a:gd name="connsiteX28" fmla="*/ 329814 w 335589"/>
                  <a:gd name="connsiteY28" fmla="*/ 196786 h 406615"/>
                  <a:gd name="connsiteX29" fmla="*/ 325644 w 335589"/>
                  <a:gd name="connsiteY29" fmla="*/ 205338 h 406615"/>
                  <a:gd name="connsiteX30" fmla="*/ 313099 w 335589"/>
                  <a:gd name="connsiteY30" fmla="*/ 215655 h 406615"/>
                  <a:gd name="connsiteX31" fmla="*/ 306509 w 335589"/>
                  <a:gd name="connsiteY31" fmla="*/ 230140 h 406615"/>
                  <a:gd name="connsiteX32" fmla="*/ 305428 w 335589"/>
                  <a:gd name="connsiteY32" fmla="*/ 259226 h 406615"/>
                  <a:gd name="connsiteX33" fmla="*/ 298722 w 335589"/>
                  <a:gd name="connsiteY33" fmla="*/ 277364 h 406615"/>
                  <a:gd name="connsiteX34" fmla="*/ 284711 w 335589"/>
                  <a:gd name="connsiteY34" fmla="*/ 278371 h 406615"/>
                  <a:gd name="connsiteX35" fmla="*/ 271988 w 335589"/>
                  <a:gd name="connsiteY35" fmla="*/ 275452 h 406615"/>
                  <a:gd name="connsiteX36" fmla="*/ 273605 w 335589"/>
                  <a:gd name="connsiteY36" fmla="*/ 288743 h 406615"/>
                  <a:gd name="connsiteX37" fmla="*/ 264932 w 335589"/>
                  <a:gd name="connsiteY37" fmla="*/ 296061 h 406615"/>
                  <a:gd name="connsiteX38" fmla="*/ 269649 w 335589"/>
                  <a:gd name="connsiteY38" fmla="*/ 316623 h 406615"/>
                  <a:gd name="connsiteX39" fmla="*/ 269233 w 335589"/>
                  <a:gd name="connsiteY39" fmla="*/ 326697 h 406615"/>
                  <a:gd name="connsiteX40" fmla="*/ 269076 w 335589"/>
                  <a:gd name="connsiteY40" fmla="*/ 335071 h 406615"/>
                  <a:gd name="connsiteX41" fmla="*/ 260259 w 335589"/>
                  <a:gd name="connsiteY41" fmla="*/ 406459 h 406615"/>
                  <a:gd name="connsiteX42" fmla="*/ 177604 w 335589"/>
                  <a:gd name="connsiteY42" fmla="*/ 379961 h 406615"/>
                  <a:gd name="connsiteX43" fmla="*/ 179172 w 335589"/>
                  <a:gd name="connsiteY43" fmla="*/ 343186 h 406615"/>
                  <a:gd name="connsiteX44" fmla="*/ 166830 w 335589"/>
                  <a:gd name="connsiteY44" fmla="*/ 272354 h 406615"/>
                  <a:gd name="connsiteX45" fmla="*/ 148293 w 335589"/>
                  <a:gd name="connsiteY45" fmla="*/ 223956 h 406615"/>
                  <a:gd name="connsiteX46" fmla="*/ 113998 w 335589"/>
                  <a:gd name="connsiteY46" fmla="*/ 234464 h 406615"/>
                  <a:gd name="connsiteX47" fmla="*/ 74531 w 335589"/>
                  <a:gd name="connsiteY47" fmla="*/ 206118 h 406615"/>
                  <a:gd name="connsiteX48" fmla="*/ 11028 w 335589"/>
                  <a:gd name="connsiteY48" fmla="*/ 148591 h 406615"/>
                  <a:gd name="connsiteX49" fmla="*/ 41911 w 335589"/>
                  <a:gd name="connsiteY49" fmla="*/ 182691 h 406615"/>
                  <a:gd name="connsiteX50" fmla="*/ 45518 w 335589"/>
                  <a:gd name="connsiteY50" fmla="*/ 99651 h 406615"/>
                  <a:gd name="connsiteX51" fmla="*/ -666 w 335589"/>
                  <a:gd name="connsiteY51" fmla="*/ 63470 h 406615"/>
                  <a:gd name="connsiteX52" fmla="*/ 20923 w 335589"/>
                  <a:gd name="connsiteY52" fmla="*/ 52539 h 406615"/>
                  <a:gd name="connsiteX53" fmla="*/ 1335 w 335589"/>
                  <a:gd name="connsiteY53" fmla="*/ 17086 h 406615"/>
                  <a:gd name="connsiteX54" fmla="*/ 49637 w 335589"/>
                  <a:gd name="connsiteY54" fmla="*/ -157 h 406615"/>
                  <a:gd name="connsiteX55" fmla="*/ 47642 w 335589"/>
                  <a:gd name="connsiteY55" fmla="*/ 8042 h 406615"/>
                  <a:gd name="connsiteX56" fmla="*/ 52765 w 335589"/>
                  <a:gd name="connsiteY56" fmla="*/ 39808 h 406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335589" h="406615">
                    <a:moveTo>
                      <a:pt x="52765" y="39808"/>
                    </a:moveTo>
                    <a:lnTo>
                      <a:pt x="78320" y="24150"/>
                    </a:lnTo>
                    <a:lnTo>
                      <a:pt x="108266" y="39658"/>
                    </a:lnTo>
                    <a:lnTo>
                      <a:pt x="117048" y="49966"/>
                    </a:lnTo>
                    <a:lnTo>
                      <a:pt x="131296" y="49696"/>
                    </a:lnTo>
                    <a:lnTo>
                      <a:pt x="134925" y="60005"/>
                    </a:lnTo>
                    <a:lnTo>
                      <a:pt x="144187" y="60873"/>
                    </a:lnTo>
                    <a:lnTo>
                      <a:pt x="149232" y="68861"/>
                    </a:lnTo>
                    <a:lnTo>
                      <a:pt x="159050" y="72943"/>
                    </a:lnTo>
                    <a:lnTo>
                      <a:pt x="173370" y="100402"/>
                    </a:lnTo>
                    <a:lnTo>
                      <a:pt x="200772" y="96224"/>
                    </a:lnTo>
                    <a:lnTo>
                      <a:pt x="211462" y="102562"/>
                    </a:lnTo>
                    <a:lnTo>
                      <a:pt x="212143" y="80934"/>
                    </a:lnTo>
                    <a:lnTo>
                      <a:pt x="226684" y="76192"/>
                    </a:lnTo>
                    <a:lnTo>
                      <a:pt x="241353" y="88035"/>
                    </a:lnTo>
                    <a:lnTo>
                      <a:pt x="257138" y="76378"/>
                    </a:lnTo>
                    <a:lnTo>
                      <a:pt x="259251" y="58935"/>
                    </a:lnTo>
                    <a:lnTo>
                      <a:pt x="267348" y="56454"/>
                    </a:lnTo>
                    <a:lnTo>
                      <a:pt x="266972" y="64849"/>
                    </a:lnTo>
                    <a:lnTo>
                      <a:pt x="287330" y="46799"/>
                    </a:lnTo>
                    <a:lnTo>
                      <a:pt x="292007" y="78079"/>
                    </a:lnTo>
                    <a:lnTo>
                      <a:pt x="312374" y="85323"/>
                    </a:lnTo>
                    <a:lnTo>
                      <a:pt x="316427" y="91537"/>
                    </a:lnTo>
                    <a:lnTo>
                      <a:pt x="311928" y="102768"/>
                    </a:lnTo>
                    <a:lnTo>
                      <a:pt x="332185" y="129490"/>
                    </a:lnTo>
                    <a:lnTo>
                      <a:pt x="334924" y="150433"/>
                    </a:lnTo>
                    <a:lnTo>
                      <a:pt x="315207" y="180113"/>
                    </a:lnTo>
                    <a:lnTo>
                      <a:pt x="327274" y="188396"/>
                    </a:lnTo>
                    <a:lnTo>
                      <a:pt x="329814" y="196786"/>
                    </a:lnTo>
                    <a:lnTo>
                      <a:pt x="325644" y="205338"/>
                    </a:lnTo>
                    <a:lnTo>
                      <a:pt x="313099" y="215655"/>
                    </a:lnTo>
                    <a:lnTo>
                      <a:pt x="306509" y="230140"/>
                    </a:lnTo>
                    <a:lnTo>
                      <a:pt x="305428" y="259226"/>
                    </a:lnTo>
                    <a:lnTo>
                      <a:pt x="298722" y="277364"/>
                    </a:lnTo>
                    <a:lnTo>
                      <a:pt x="284711" y="278371"/>
                    </a:lnTo>
                    <a:lnTo>
                      <a:pt x="271988" y="275452"/>
                    </a:lnTo>
                    <a:lnTo>
                      <a:pt x="273605" y="288743"/>
                    </a:lnTo>
                    <a:lnTo>
                      <a:pt x="264932" y="296061"/>
                    </a:lnTo>
                    <a:lnTo>
                      <a:pt x="269649" y="316623"/>
                    </a:lnTo>
                    <a:lnTo>
                      <a:pt x="269233" y="326697"/>
                    </a:lnTo>
                    <a:lnTo>
                      <a:pt x="269076" y="335071"/>
                    </a:lnTo>
                    <a:lnTo>
                      <a:pt x="260259" y="406459"/>
                    </a:lnTo>
                    <a:lnTo>
                      <a:pt x="177604" y="379961"/>
                    </a:lnTo>
                    <a:lnTo>
                      <a:pt x="179172" y="343186"/>
                    </a:lnTo>
                    <a:lnTo>
                      <a:pt x="166830" y="272354"/>
                    </a:lnTo>
                    <a:lnTo>
                      <a:pt x="148293" y="223956"/>
                    </a:lnTo>
                    <a:lnTo>
                      <a:pt x="113998" y="234464"/>
                    </a:lnTo>
                    <a:lnTo>
                      <a:pt x="74531" y="206118"/>
                    </a:lnTo>
                    <a:lnTo>
                      <a:pt x="11028" y="148591"/>
                    </a:lnTo>
                    <a:lnTo>
                      <a:pt x="41911" y="182691"/>
                    </a:lnTo>
                    <a:lnTo>
                      <a:pt x="45518" y="99651"/>
                    </a:lnTo>
                    <a:lnTo>
                      <a:pt x="-666" y="63470"/>
                    </a:lnTo>
                    <a:lnTo>
                      <a:pt x="20923" y="52539"/>
                    </a:lnTo>
                    <a:lnTo>
                      <a:pt x="1335" y="17086"/>
                    </a:lnTo>
                    <a:lnTo>
                      <a:pt x="49637" y="-157"/>
                    </a:lnTo>
                    <a:lnTo>
                      <a:pt x="47642" y="8042"/>
                    </a:lnTo>
                    <a:lnTo>
                      <a:pt x="52765" y="39808"/>
                    </a:lnTo>
                  </a:path>
                </a:pathLst>
              </a:custGeom>
              <a:grpFill/>
              <a:ln w="12700" cap="rnd">
                <a:solidFill>
                  <a:srgbClr val="53586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918" name="Обозначения">
            <a:extLst>
              <a:ext uri="{FF2B5EF4-FFF2-40B4-BE49-F238E27FC236}">
                <a16:creationId xmlns:a16="http://schemas.microsoft.com/office/drawing/2014/main" id="{EA2C8CDE-E750-4A99-82B1-C3DAC913849C}"/>
              </a:ext>
            </a:extLst>
          </p:cNvPr>
          <p:cNvGrpSpPr/>
          <p:nvPr/>
        </p:nvGrpSpPr>
        <p:grpSpPr>
          <a:xfrm>
            <a:off x="158421" y="7003660"/>
            <a:ext cx="3704971" cy="1690977"/>
            <a:chOff x="429299" y="5889786"/>
            <a:chExt cx="3704971" cy="1690977"/>
          </a:xfrm>
        </p:grpSpPr>
        <p:grpSp>
          <p:nvGrpSpPr>
            <p:cNvPr id="893" name="Group 1">
              <a:extLst>
                <a:ext uri="{FF2B5EF4-FFF2-40B4-BE49-F238E27FC236}">
                  <a16:creationId xmlns:a16="http://schemas.microsoft.com/office/drawing/2014/main" id="{469DD94E-58A3-408E-9BBB-0A2C1A231CE9}"/>
                </a:ext>
              </a:extLst>
            </p:cNvPr>
            <p:cNvGrpSpPr/>
            <p:nvPr/>
          </p:nvGrpSpPr>
          <p:grpSpPr>
            <a:xfrm>
              <a:off x="429299" y="5889786"/>
              <a:ext cx="3704971" cy="261610"/>
              <a:chOff x="353099" y="5889786"/>
              <a:chExt cx="3704971" cy="261610"/>
            </a:xfrm>
          </p:grpSpPr>
          <p:sp>
            <p:nvSpPr>
              <p:cNvPr id="883" name="Rectangle: Rounded Corners 1">
                <a:extLst>
                  <a:ext uri="{FF2B5EF4-FFF2-40B4-BE49-F238E27FC236}">
                    <a16:creationId xmlns:a16="http://schemas.microsoft.com/office/drawing/2014/main" id="{6C394A66-C3C3-4661-87C2-386303DE86F7}"/>
                  </a:ext>
                </a:extLst>
              </p:cNvPr>
              <p:cNvSpPr/>
              <p:nvPr/>
            </p:nvSpPr>
            <p:spPr>
              <a:xfrm>
                <a:off x="353099" y="5975591"/>
                <a:ext cx="90000" cy="90000"/>
              </a:xfrm>
              <a:prstGeom prst="roundRect">
                <a:avLst/>
              </a:prstGeom>
              <a:solidFill>
                <a:srgbClr val="FB7B6F"/>
              </a:solidFill>
              <a:ln w="1270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84" name="TextBox 1">
                <a:extLst>
                  <a:ext uri="{FF2B5EF4-FFF2-40B4-BE49-F238E27FC236}">
                    <a16:creationId xmlns:a16="http://schemas.microsoft.com/office/drawing/2014/main" id="{D5359413-FAF4-4B35-8B35-0C3DD0B19BC4}"/>
                  </a:ext>
                </a:extLst>
              </p:cNvPr>
              <p:cNvSpPr txBox="1"/>
              <p:nvPr/>
            </p:nvSpPr>
            <p:spPr>
              <a:xfrm>
                <a:off x="458070" y="5889786"/>
                <a:ext cx="3600000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Центральный</a:t>
                </a:r>
              </a:p>
            </p:txBody>
          </p:sp>
        </p:grpSp>
        <p:grpSp>
          <p:nvGrpSpPr>
            <p:cNvPr id="894" name="Group 1">
              <a:extLst>
                <a:ext uri="{FF2B5EF4-FFF2-40B4-BE49-F238E27FC236}">
                  <a16:creationId xmlns:a16="http://schemas.microsoft.com/office/drawing/2014/main" id="{24C9C96B-433C-4CAF-83CF-D2B2640065B9}"/>
                </a:ext>
              </a:extLst>
            </p:cNvPr>
            <p:cNvGrpSpPr/>
            <p:nvPr/>
          </p:nvGrpSpPr>
          <p:grpSpPr>
            <a:xfrm>
              <a:off x="429299" y="7319153"/>
              <a:ext cx="3704971" cy="261610"/>
              <a:chOff x="353099" y="5889786"/>
              <a:chExt cx="3704971" cy="261610"/>
            </a:xfrm>
          </p:grpSpPr>
          <p:sp>
            <p:nvSpPr>
              <p:cNvPr id="895" name="Rectangle: Rounded Corners 1">
                <a:extLst>
                  <a:ext uri="{FF2B5EF4-FFF2-40B4-BE49-F238E27FC236}">
                    <a16:creationId xmlns:a16="http://schemas.microsoft.com/office/drawing/2014/main" id="{85E26E54-956C-4AD1-A3F3-5C9C9949F2F9}"/>
                  </a:ext>
                </a:extLst>
              </p:cNvPr>
              <p:cNvSpPr/>
              <p:nvPr/>
            </p:nvSpPr>
            <p:spPr>
              <a:xfrm>
                <a:off x="353099" y="5975591"/>
                <a:ext cx="90000" cy="90000"/>
              </a:xfrm>
              <a:prstGeom prst="roundRect">
                <a:avLst/>
              </a:prstGeom>
              <a:solidFill>
                <a:srgbClr val="BDB2A8"/>
              </a:solidFill>
              <a:ln w="1270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96" name="TextBox 1">
                <a:extLst>
                  <a:ext uri="{FF2B5EF4-FFF2-40B4-BE49-F238E27FC236}">
                    <a16:creationId xmlns:a16="http://schemas.microsoft.com/office/drawing/2014/main" id="{5D19BEF3-C827-4E26-8E93-8834FCA76EAD}"/>
                  </a:ext>
                </a:extLst>
              </p:cNvPr>
              <p:cNvSpPr txBox="1"/>
              <p:nvPr/>
            </p:nvSpPr>
            <p:spPr>
              <a:xfrm>
                <a:off x="458070" y="5889786"/>
                <a:ext cx="3600000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овороссия</a:t>
                </a:r>
              </a:p>
            </p:txBody>
          </p:sp>
        </p:grpSp>
        <p:grpSp>
          <p:nvGrpSpPr>
            <p:cNvPr id="897" name="Group 1">
              <a:extLst>
                <a:ext uri="{FF2B5EF4-FFF2-40B4-BE49-F238E27FC236}">
                  <a16:creationId xmlns:a16="http://schemas.microsoft.com/office/drawing/2014/main" id="{7F9E6F25-E344-42A7-9392-8827636E8A31}"/>
                </a:ext>
              </a:extLst>
            </p:cNvPr>
            <p:cNvGrpSpPr/>
            <p:nvPr/>
          </p:nvGrpSpPr>
          <p:grpSpPr>
            <a:xfrm>
              <a:off x="429299" y="6425799"/>
              <a:ext cx="3704971" cy="261610"/>
              <a:chOff x="353099" y="5889786"/>
              <a:chExt cx="3704971" cy="261610"/>
            </a:xfrm>
          </p:grpSpPr>
          <p:sp>
            <p:nvSpPr>
              <p:cNvPr id="898" name="Rectangle: Rounded Corners 1">
                <a:extLst>
                  <a:ext uri="{FF2B5EF4-FFF2-40B4-BE49-F238E27FC236}">
                    <a16:creationId xmlns:a16="http://schemas.microsoft.com/office/drawing/2014/main" id="{345ECD13-460C-40DD-8FBF-D14E8FA4EE03}"/>
                  </a:ext>
                </a:extLst>
              </p:cNvPr>
              <p:cNvSpPr/>
              <p:nvPr/>
            </p:nvSpPr>
            <p:spPr>
              <a:xfrm>
                <a:off x="353099" y="5975591"/>
                <a:ext cx="90000" cy="90000"/>
              </a:xfrm>
              <a:prstGeom prst="roundRect">
                <a:avLst/>
              </a:prstGeom>
              <a:solidFill>
                <a:srgbClr val="81D5DB"/>
              </a:solidFill>
              <a:ln w="1270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99" name="TextBox 1">
                <a:extLst>
                  <a:ext uri="{FF2B5EF4-FFF2-40B4-BE49-F238E27FC236}">
                    <a16:creationId xmlns:a16="http://schemas.microsoft.com/office/drawing/2014/main" id="{19C72EEC-BFD5-459A-9AAC-14E0E7EC873F}"/>
                  </a:ext>
                </a:extLst>
              </p:cNvPr>
              <p:cNvSpPr txBox="1"/>
              <p:nvPr/>
            </p:nvSpPr>
            <p:spPr>
              <a:xfrm>
                <a:off x="458070" y="5889786"/>
                <a:ext cx="3600000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еверо-Кавказский</a:t>
                </a:r>
              </a:p>
            </p:txBody>
          </p:sp>
        </p:grpSp>
        <p:grpSp>
          <p:nvGrpSpPr>
            <p:cNvPr id="900" name="Group 1">
              <a:extLst>
                <a:ext uri="{FF2B5EF4-FFF2-40B4-BE49-F238E27FC236}">
                  <a16:creationId xmlns:a16="http://schemas.microsoft.com/office/drawing/2014/main" id="{1C965CAE-659B-4885-99A0-F95699833945}"/>
                </a:ext>
              </a:extLst>
            </p:cNvPr>
            <p:cNvGrpSpPr/>
            <p:nvPr/>
          </p:nvGrpSpPr>
          <p:grpSpPr>
            <a:xfrm>
              <a:off x="429299" y="6783141"/>
              <a:ext cx="3704971" cy="261610"/>
              <a:chOff x="353099" y="5889786"/>
              <a:chExt cx="3704971" cy="261610"/>
            </a:xfrm>
          </p:grpSpPr>
          <p:sp>
            <p:nvSpPr>
              <p:cNvPr id="901" name="Rectangle: Rounded Corners 1">
                <a:extLst>
                  <a:ext uri="{FF2B5EF4-FFF2-40B4-BE49-F238E27FC236}">
                    <a16:creationId xmlns:a16="http://schemas.microsoft.com/office/drawing/2014/main" id="{FA357513-D00B-412D-9EF3-5BD73ED360E2}"/>
                  </a:ext>
                </a:extLst>
              </p:cNvPr>
              <p:cNvSpPr/>
              <p:nvPr/>
            </p:nvSpPr>
            <p:spPr>
              <a:xfrm>
                <a:off x="353099" y="5975591"/>
                <a:ext cx="90000" cy="90000"/>
              </a:xfrm>
              <a:prstGeom prst="roundRect">
                <a:avLst/>
              </a:prstGeom>
              <a:solidFill>
                <a:srgbClr val="93CDFC"/>
              </a:solidFill>
              <a:ln w="1270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02" name="TextBox 1">
                <a:extLst>
                  <a:ext uri="{FF2B5EF4-FFF2-40B4-BE49-F238E27FC236}">
                    <a16:creationId xmlns:a16="http://schemas.microsoft.com/office/drawing/2014/main" id="{4C89CF4C-1F93-4CB2-9D4D-C9DF4A427D68}"/>
                  </a:ext>
                </a:extLst>
              </p:cNvPr>
              <p:cNvSpPr txBox="1"/>
              <p:nvPr/>
            </p:nvSpPr>
            <p:spPr>
              <a:xfrm>
                <a:off x="458070" y="5889786"/>
                <a:ext cx="3600000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Уральский</a:t>
                </a:r>
              </a:p>
            </p:txBody>
          </p:sp>
        </p:grpSp>
        <p:grpSp>
          <p:nvGrpSpPr>
            <p:cNvPr id="903" name="Group 1">
              <a:extLst>
                <a:ext uri="{FF2B5EF4-FFF2-40B4-BE49-F238E27FC236}">
                  <a16:creationId xmlns:a16="http://schemas.microsoft.com/office/drawing/2014/main" id="{E13855AC-8C5C-49D7-93B7-E5D7526DAA81}"/>
                </a:ext>
              </a:extLst>
            </p:cNvPr>
            <p:cNvGrpSpPr/>
            <p:nvPr/>
          </p:nvGrpSpPr>
          <p:grpSpPr>
            <a:xfrm>
              <a:off x="429299" y="6961812"/>
              <a:ext cx="3704971" cy="261610"/>
              <a:chOff x="353099" y="5889786"/>
              <a:chExt cx="3704971" cy="261610"/>
            </a:xfrm>
          </p:grpSpPr>
          <p:sp>
            <p:nvSpPr>
              <p:cNvPr id="904" name="Rectangle: Rounded Corners 1">
                <a:extLst>
                  <a:ext uri="{FF2B5EF4-FFF2-40B4-BE49-F238E27FC236}">
                    <a16:creationId xmlns:a16="http://schemas.microsoft.com/office/drawing/2014/main" id="{103E8449-CE8B-4381-8ED4-A7F6C9831C17}"/>
                  </a:ext>
                </a:extLst>
              </p:cNvPr>
              <p:cNvSpPr/>
              <p:nvPr/>
            </p:nvSpPr>
            <p:spPr>
              <a:xfrm>
                <a:off x="353099" y="5975591"/>
                <a:ext cx="90000" cy="90000"/>
              </a:xfrm>
              <a:prstGeom prst="roundRect">
                <a:avLst/>
              </a:prstGeom>
              <a:solidFill>
                <a:srgbClr val="BBA0F5"/>
              </a:solidFill>
              <a:ln w="1270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05" name="TextBox 1">
                <a:extLst>
                  <a:ext uri="{FF2B5EF4-FFF2-40B4-BE49-F238E27FC236}">
                    <a16:creationId xmlns:a16="http://schemas.microsoft.com/office/drawing/2014/main" id="{658A3CA8-3447-4382-98B5-01DF35FCE784}"/>
                  </a:ext>
                </a:extLst>
              </p:cNvPr>
              <p:cNvSpPr txBox="1"/>
              <p:nvPr/>
            </p:nvSpPr>
            <p:spPr>
              <a:xfrm>
                <a:off x="458070" y="5889786"/>
                <a:ext cx="3600000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ибирский</a:t>
                </a:r>
              </a:p>
            </p:txBody>
          </p:sp>
        </p:grpSp>
        <p:grpSp>
          <p:nvGrpSpPr>
            <p:cNvPr id="906" name="Group 1">
              <a:extLst>
                <a:ext uri="{FF2B5EF4-FFF2-40B4-BE49-F238E27FC236}">
                  <a16:creationId xmlns:a16="http://schemas.microsoft.com/office/drawing/2014/main" id="{BB1ACB17-9305-4288-ACE1-C8301B324025}"/>
                </a:ext>
              </a:extLst>
            </p:cNvPr>
            <p:cNvGrpSpPr/>
            <p:nvPr/>
          </p:nvGrpSpPr>
          <p:grpSpPr>
            <a:xfrm>
              <a:off x="429299" y="6604470"/>
              <a:ext cx="3704971" cy="261610"/>
              <a:chOff x="353099" y="5889786"/>
              <a:chExt cx="3704971" cy="261610"/>
            </a:xfrm>
          </p:grpSpPr>
          <p:sp>
            <p:nvSpPr>
              <p:cNvPr id="907" name="Rectangle: Rounded Corners 1">
                <a:extLst>
                  <a:ext uri="{FF2B5EF4-FFF2-40B4-BE49-F238E27FC236}">
                    <a16:creationId xmlns:a16="http://schemas.microsoft.com/office/drawing/2014/main" id="{B5EFC2A7-9D26-41B1-A979-8B92609DF6AB}"/>
                  </a:ext>
                </a:extLst>
              </p:cNvPr>
              <p:cNvSpPr/>
              <p:nvPr/>
            </p:nvSpPr>
            <p:spPr>
              <a:xfrm>
                <a:off x="353099" y="5975591"/>
                <a:ext cx="90000" cy="90000"/>
              </a:xfrm>
              <a:prstGeom prst="roundRect">
                <a:avLst/>
              </a:prstGeom>
              <a:solidFill>
                <a:srgbClr val="A8DB97"/>
              </a:solidFill>
              <a:ln w="1270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08" name="TextBox 1">
                <a:extLst>
                  <a:ext uri="{FF2B5EF4-FFF2-40B4-BE49-F238E27FC236}">
                    <a16:creationId xmlns:a16="http://schemas.microsoft.com/office/drawing/2014/main" id="{F551E9B1-0823-4D98-B6AD-AFD0DFA0EB9C}"/>
                  </a:ext>
                </a:extLst>
              </p:cNvPr>
              <p:cNvSpPr txBox="1"/>
              <p:nvPr/>
            </p:nvSpPr>
            <p:spPr>
              <a:xfrm>
                <a:off x="458070" y="5889786"/>
                <a:ext cx="3600000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Приволжский</a:t>
                </a:r>
              </a:p>
            </p:txBody>
          </p:sp>
        </p:grpSp>
        <p:grpSp>
          <p:nvGrpSpPr>
            <p:cNvPr id="909" name="Group 1">
              <a:extLst>
                <a:ext uri="{FF2B5EF4-FFF2-40B4-BE49-F238E27FC236}">
                  <a16:creationId xmlns:a16="http://schemas.microsoft.com/office/drawing/2014/main" id="{EF6B81EF-C582-408B-95D2-CA886EA18E90}"/>
                </a:ext>
              </a:extLst>
            </p:cNvPr>
            <p:cNvGrpSpPr/>
            <p:nvPr/>
          </p:nvGrpSpPr>
          <p:grpSpPr>
            <a:xfrm>
              <a:off x="429299" y="7140483"/>
              <a:ext cx="3704971" cy="261610"/>
              <a:chOff x="353099" y="5889786"/>
              <a:chExt cx="3704971" cy="261610"/>
            </a:xfrm>
          </p:grpSpPr>
          <p:sp>
            <p:nvSpPr>
              <p:cNvPr id="910" name="Rectangle: Rounded Corners 1">
                <a:extLst>
                  <a:ext uri="{FF2B5EF4-FFF2-40B4-BE49-F238E27FC236}">
                    <a16:creationId xmlns:a16="http://schemas.microsoft.com/office/drawing/2014/main" id="{AAB8601C-01E0-4F59-AA94-3016918D0686}"/>
                  </a:ext>
                </a:extLst>
              </p:cNvPr>
              <p:cNvSpPr/>
              <p:nvPr/>
            </p:nvSpPr>
            <p:spPr>
              <a:xfrm>
                <a:off x="353099" y="5975591"/>
                <a:ext cx="90000" cy="90000"/>
              </a:xfrm>
              <a:prstGeom prst="roundRect">
                <a:avLst/>
              </a:prstGeom>
              <a:solidFill>
                <a:srgbClr val="F89BC7"/>
              </a:solidFill>
              <a:ln w="1270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11" name="TextBox 1">
                <a:extLst>
                  <a:ext uri="{FF2B5EF4-FFF2-40B4-BE49-F238E27FC236}">
                    <a16:creationId xmlns:a16="http://schemas.microsoft.com/office/drawing/2014/main" id="{D9467280-FAD0-48A8-851A-4742FD76614A}"/>
                  </a:ext>
                </a:extLst>
              </p:cNvPr>
              <p:cNvSpPr txBox="1"/>
              <p:nvPr/>
            </p:nvSpPr>
            <p:spPr>
              <a:xfrm>
                <a:off x="458070" y="5889786"/>
                <a:ext cx="3600000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Дальневосточный</a:t>
                </a:r>
              </a:p>
            </p:txBody>
          </p:sp>
        </p:grpSp>
        <p:grpSp>
          <p:nvGrpSpPr>
            <p:cNvPr id="912" name="Group 1">
              <a:extLst>
                <a:ext uri="{FF2B5EF4-FFF2-40B4-BE49-F238E27FC236}">
                  <a16:creationId xmlns:a16="http://schemas.microsoft.com/office/drawing/2014/main" id="{AB01E1CF-AF9F-46D7-A1AA-2565D5F9330E}"/>
                </a:ext>
              </a:extLst>
            </p:cNvPr>
            <p:cNvGrpSpPr/>
            <p:nvPr/>
          </p:nvGrpSpPr>
          <p:grpSpPr>
            <a:xfrm>
              <a:off x="429299" y="6247128"/>
              <a:ext cx="3704971" cy="261610"/>
              <a:chOff x="353099" y="5889786"/>
              <a:chExt cx="3704971" cy="261610"/>
            </a:xfrm>
          </p:grpSpPr>
          <p:sp>
            <p:nvSpPr>
              <p:cNvPr id="913" name="Rectangle: Rounded Corners 1">
                <a:extLst>
                  <a:ext uri="{FF2B5EF4-FFF2-40B4-BE49-F238E27FC236}">
                    <a16:creationId xmlns:a16="http://schemas.microsoft.com/office/drawing/2014/main" id="{EDD04225-55E3-4ECC-A915-F28D4579386B}"/>
                  </a:ext>
                </a:extLst>
              </p:cNvPr>
              <p:cNvSpPr/>
              <p:nvPr/>
            </p:nvSpPr>
            <p:spPr>
              <a:xfrm>
                <a:off x="353099" y="5975591"/>
                <a:ext cx="90000" cy="90000"/>
              </a:xfrm>
              <a:prstGeom prst="roundRect">
                <a:avLst/>
              </a:prstGeom>
              <a:solidFill>
                <a:srgbClr val="F7DE6E"/>
              </a:solidFill>
              <a:ln w="1270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14" name="TextBox 1">
                <a:extLst>
                  <a:ext uri="{FF2B5EF4-FFF2-40B4-BE49-F238E27FC236}">
                    <a16:creationId xmlns:a16="http://schemas.microsoft.com/office/drawing/2014/main" id="{97860317-1D23-412D-B6D6-39E0F9091F74}"/>
                  </a:ext>
                </a:extLst>
              </p:cNvPr>
              <p:cNvSpPr txBox="1"/>
              <p:nvPr/>
            </p:nvSpPr>
            <p:spPr>
              <a:xfrm>
                <a:off x="458070" y="5889786"/>
                <a:ext cx="3600000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Южный</a:t>
                </a:r>
              </a:p>
            </p:txBody>
          </p:sp>
        </p:grpSp>
        <p:grpSp>
          <p:nvGrpSpPr>
            <p:cNvPr id="915" name="Group 1">
              <a:extLst>
                <a:ext uri="{FF2B5EF4-FFF2-40B4-BE49-F238E27FC236}">
                  <a16:creationId xmlns:a16="http://schemas.microsoft.com/office/drawing/2014/main" id="{0B2B967A-E4FD-4626-91F7-22261472F6FE}"/>
                </a:ext>
              </a:extLst>
            </p:cNvPr>
            <p:cNvGrpSpPr/>
            <p:nvPr/>
          </p:nvGrpSpPr>
          <p:grpSpPr>
            <a:xfrm>
              <a:off x="429299" y="6068457"/>
              <a:ext cx="3704971" cy="261610"/>
              <a:chOff x="353099" y="5889786"/>
              <a:chExt cx="3704971" cy="261610"/>
            </a:xfrm>
          </p:grpSpPr>
          <p:sp>
            <p:nvSpPr>
              <p:cNvPr id="916" name="Rectangle: Rounded Corners 1">
                <a:extLst>
                  <a:ext uri="{FF2B5EF4-FFF2-40B4-BE49-F238E27FC236}">
                    <a16:creationId xmlns:a16="http://schemas.microsoft.com/office/drawing/2014/main" id="{760D7827-DB53-4394-A069-BF76D3581939}"/>
                  </a:ext>
                </a:extLst>
              </p:cNvPr>
              <p:cNvSpPr/>
              <p:nvPr/>
            </p:nvSpPr>
            <p:spPr>
              <a:xfrm>
                <a:off x="353099" y="5975591"/>
                <a:ext cx="90000" cy="90000"/>
              </a:xfrm>
              <a:prstGeom prst="roundRect">
                <a:avLst/>
              </a:prstGeom>
              <a:solidFill>
                <a:srgbClr val="FCA751"/>
              </a:solidFill>
              <a:ln w="1270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17" name="TextBox 1">
                <a:extLst>
                  <a:ext uri="{FF2B5EF4-FFF2-40B4-BE49-F238E27FC236}">
                    <a16:creationId xmlns:a16="http://schemas.microsoft.com/office/drawing/2014/main" id="{9D69E989-D1E3-466B-B8D4-4AF7DB206D27}"/>
                  </a:ext>
                </a:extLst>
              </p:cNvPr>
              <p:cNvSpPr txBox="1"/>
              <p:nvPr/>
            </p:nvSpPr>
            <p:spPr>
              <a:xfrm>
                <a:off x="458070" y="5889786"/>
                <a:ext cx="3600000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1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еверо-Западный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1062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122">
      <a:dk1>
        <a:srgbClr val="222429"/>
      </a:dk1>
      <a:lt1>
        <a:srgbClr val="FFFFFF"/>
      </a:lt1>
      <a:dk2>
        <a:srgbClr val="50565E"/>
      </a:dk2>
      <a:lt2>
        <a:srgbClr val="FFFFFF"/>
      </a:lt2>
      <a:accent1>
        <a:srgbClr val="5FAF2D"/>
      </a:accent1>
      <a:accent2>
        <a:srgbClr val="003E14"/>
      </a:accent2>
      <a:accent3>
        <a:srgbClr val="6B7A89"/>
      </a:accent3>
      <a:accent4>
        <a:srgbClr val="BFCFD2"/>
      </a:accent4>
      <a:accent5>
        <a:srgbClr val="89909A"/>
      </a:accent5>
      <a:accent6>
        <a:srgbClr val="EBF0F0"/>
      </a:accent6>
      <a:hlink>
        <a:srgbClr val="FFFFFF"/>
      </a:hlink>
      <a:folHlink>
        <a:srgbClr val="6C737D"/>
      </a:folHlink>
    </a:clrScheme>
    <a:fontScheme name="Другая 88">
      <a:majorFont>
        <a:latin typeface="X5 Sans Medium"/>
        <a:ea typeface=""/>
        <a:cs typeface=""/>
      </a:majorFont>
      <a:minorFont>
        <a:latin typeface="X5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X5 Sans</vt:lpstr>
      <vt:lpstr>Тема Office</vt:lpstr>
      <vt:lpstr>Слайд think-cell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04-27T12:48:08Z</dcterms:created>
  <dcterms:modified xsi:type="dcterms:W3CDTF">2025-05-27T07:01:01Z</dcterms:modified>
</cp:coreProperties>
</file>